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
    <p:sldMasterId id="2147483699" r:id="rId2"/>
    <p:sldMasterId id="2147483730" r:id="rId3"/>
  </p:sldMasterIdLst>
  <p:notesMasterIdLst>
    <p:notesMasterId r:id="rId35"/>
  </p:notesMasterIdLst>
  <p:handoutMasterIdLst>
    <p:handoutMasterId r:id="rId36"/>
  </p:handoutMasterIdLst>
  <p:sldIdLst>
    <p:sldId id="256" r:id="rId4"/>
    <p:sldId id="281" r:id="rId5"/>
    <p:sldId id="325" r:id="rId6"/>
    <p:sldId id="341" r:id="rId7"/>
    <p:sldId id="267" r:id="rId8"/>
    <p:sldId id="4064" r:id="rId9"/>
    <p:sldId id="339" r:id="rId10"/>
    <p:sldId id="4077" r:id="rId11"/>
    <p:sldId id="4079" r:id="rId12"/>
    <p:sldId id="4078" r:id="rId13"/>
    <p:sldId id="342" r:id="rId14"/>
    <p:sldId id="4073" r:id="rId15"/>
    <p:sldId id="344" r:id="rId16"/>
    <p:sldId id="2191" r:id="rId17"/>
    <p:sldId id="2192" r:id="rId18"/>
    <p:sldId id="2202" r:id="rId19"/>
    <p:sldId id="2206" r:id="rId20"/>
    <p:sldId id="2209" r:id="rId21"/>
    <p:sldId id="4069" r:id="rId22"/>
    <p:sldId id="4076" r:id="rId23"/>
    <p:sldId id="345" r:id="rId24"/>
    <p:sldId id="346" r:id="rId25"/>
    <p:sldId id="257" r:id="rId26"/>
    <p:sldId id="343" r:id="rId27"/>
    <p:sldId id="4048" r:id="rId28"/>
    <p:sldId id="4065" r:id="rId29"/>
    <p:sldId id="4067" r:id="rId30"/>
    <p:sldId id="4074" r:id="rId31"/>
    <p:sldId id="4070" r:id="rId32"/>
    <p:sldId id="4075" r:id="rId33"/>
    <p:sldId id="272" r:id="rId34"/>
  </p:sldIdLst>
  <p:sldSz cx="9144000" cy="6858000" type="screen4x3"/>
  <p:notesSz cx="6994525" cy="92805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7AFA771-835C-4555-978C-251AD293C505}" v="10" dt="2021-09-02T08:09:41.0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34" autoAdjust="0"/>
    <p:restoredTop sz="80000" autoAdjust="0"/>
  </p:normalViewPr>
  <p:slideViewPr>
    <p:cSldViewPr>
      <p:cViewPr varScale="1">
        <p:scale>
          <a:sx n="62" d="100"/>
          <a:sy n="62" d="100"/>
        </p:scale>
        <p:origin x="1662" y="6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0538"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62400" y="0"/>
            <a:ext cx="3030538" cy="463550"/>
          </a:xfrm>
          <a:prstGeom prst="rect">
            <a:avLst/>
          </a:prstGeom>
        </p:spPr>
        <p:txBody>
          <a:bodyPr vert="horz" lIns="91440" tIns="45720" rIns="91440" bIns="45720" rtlCol="0"/>
          <a:lstStyle>
            <a:lvl1pPr algn="r">
              <a:defRPr sz="1200"/>
            </a:lvl1pPr>
          </a:lstStyle>
          <a:p>
            <a:fld id="{98D9462D-8FD0-4375-8D14-3919684AF342}" type="datetimeFigureOut">
              <a:rPr lang="en-US" smtClean="0"/>
              <a:pPr/>
              <a:t>9/2/2021</a:t>
            </a:fld>
            <a:endParaRPr lang="en-US"/>
          </a:p>
        </p:txBody>
      </p:sp>
      <p:sp>
        <p:nvSpPr>
          <p:cNvPr id="4" name="Footer Placeholder 3"/>
          <p:cNvSpPr>
            <a:spLocks noGrp="1"/>
          </p:cNvSpPr>
          <p:nvPr>
            <p:ph type="ftr" sz="quarter" idx="2"/>
          </p:nvPr>
        </p:nvSpPr>
        <p:spPr>
          <a:xfrm>
            <a:off x="0" y="8815388"/>
            <a:ext cx="3030538" cy="46355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62400" y="8815388"/>
            <a:ext cx="3030538" cy="463550"/>
          </a:xfrm>
          <a:prstGeom prst="rect">
            <a:avLst/>
          </a:prstGeom>
        </p:spPr>
        <p:txBody>
          <a:bodyPr vert="horz" lIns="91440" tIns="45720" rIns="91440" bIns="45720" rtlCol="0" anchor="b"/>
          <a:lstStyle>
            <a:lvl1pPr algn="r">
              <a:defRPr sz="1200"/>
            </a:lvl1pPr>
          </a:lstStyle>
          <a:p>
            <a:fld id="{8979BF7B-C3F1-48EF-A314-8F8CA2B15B68}" type="slidenum">
              <a:rPr lang="en-US" smtClean="0"/>
              <a:pPr/>
              <a:t>‹#›</a:t>
            </a:fld>
            <a:endParaRPr lang="en-US"/>
          </a:p>
        </p:txBody>
      </p:sp>
    </p:spTree>
    <p:extLst>
      <p:ext uri="{BB962C8B-B14F-4D97-AF65-F5344CB8AC3E}">
        <p14:creationId xmlns:p14="http://schemas.microsoft.com/office/powerpoint/2010/main" val="12666704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0538" cy="46355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62400" y="0"/>
            <a:ext cx="3030538" cy="463550"/>
          </a:xfrm>
          <a:prstGeom prst="rect">
            <a:avLst/>
          </a:prstGeom>
        </p:spPr>
        <p:txBody>
          <a:bodyPr vert="horz" lIns="91440" tIns="45720" rIns="91440" bIns="45720" rtlCol="0"/>
          <a:lstStyle>
            <a:lvl1pPr algn="r">
              <a:defRPr sz="1200"/>
            </a:lvl1pPr>
          </a:lstStyle>
          <a:p>
            <a:fld id="{27977914-078A-4733-9595-924568D88747}" type="datetimeFigureOut">
              <a:rPr lang="en-US" smtClean="0"/>
              <a:pPr/>
              <a:t>9/2/2021</a:t>
            </a:fld>
            <a:endParaRPr lang="en-US"/>
          </a:p>
        </p:txBody>
      </p:sp>
      <p:sp>
        <p:nvSpPr>
          <p:cNvPr id="4" name="Slide Image Placeholder 3"/>
          <p:cNvSpPr>
            <a:spLocks noGrp="1" noRot="1" noChangeAspect="1"/>
          </p:cNvSpPr>
          <p:nvPr>
            <p:ph type="sldImg" idx="2"/>
          </p:nvPr>
        </p:nvSpPr>
        <p:spPr>
          <a:xfrm>
            <a:off x="1176338" y="695325"/>
            <a:ext cx="4641850" cy="348138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0088" y="4408488"/>
            <a:ext cx="5594350" cy="417671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15388"/>
            <a:ext cx="3030538" cy="46355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62400" y="8815388"/>
            <a:ext cx="3030538" cy="463550"/>
          </a:xfrm>
          <a:prstGeom prst="rect">
            <a:avLst/>
          </a:prstGeom>
        </p:spPr>
        <p:txBody>
          <a:bodyPr vert="horz" lIns="91440" tIns="45720" rIns="91440" bIns="45720" rtlCol="0" anchor="b"/>
          <a:lstStyle>
            <a:lvl1pPr algn="r">
              <a:defRPr sz="1200"/>
            </a:lvl1pPr>
          </a:lstStyle>
          <a:p>
            <a:fld id="{52518542-3451-49FF-B802-FCF2EF1DC4C7}" type="slidenum">
              <a:rPr lang="en-US" smtClean="0"/>
              <a:pPr/>
              <a:t>‹#›</a:t>
            </a:fld>
            <a:endParaRPr lang="en-US"/>
          </a:p>
        </p:txBody>
      </p:sp>
    </p:spTree>
    <p:extLst>
      <p:ext uri="{BB962C8B-B14F-4D97-AF65-F5344CB8AC3E}">
        <p14:creationId xmlns:p14="http://schemas.microsoft.com/office/powerpoint/2010/main" val="36553315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518542-3451-49FF-B802-FCF2EF1DC4C7}" type="slidenum">
              <a:rPr lang="en-US" smtClean="0"/>
              <a:pPr/>
              <a:t>1</a:t>
            </a:fld>
            <a:endParaRPr lang="en-US"/>
          </a:p>
        </p:txBody>
      </p:sp>
    </p:spTree>
    <p:extLst>
      <p:ext uri="{BB962C8B-B14F-4D97-AF65-F5344CB8AC3E}">
        <p14:creationId xmlns:p14="http://schemas.microsoft.com/office/powerpoint/2010/main" val="13589859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p2: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52" name="Google Shape;152;p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518542-3451-49FF-B802-FCF2EF1DC4C7}" type="slidenum">
              <a:rPr lang="en-US" smtClean="0"/>
              <a:pPr/>
              <a:t>24</a:t>
            </a:fld>
            <a:endParaRPr lang="en-US"/>
          </a:p>
        </p:txBody>
      </p:sp>
    </p:spTree>
    <p:extLst>
      <p:ext uri="{BB962C8B-B14F-4D97-AF65-F5344CB8AC3E}">
        <p14:creationId xmlns:p14="http://schemas.microsoft.com/office/powerpoint/2010/main" val="23654306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71403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14297" indent="0" defTabSz="914378">
              <a:buClr>
                <a:srgbClr val="0F9D58">
                  <a:lumMod val="75000"/>
                </a:srgbClr>
              </a:buClr>
              <a:buSzPct val="100000"/>
              <a:buNone/>
              <a:defRPr/>
            </a:pPr>
            <a:r>
              <a:rPr lang="en-US" sz="1600" b="1" kern="0" dirty="0">
                <a:solidFill>
                  <a:srgbClr val="FFC000"/>
                </a:solidFill>
                <a:latin typeface="Georgia" panose="02040502050405020303" pitchFamily="18" charset="0"/>
                <a:ea typeface="Tahoma" panose="020B0604030504040204" pitchFamily="34" charset="0"/>
                <a:cs typeface="Tahoma" panose="020B0604030504040204" pitchFamily="34" charset="0"/>
              </a:rPr>
              <a:t>Funded partners: </a:t>
            </a:r>
          </a:p>
          <a:p>
            <a:pPr marL="457189" indent="-342892" defTabSz="914378">
              <a:buClr>
                <a:srgbClr val="FFC000"/>
              </a:buClr>
              <a:buSzPct val="100000"/>
              <a:buFont typeface="Wingdings" panose="05000000000000000000" pitchFamily="2" charset="2"/>
              <a:buChar char="§"/>
              <a:defRPr/>
            </a:pPr>
            <a:r>
              <a:rPr lang="en-US" sz="1200" b="1" kern="0" dirty="0">
                <a:solidFill>
                  <a:srgbClr val="FFC000"/>
                </a:solidFill>
                <a:latin typeface="Georgia" panose="02040502050405020303" pitchFamily="18" charset="0"/>
                <a:ea typeface="Tahoma" panose="020B0604030504040204" pitchFamily="34" charset="0"/>
                <a:cs typeface="Tahoma" panose="020B0604030504040204" pitchFamily="34" charset="0"/>
              </a:rPr>
              <a:t>WHO and UNICEF</a:t>
            </a:r>
            <a:r>
              <a:rPr lang="en-US" sz="1200" kern="0" dirty="0">
                <a:solidFill>
                  <a:srgbClr val="FFC000"/>
                </a:solidFill>
                <a:latin typeface="Georgia" panose="02040502050405020303" pitchFamily="18" charset="0"/>
                <a:ea typeface="Tahoma" panose="020B0604030504040204" pitchFamily="34" charset="0"/>
                <a:cs typeface="Tahoma" panose="020B0604030504040204" pitchFamily="34" charset="0"/>
              </a:rPr>
              <a:t>: </a:t>
            </a: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Supporting key staff positions working on polio and routine immunization activities across Nigeria</a:t>
            </a:r>
          </a:p>
          <a:p>
            <a:pPr marL="457189" indent="-342892" defTabSz="914378">
              <a:buClr>
                <a:srgbClr val="FFC000"/>
              </a:buClr>
              <a:buSzPct val="100000"/>
              <a:buFont typeface="Wingdings" panose="05000000000000000000" pitchFamily="2" charset="2"/>
              <a:buChar char="§"/>
              <a:defRPr/>
            </a:pPr>
            <a:r>
              <a:rPr lang="en-US" sz="1200" b="1" kern="0" dirty="0">
                <a:solidFill>
                  <a:srgbClr val="FFC000"/>
                </a:solidFill>
                <a:latin typeface="Georgia" panose="02040502050405020303" pitchFamily="18" charset="0"/>
                <a:ea typeface="Tahoma" panose="020B0604030504040204" pitchFamily="34" charset="0"/>
                <a:cs typeface="Tahoma" panose="020B0604030504040204" pitchFamily="34" charset="0"/>
              </a:rPr>
              <a:t>AFENET/NSTOP:</a:t>
            </a:r>
            <a:endParaRPr lang="en-US" sz="1200" kern="0" dirty="0">
              <a:solidFill>
                <a:srgbClr val="FFC000"/>
              </a:solidFill>
              <a:latin typeface="Georgia" panose="02040502050405020303" pitchFamily="18" charset="0"/>
              <a:ea typeface="Tahoma" panose="020B0604030504040204" pitchFamily="34" charset="0"/>
              <a:cs typeface="Tahoma" panose="020B0604030504040204" pitchFamily="34" charset="0"/>
            </a:endParaRPr>
          </a:p>
          <a:p>
            <a:pPr marL="914378" lvl="1" indent="-342892" defTabSz="914378">
              <a:buClr>
                <a:srgbClr val="FFC000"/>
              </a:buClr>
              <a:buSzPct val="100000"/>
              <a:buFont typeface="Arial" panose="020B0604020202020204" pitchFamily="34" charset="0"/>
              <a:buChar char="•"/>
              <a:defRPr/>
            </a:pP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Present in 12 states across Northern Nigeria </a:t>
            </a:r>
          </a:p>
          <a:p>
            <a:pPr marL="914378" lvl="1" indent="-342892" defTabSz="914378">
              <a:buClr>
                <a:srgbClr val="FFC000"/>
              </a:buClr>
              <a:buSzPct val="100000"/>
              <a:buFont typeface="Arial" panose="020B0604020202020204" pitchFamily="34" charset="0"/>
              <a:buChar char="•"/>
              <a:defRPr/>
            </a:pP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12 state field coordinators and 120 NSTOP LGA Officers work with the state </a:t>
            </a:r>
            <a:r>
              <a:rPr lang="en-US" sz="1200" b="1" u="sng" kern="0" dirty="0">
                <a:solidFill>
                  <a:srgbClr val="FFFFFF"/>
                </a:solidFill>
                <a:latin typeface="Georgia" panose="02040502050405020303" pitchFamily="18" charset="0"/>
                <a:ea typeface="Tahoma" panose="020B0604030504040204" pitchFamily="34" charset="0"/>
                <a:cs typeface="Tahoma" panose="020B0604030504040204" pitchFamily="34" charset="0"/>
              </a:rPr>
              <a:t>and 212 </a:t>
            </a: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LGA teams to build capacity of LGA staff, improve polio and VPD outbreaks (</a:t>
            </a:r>
            <a:r>
              <a:rPr lang="en-US" sz="1200" kern="0" dirty="0" err="1">
                <a:solidFill>
                  <a:srgbClr val="FFFFFF"/>
                </a:solidFill>
                <a:latin typeface="Georgia" panose="02040502050405020303" pitchFamily="18" charset="0"/>
                <a:ea typeface="Tahoma" panose="020B0604030504040204" pitchFamily="34" charset="0"/>
                <a:cs typeface="Tahoma" panose="020B0604030504040204" pitchFamily="34" charset="0"/>
              </a:rPr>
              <a:t>e.g.measles</a:t>
            </a: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 COVID19, meningitis) response, surveillance, data management etc.</a:t>
            </a:r>
          </a:p>
          <a:p>
            <a:pPr marL="914378" lvl="1" indent="-342892" defTabSz="914378">
              <a:buClr>
                <a:srgbClr val="FFC000"/>
              </a:buClr>
              <a:buSzPct val="100000"/>
              <a:buFont typeface="Arial" panose="020B0604020202020204" pitchFamily="34" charset="0"/>
              <a:buChar char="•"/>
              <a:defRPr/>
            </a:pP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Mapping of migrant populations for targeting polio and immunization services</a:t>
            </a:r>
          </a:p>
          <a:p>
            <a:pPr marL="457189" indent="-342892" defTabSz="914378">
              <a:buClr>
                <a:srgbClr val="FFC000"/>
              </a:buClr>
              <a:buSzPct val="100000"/>
              <a:buFont typeface="Wingdings" panose="05000000000000000000" pitchFamily="2" charset="2"/>
              <a:buChar char="§"/>
              <a:defRPr/>
            </a:pPr>
            <a:r>
              <a:rPr lang="en-US" sz="1200" b="1" kern="0" dirty="0">
                <a:solidFill>
                  <a:srgbClr val="FFC000"/>
                </a:solidFill>
                <a:latin typeface="Georgia" panose="02040502050405020303" pitchFamily="18" charset="0"/>
                <a:ea typeface="Tahoma" panose="020B0604030504040204" pitchFamily="34" charset="0"/>
                <a:cs typeface="Tahoma" panose="020B0604030504040204" pitchFamily="34" charset="0"/>
              </a:rPr>
              <a:t>International Federation of Red Cross (IFRC): </a:t>
            </a:r>
          </a:p>
          <a:p>
            <a:pPr marL="914378" lvl="1" indent="-342892" defTabSz="914378">
              <a:buClr>
                <a:srgbClr val="FFC000"/>
              </a:buClr>
              <a:buSzPct val="100000"/>
              <a:buFont typeface="Arial" panose="020B0604020202020204" pitchFamily="34" charset="0"/>
              <a:buChar char="•"/>
              <a:defRPr/>
            </a:pP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Use of  Red cross volunteers (&gt; 400) for community surveillance to report VPDs and polio cases in Katsina, Jigawa, and Zamfara</a:t>
            </a:r>
          </a:p>
          <a:p>
            <a:pPr marL="457189" indent="-342892" defTabSz="914378">
              <a:spcBef>
                <a:spcPts val="500"/>
              </a:spcBef>
              <a:buClr>
                <a:srgbClr val="FFC000"/>
              </a:buClr>
              <a:buSzPct val="100000"/>
              <a:buFont typeface="Arial" panose="020B0604020202020204" pitchFamily="34" charset="0"/>
              <a:buChar char="•"/>
              <a:defRPr/>
            </a:pPr>
            <a:r>
              <a:rPr lang="en-US" sz="1200" b="1" kern="0" dirty="0">
                <a:solidFill>
                  <a:srgbClr val="FFC000"/>
                </a:solidFill>
                <a:latin typeface="Georgia" panose="02040502050405020303" pitchFamily="18" charset="0"/>
                <a:ea typeface="Tahoma" panose="020B0604030504040204" pitchFamily="34" charset="0"/>
                <a:cs typeface="Tahoma" panose="020B0604030504040204" pitchFamily="34" charset="0"/>
              </a:rPr>
              <a:t>IHVN/ UMB / Sydani</a:t>
            </a:r>
            <a:r>
              <a:rPr lang="en-US" sz="1200" b="1" kern="0" dirty="0">
                <a:solidFill>
                  <a:srgbClr val="FFFFFF"/>
                </a:solidFill>
                <a:latin typeface="Georgia" panose="02040502050405020303" pitchFamily="18" charset="0"/>
                <a:ea typeface="Tahoma" panose="020B0604030504040204" pitchFamily="34" charset="0"/>
                <a:cs typeface="Tahoma" panose="020B0604030504040204" pitchFamily="34" charset="0"/>
              </a:rPr>
              <a:t> (more recent with COVID-19 funds) </a:t>
            </a:r>
          </a:p>
          <a:p>
            <a:pPr marL="114297" indent="0" defTabSz="914378">
              <a:spcBef>
                <a:spcPts val="500"/>
              </a:spcBef>
              <a:buClr>
                <a:srgbClr val="007E39"/>
              </a:buClr>
              <a:buSzPct val="100000"/>
              <a:buNone/>
              <a:defRPr/>
            </a:pPr>
            <a:r>
              <a:rPr lang="en-US" sz="1200" b="1" kern="0" dirty="0">
                <a:solidFill>
                  <a:srgbClr val="FFC000"/>
                </a:solidFill>
                <a:latin typeface="Georgia" panose="02040502050405020303" pitchFamily="18" charset="0"/>
                <a:ea typeface="Tahoma" panose="020B0604030504040204" pitchFamily="34" charset="0"/>
                <a:cs typeface="Tahoma" panose="020B0604030504040204" pitchFamily="34" charset="0"/>
              </a:rPr>
              <a:t>Government (Indirect funding): </a:t>
            </a: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NCDC, NPHCDA, NEOC</a:t>
            </a:r>
          </a:p>
          <a:p>
            <a:pPr marL="114297" indent="0" defTabSz="914378">
              <a:spcBef>
                <a:spcPts val="500"/>
              </a:spcBef>
              <a:buClr>
                <a:srgbClr val="007E39"/>
              </a:buClr>
              <a:buSzPct val="100000"/>
              <a:buNone/>
              <a:defRPr/>
            </a:pPr>
            <a:endParaRPr lang="en-US" sz="1200" b="1" kern="0" dirty="0">
              <a:solidFill>
                <a:srgbClr val="FFFFFF"/>
              </a:solidFill>
              <a:latin typeface="Georgia" panose="02040502050405020303" pitchFamily="18" charset="0"/>
              <a:ea typeface="Tahoma" panose="020B0604030504040204" pitchFamily="34" charset="0"/>
              <a:cs typeface="Tahoma" panose="020B0604030504040204" pitchFamily="34" charset="0"/>
            </a:endParaRPr>
          </a:p>
          <a:p>
            <a:pPr marL="114297" indent="0" defTabSz="914378">
              <a:spcBef>
                <a:spcPts val="500"/>
              </a:spcBef>
              <a:buClr>
                <a:srgbClr val="007E39"/>
              </a:buClr>
              <a:buSzPct val="100000"/>
              <a:buNone/>
              <a:defRPr/>
            </a:pPr>
            <a:r>
              <a:rPr lang="en-US" sz="1200" b="1" kern="0" dirty="0">
                <a:solidFill>
                  <a:srgbClr val="FFC000"/>
                </a:solidFill>
                <a:latin typeface="Georgia" panose="02040502050405020303" pitchFamily="18" charset="0"/>
                <a:ea typeface="Tahoma" panose="020B0604030504040204" pitchFamily="34" charset="0"/>
                <a:cs typeface="Tahoma" panose="020B0604030504040204" pitchFamily="34" charset="0"/>
              </a:rPr>
              <a:t>HQ: </a:t>
            </a:r>
          </a:p>
          <a:p>
            <a:pPr marL="457189" indent="-342892" defTabSz="914378">
              <a:lnSpc>
                <a:spcPct val="100000"/>
              </a:lnSpc>
              <a:spcBef>
                <a:spcPts val="0"/>
              </a:spcBef>
              <a:buClr>
                <a:srgbClr val="FFC000"/>
              </a:buClr>
              <a:buSzPct val="100000"/>
              <a:buFont typeface="Wingdings" panose="05000000000000000000" pitchFamily="2" charset="2"/>
              <a:buChar char="§"/>
              <a:defRPr/>
            </a:pPr>
            <a:r>
              <a:rPr lang="en-US" sz="1200" b="1" kern="0" dirty="0">
                <a:solidFill>
                  <a:srgbClr val="FFFFFF"/>
                </a:solidFill>
                <a:latin typeface="Georgia" panose="02040502050405020303" pitchFamily="18" charset="0"/>
                <a:ea typeface="Tahoma" panose="020B0604030504040204" pitchFamily="34" charset="0"/>
                <a:cs typeface="Tahoma" panose="020B0604030504040204" pitchFamily="34" charset="0"/>
              </a:rPr>
              <a:t>CDC Atlanta Lab: </a:t>
            </a: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Confirms every polio case</a:t>
            </a:r>
          </a:p>
          <a:p>
            <a:pPr marL="457189" indent="-342892" defTabSz="914378">
              <a:lnSpc>
                <a:spcPct val="100000"/>
              </a:lnSpc>
              <a:spcBef>
                <a:spcPts val="0"/>
              </a:spcBef>
              <a:buClr>
                <a:srgbClr val="FFC000"/>
              </a:buClr>
              <a:buSzPct val="100000"/>
              <a:buFont typeface="Wingdings" panose="05000000000000000000" pitchFamily="2" charset="2"/>
              <a:buChar char="§"/>
              <a:defRPr/>
            </a:pPr>
            <a:r>
              <a:rPr lang="en-US" sz="1200" b="1" kern="0" dirty="0">
                <a:solidFill>
                  <a:srgbClr val="FFFFFF"/>
                </a:solidFill>
                <a:latin typeface="Georgia" panose="02040502050405020303" pitchFamily="18" charset="0"/>
                <a:ea typeface="Tahoma" panose="020B0604030504040204" pitchFamily="34" charset="0"/>
                <a:cs typeface="Tahoma" panose="020B0604030504040204" pitchFamily="34" charset="0"/>
              </a:rPr>
              <a:t>CDC GRASP:  </a:t>
            </a:r>
            <a:r>
              <a:rPr lang="en-US" sz="1200" kern="0" dirty="0">
                <a:solidFill>
                  <a:srgbClr val="FFFFFF"/>
                </a:solidFill>
                <a:latin typeface="Georgia" panose="02040502050405020303" pitchFamily="18" charset="0"/>
                <a:ea typeface="Tahoma" panose="020B0604030504040204" pitchFamily="34" charset="0"/>
                <a:cs typeface="Tahoma" panose="020B0604030504040204" pitchFamily="34" charset="0"/>
              </a:rPr>
              <a:t>Implements satellite imagery activities</a:t>
            </a:r>
          </a:p>
          <a:p>
            <a:pPr marL="114297" indent="0" defTabSz="914378">
              <a:buClr>
                <a:srgbClr val="000000"/>
              </a:buClr>
              <a:buNone/>
              <a:defRPr/>
            </a:pPr>
            <a:endParaRPr lang="en-US" sz="14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114297" indent="0" defTabSz="914378">
              <a:buClr>
                <a:srgbClr val="000000"/>
              </a:buClr>
              <a:buNone/>
              <a:defRPr/>
            </a:pPr>
            <a:endParaRPr lang="en-US" sz="14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52518542-3451-49FF-B802-FCF2EF1DC4C7}" type="slidenum">
              <a:rPr lang="en-US" smtClean="0"/>
              <a:pPr/>
              <a:t>26</a:t>
            </a:fld>
            <a:endParaRPr lang="en-US"/>
          </a:p>
        </p:txBody>
      </p:sp>
    </p:spTree>
    <p:extLst>
      <p:ext uri="{BB962C8B-B14F-4D97-AF65-F5344CB8AC3E}">
        <p14:creationId xmlns:p14="http://schemas.microsoft.com/office/powerpoint/2010/main" val="2296632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52518542-3451-49FF-B802-FCF2EF1DC4C7}" type="slidenum">
              <a:rPr lang="en-US" smtClean="0"/>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2518542-3451-49FF-B802-FCF2EF1DC4C7}" type="slidenum">
              <a:rPr lang="en-US" smtClean="0"/>
              <a:pPr/>
              <a:t>7</a:t>
            </a:fld>
            <a:endParaRPr lang="en-US"/>
          </a:p>
        </p:txBody>
      </p:sp>
    </p:spTree>
    <p:extLst>
      <p:ext uri="{BB962C8B-B14F-4D97-AF65-F5344CB8AC3E}">
        <p14:creationId xmlns:p14="http://schemas.microsoft.com/office/powerpoint/2010/main" val="124224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The Global Health Security Agenda goes further than any prior global coordination around multiple diseases and conditions. GHSA is not another single-disease initiative; it drives a set of </a:t>
            </a:r>
            <a:r>
              <a:rPr lang="en-US" u="sng" dirty="0"/>
              <a:t>concrete</a:t>
            </a:r>
            <a:r>
              <a:rPr lang="en-US" dirty="0"/>
              <a:t> and </a:t>
            </a:r>
            <a:r>
              <a:rPr lang="en-US" u="sng" dirty="0"/>
              <a:t>achievable</a:t>
            </a:r>
            <a:r>
              <a:rPr lang="en-US" dirty="0"/>
              <a:t> actions to help </a:t>
            </a:r>
            <a:r>
              <a:rPr lang="en-US" u="sng" dirty="0"/>
              <a:t>actualize</a:t>
            </a:r>
            <a:r>
              <a:rPr lang="en-US" dirty="0"/>
              <a:t> the International Health Regulations. It helps us reach public health goals through eleven targets that aim to </a:t>
            </a:r>
          </a:p>
          <a:p>
            <a:r>
              <a:rPr lang="en-US" dirty="0"/>
              <a:t> </a:t>
            </a:r>
          </a:p>
          <a:p>
            <a:r>
              <a:rPr lang="en-US" dirty="0"/>
              <a:t>PREVENT avoidable catastrophes, </a:t>
            </a:r>
          </a:p>
          <a:p>
            <a:r>
              <a:rPr lang="en-US" dirty="0"/>
              <a:t>DETECT threats early, and </a:t>
            </a:r>
          </a:p>
          <a:p>
            <a:r>
              <a:rPr lang="en-US" dirty="0"/>
              <a:t>RESPOND rapidly and effectively. </a:t>
            </a:r>
          </a:p>
          <a:p>
            <a:r>
              <a:rPr lang="en-US" dirty="0"/>
              <a:t> </a:t>
            </a:r>
          </a:p>
          <a:p>
            <a:r>
              <a:rPr lang="en-US" dirty="0"/>
              <a:t>All of the different aspects of GHSA further these three simple goals.</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E0F89AB-2BF4-BC4F-962A-72E070F4CCF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rPr>
              <a:pPr marL="0" marR="0" lvl="0" indent="0" algn="r" defTabSz="4572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1752915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eleven action packages, or targets, that comprise GHSA. While they may seem like discrete activities, these lanes are overlapping and inter-related.</a:t>
            </a:r>
          </a:p>
          <a:p>
            <a:r>
              <a:rPr lang="en-US" dirty="0"/>
              <a:t> </a:t>
            </a:r>
          </a:p>
          <a:p>
            <a:r>
              <a:rPr lang="en-US" dirty="0"/>
              <a:t>To meet the objectives for these targets, we will have to combine efforts across sectors. For instance, labs are instrumental in surveillance; surveillance is instrumental in AMR and zoonotic diseases; identifying zoonotic diseases requires strong reporting systems… It’s all cross-cutting.</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E0F89AB-2BF4-BC4F-962A-72E070F4CCF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rPr>
              <a:pPr marL="0" marR="0" lvl="0" indent="0" algn="r" defTabSz="457200" rtl="0" eaLnBrk="1" fontAlgn="base" latinLnBrk="0" hangingPunct="1">
                <a:lnSpc>
                  <a:spcPct val="100000"/>
                </a:lnSpc>
                <a:spcBef>
                  <a:spcPct val="0"/>
                </a:spcBef>
                <a:spcAft>
                  <a:spcPct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21773898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DC is working closely with countries to implement the Global Health Security Agenda. </a:t>
            </a:r>
          </a:p>
          <a:p>
            <a:r>
              <a:rPr lang="en-US" dirty="0"/>
              <a:t> </a:t>
            </a:r>
          </a:p>
          <a:p>
            <a:r>
              <a:rPr lang="en-US" dirty="0"/>
              <a:t>While the agenda requires input and participation from many sectors, we have a deep bench of expertise in the pillars of public health: </a:t>
            </a:r>
            <a:r>
              <a:rPr lang="en-US" b="1" dirty="0"/>
              <a:t>tracking diseases, building strong laboratory systems, setting up responsive Emergency Operations Centers, and training a public health workforce</a:t>
            </a:r>
            <a:r>
              <a:rPr lang="en-US" dirty="0"/>
              <a:t>. </a:t>
            </a:r>
          </a:p>
          <a:p>
            <a:r>
              <a:rPr lang="en-US" dirty="0"/>
              <a:t> </a:t>
            </a:r>
          </a:p>
          <a:p>
            <a:r>
              <a:rPr lang="en-US" dirty="0"/>
              <a:t>While we participate in all aspects of global health security, these foundational public health capacities provide much of the foundation for our work. In fact, the U.S. has taken the lead on the GHSA </a:t>
            </a:r>
            <a:r>
              <a:rPr lang="en-US" b="1" dirty="0"/>
              <a:t>laboratory</a:t>
            </a:r>
            <a:r>
              <a:rPr lang="en-US" dirty="0"/>
              <a:t> target. Let’s look a little closer at what that means on the ground.</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E0F89AB-2BF4-BC4F-962A-72E070F4CCF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rPr>
              <a:pPr marL="0" marR="0" lvl="0" indent="0" algn="r" defTabSz="457200" rtl="0"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9645124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e</a:t>
            </a:r>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E0F89AB-2BF4-BC4F-962A-72E070F4CCF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rPr>
              <a:pPr marL="0" marR="0" lvl="0" indent="0" algn="r" defTabSz="457200" rtl="0" eaLnBrk="1" fontAlgn="base" latinLnBrk="0" hangingPunct="1">
                <a:lnSpc>
                  <a:spcPct val="100000"/>
                </a:lnSpc>
                <a:spcBef>
                  <a:spcPct val="0"/>
                </a:spcBef>
                <a:spcAft>
                  <a:spcPct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15322034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pPr marL="457200" indent="-457200">
              <a:buAutoNum type="arabicPeriod"/>
            </a:pPr>
            <a:r>
              <a:rPr lang="en-US" sz="2000" dirty="0"/>
              <a:t>African Field Epidemiology Network: </a:t>
            </a:r>
            <a:r>
              <a:rPr lang="en-US" sz="1800" dirty="0"/>
              <a:t>Funding to support the implementation of the Field Epidemiology Training Program</a:t>
            </a:r>
          </a:p>
          <a:p>
            <a:pPr marL="457200" indent="-457200">
              <a:buAutoNum type="arabicPeriod"/>
            </a:pPr>
            <a:r>
              <a:rPr lang="en-US" sz="2000" dirty="0"/>
              <a:t>Pro Health International: </a:t>
            </a:r>
            <a:r>
              <a:rPr lang="en-US" sz="1800" dirty="0"/>
              <a:t>Funding to support the Federal Ministry of Health’s Port Health Services (PHS) Division to </a:t>
            </a:r>
            <a:r>
              <a:rPr lang="en-US" sz="1600" dirty="0"/>
              <a:t>Enhance surveillance in points of entry; Develop and implement the PHS master training program for PHS staff</a:t>
            </a:r>
          </a:p>
          <a:p>
            <a:pPr marL="457200" indent="-457200">
              <a:buAutoNum type="arabicPeriod"/>
            </a:pPr>
            <a:r>
              <a:rPr lang="en-US" sz="2000" dirty="0"/>
              <a:t>Research Triangle Institute</a:t>
            </a:r>
          </a:p>
          <a:p>
            <a:pPr lvl="1"/>
            <a:r>
              <a:rPr lang="en-US" sz="1800" dirty="0"/>
              <a:t>Funding for:</a:t>
            </a:r>
          </a:p>
          <a:p>
            <a:pPr lvl="2"/>
            <a:r>
              <a:rPr lang="en-US" sz="1600" dirty="0"/>
              <a:t>International Health Regulations electronic library </a:t>
            </a:r>
          </a:p>
          <a:p>
            <a:pPr lvl="2"/>
            <a:r>
              <a:rPr lang="en-US" sz="1600" dirty="0"/>
              <a:t>Development of a virtual Joint External Evaluation platform</a:t>
            </a:r>
          </a:p>
          <a:p>
            <a:pPr lvl="2"/>
            <a:endParaRPr lang="en-US" sz="1600" dirty="0"/>
          </a:p>
          <a:p>
            <a:r>
              <a:rPr lang="en-US" sz="2400" dirty="0"/>
              <a:t>4. Georgetown University</a:t>
            </a:r>
          </a:p>
          <a:p>
            <a:pPr lvl="1"/>
            <a:r>
              <a:rPr lang="en-US" sz="2000" dirty="0"/>
              <a:t>Funding for:</a:t>
            </a:r>
          </a:p>
          <a:p>
            <a:pPr lvl="2"/>
            <a:r>
              <a:rPr lang="en-US" sz="1800" dirty="0"/>
              <a:t>Development and implementation of the public health emergency management trainings</a:t>
            </a:r>
          </a:p>
          <a:p>
            <a:r>
              <a:rPr lang="en-US" sz="2400" dirty="0"/>
              <a:t>5. Institute of Human Virology</a:t>
            </a:r>
          </a:p>
          <a:p>
            <a:pPr lvl="1"/>
            <a:r>
              <a:rPr lang="en-US" sz="2000" dirty="0"/>
              <a:t>Funding for:</a:t>
            </a:r>
          </a:p>
          <a:p>
            <a:pPr lvl="2"/>
            <a:r>
              <a:rPr lang="en-US" sz="1800" dirty="0"/>
              <a:t>Enhancement and expansion of electronic based reporting across Nigeria (</a:t>
            </a:r>
            <a:r>
              <a:rPr lang="en-US" sz="1800" dirty="0" err="1"/>
              <a:t>mSERs</a:t>
            </a:r>
            <a:r>
              <a:rPr lang="en-US" sz="1800" dirty="0"/>
              <a:t> and SORMAS)</a:t>
            </a:r>
          </a:p>
          <a:p>
            <a:pPr lvl="2"/>
            <a:r>
              <a:rPr lang="en-US" sz="1800" dirty="0"/>
              <a:t>Establishment of an acute febrile illness surveillance system in Nigeria</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5E0F89AB-2BF4-BC4F-962A-72E070F4CCFC}" type="slidenum">
              <a:rPr kumimoji="0" lang="en-US" sz="1200" b="0" i="0" u="none" strike="noStrike" kern="1200" cap="none" spc="0" normalizeH="0" baseline="0" noProof="0" smtClean="0">
                <a:ln>
                  <a:noFill/>
                </a:ln>
                <a:solidFill>
                  <a:prstClr val="black"/>
                </a:solidFill>
                <a:effectLst/>
                <a:uLnTx/>
                <a:uFillTx/>
                <a:latin typeface="Arial" charset="0"/>
                <a:ea typeface="ＭＳ Ｐゴシック" charset="-128"/>
              </a:rPr>
              <a:pPr marL="0" marR="0" lvl="0" indent="0" algn="r" defTabSz="4572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Arial" charset="0"/>
              <a:ea typeface="ＭＳ Ｐゴシック" charset="-128"/>
            </a:endParaRPr>
          </a:p>
        </p:txBody>
      </p:sp>
    </p:spTree>
    <p:extLst>
      <p:ext uri="{BB962C8B-B14F-4D97-AF65-F5344CB8AC3E}">
        <p14:creationId xmlns:p14="http://schemas.microsoft.com/office/powerpoint/2010/main" val="583418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1"/>
        <p:cNvGrpSpPr/>
        <p:nvPr/>
      </p:nvGrpSpPr>
      <p:grpSpPr>
        <a:xfrm>
          <a:off x="0" y="0"/>
          <a:ext cx="0" cy="0"/>
          <a:chOff x="0" y="0"/>
          <a:chExt cx="0" cy="0"/>
        </a:xfrm>
      </p:grpSpPr>
      <p:sp>
        <p:nvSpPr>
          <p:cNvPr id="182" name="Google Shape;182;p1: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3" name="Google Shape;183;p1: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a:p>
        </p:txBody>
      </p:sp>
      <p:sp>
        <p:nvSpPr>
          <p:cNvPr id="184" name="Google Shape;184;p1:notes"/>
          <p:cNvSpPr txBox="1">
            <a:spLocks noGrp="1"/>
          </p:cNvSpPr>
          <p:nvPr>
            <p:ph type="sldNum" idx="12"/>
          </p:nvPr>
        </p:nvSpPr>
        <p:spPr>
          <a:xfrm>
            <a:off x="3884613" y="8685213"/>
            <a:ext cx="2971800" cy="4572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2</a:t>
            </a:fld>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accent1">
                    <a:lumMod val="50000"/>
                  </a:schemeClr>
                </a:solidFill>
              </a:defRPr>
            </a:lvl1pPr>
          </a:lstStyle>
          <a:p>
            <a:r>
              <a:rPr lang="en-US" dirty="0"/>
              <a:t>Place Descriptor Here</a:t>
            </a:r>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accent1">
                    <a:lumMod val="50000"/>
                  </a:schemeClr>
                </a:solidFill>
              </a:defRPr>
            </a:lvl1pPr>
          </a:lstStyle>
          <a:p>
            <a:r>
              <a:rPr lang="en-US" dirty="0"/>
              <a:t>Place Descriptor Here</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A4AA1865-1EFA-4427-806E-39E35F155A7E}"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_Photo_Light">
  <p:cSld name="Title_Photo_Light">
    <p:bg>
      <p:bgPr>
        <a:solidFill>
          <a:srgbClr val="FFFFFF"/>
        </a:solidFill>
        <a:effectLst/>
      </p:bgPr>
    </p:bg>
    <p:spTree>
      <p:nvGrpSpPr>
        <p:cNvPr id="1" name="Shape 16"/>
        <p:cNvGrpSpPr/>
        <p:nvPr/>
      </p:nvGrpSpPr>
      <p:grpSpPr>
        <a:xfrm>
          <a:off x="0" y="0"/>
          <a:ext cx="0" cy="0"/>
          <a:chOff x="0" y="0"/>
          <a:chExt cx="0" cy="0"/>
        </a:xfrm>
      </p:grpSpPr>
      <p:sp>
        <p:nvSpPr>
          <p:cNvPr id="17" name="Google Shape;17;p13"/>
          <p:cNvSpPr>
            <a:spLocks noGrp="1"/>
          </p:cNvSpPr>
          <p:nvPr>
            <p:ph type="pic" idx="2"/>
          </p:nvPr>
        </p:nvSpPr>
        <p:spPr>
          <a:xfrm>
            <a:off x="128016" y="177805"/>
            <a:ext cx="8887968" cy="6502397"/>
          </a:xfrm>
          <a:prstGeom prst="rect">
            <a:avLst/>
          </a:prstGeom>
          <a:noFill/>
          <a:ln>
            <a:noFill/>
          </a:ln>
        </p:spPr>
        <p:txBody>
          <a:bodyPr spcFirstLastPara="1" wrap="square" lIns="0" tIns="0" rIns="0" bIns="0" anchor="ctr" anchorCtr="0">
            <a:noAutofit/>
          </a:bodyPr>
          <a:lstStyle>
            <a:lvl1pPr marR="0" lvl="0" algn="ctr" rtl="0">
              <a:lnSpc>
                <a:spcPct val="100000"/>
              </a:lnSpc>
              <a:spcBef>
                <a:spcPts val="480"/>
              </a:spcBef>
              <a:spcAft>
                <a:spcPts val="0"/>
              </a:spcAft>
              <a:buClr>
                <a:srgbClr val="6C6463"/>
              </a:buClr>
              <a:buSzPts val="3200"/>
              <a:buFont typeface="Gill Sans"/>
              <a:buNone/>
              <a:defRPr sz="2400" b="0" i="0" u="none" strike="noStrike" cap="none">
                <a:solidFill>
                  <a:srgbClr val="00427B"/>
                </a:solidFill>
                <a:latin typeface="Arial"/>
                <a:ea typeface="Arial"/>
                <a:cs typeface="Arial"/>
                <a:sym typeface="Arial"/>
              </a:defRPr>
            </a:lvl1pPr>
            <a:lvl2pPr marR="0" lvl="1" algn="l" rtl="0">
              <a:lnSpc>
                <a:spcPct val="100000"/>
              </a:lnSpc>
              <a:spcBef>
                <a:spcPts val="0"/>
              </a:spcBef>
              <a:spcAft>
                <a:spcPts val="0"/>
              </a:spcAft>
              <a:buClr>
                <a:srgbClr val="635C5B"/>
              </a:buClr>
              <a:buSzPts val="2900"/>
              <a:buFont typeface="Arial"/>
              <a:buChar char="–"/>
              <a:defRPr sz="2175" b="0" i="0" u="none" strike="noStrike" cap="none">
                <a:solidFill>
                  <a:srgbClr val="635C5B"/>
                </a:solidFill>
                <a:latin typeface="Cabin"/>
                <a:ea typeface="Cabin"/>
                <a:cs typeface="Cabin"/>
                <a:sym typeface="Cabin"/>
              </a:defRPr>
            </a:lvl2pPr>
            <a:lvl3pPr marR="0" lvl="2" algn="l" rtl="0">
              <a:lnSpc>
                <a:spcPct val="100000"/>
              </a:lnSpc>
              <a:spcBef>
                <a:spcPts val="1286"/>
              </a:spcBef>
              <a:spcAft>
                <a:spcPts val="0"/>
              </a:spcAft>
              <a:buClr>
                <a:srgbClr val="6C6463"/>
              </a:buClr>
              <a:buSzPts val="2600"/>
              <a:buFont typeface="Arial"/>
              <a:buChar char="•"/>
              <a:defRPr sz="1950" b="0" i="0" u="none" strike="noStrike" cap="none">
                <a:solidFill>
                  <a:srgbClr val="6C6463"/>
                </a:solidFill>
                <a:latin typeface="Cabin"/>
                <a:ea typeface="Cabin"/>
                <a:cs typeface="Cabin"/>
                <a:sym typeface="Cabin"/>
              </a:defRPr>
            </a:lvl3pPr>
            <a:lvl4pPr marR="0" lvl="3" algn="l" rtl="0">
              <a:lnSpc>
                <a:spcPct val="100000"/>
              </a:lnSpc>
              <a:spcBef>
                <a:spcPts val="345"/>
              </a:spcBef>
              <a:spcAft>
                <a:spcPts val="0"/>
              </a:spcAft>
              <a:buClr>
                <a:srgbClr val="6C6463"/>
              </a:buClr>
              <a:buSzPts val="2300"/>
              <a:buFont typeface="Arial"/>
              <a:buChar char="–"/>
              <a:defRPr sz="1725" b="0" i="0" u="none" strike="noStrike" cap="none">
                <a:solidFill>
                  <a:srgbClr val="6C6463"/>
                </a:solidFill>
                <a:latin typeface="Cabin"/>
                <a:ea typeface="Cabin"/>
                <a:cs typeface="Cabin"/>
                <a:sym typeface="Cabin"/>
              </a:defRPr>
            </a:lvl4pPr>
            <a:lvl5pPr marR="0" lvl="4" algn="l" rtl="0">
              <a:lnSpc>
                <a:spcPct val="100000"/>
              </a:lnSpc>
              <a:spcBef>
                <a:spcPts val="300"/>
              </a:spcBef>
              <a:spcAft>
                <a:spcPts val="0"/>
              </a:spcAft>
              <a:buClr>
                <a:srgbClr val="6C6463"/>
              </a:buClr>
              <a:buSzPts val="2000"/>
              <a:buFont typeface="Arial"/>
              <a:buChar char="»"/>
              <a:defRPr sz="1500" b="0" i="0" u="none" strike="noStrike" cap="none">
                <a:solidFill>
                  <a:srgbClr val="6C6463"/>
                </a:solidFill>
                <a:latin typeface="Cabin"/>
                <a:ea typeface="Cabin"/>
                <a:cs typeface="Cabin"/>
                <a:sym typeface="Cabin"/>
              </a:defRPr>
            </a:lvl5pPr>
            <a:lvl6pPr marR="0" lvl="5" algn="l" rtl="0">
              <a:lnSpc>
                <a:spcPct val="100000"/>
              </a:lnSpc>
              <a:spcBef>
                <a:spcPts val="435"/>
              </a:spcBef>
              <a:spcAft>
                <a:spcPts val="0"/>
              </a:spcAft>
              <a:buClr>
                <a:schemeClr val="dk1"/>
              </a:buClr>
              <a:buSzPts val="2900"/>
              <a:buFont typeface="Arial"/>
              <a:buChar char="•"/>
              <a:defRPr sz="2175" b="0" i="0" u="none" strike="noStrike" cap="none">
                <a:solidFill>
                  <a:schemeClr val="dk1"/>
                </a:solidFill>
                <a:latin typeface="Cabin"/>
                <a:ea typeface="Cabin"/>
                <a:cs typeface="Cabin"/>
                <a:sym typeface="Cabin"/>
              </a:defRPr>
            </a:lvl6pPr>
            <a:lvl7pPr marR="0" lvl="6" algn="l" rtl="0">
              <a:lnSpc>
                <a:spcPct val="100000"/>
              </a:lnSpc>
              <a:spcBef>
                <a:spcPts val="435"/>
              </a:spcBef>
              <a:spcAft>
                <a:spcPts val="0"/>
              </a:spcAft>
              <a:buClr>
                <a:schemeClr val="dk1"/>
              </a:buClr>
              <a:buSzPts val="2900"/>
              <a:buFont typeface="Arial"/>
              <a:buChar char="•"/>
              <a:defRPr sz="2175" b="0" i="0" u="none" strike="noStrike" cap="none">
                <a:solidFill>
                  <a:schemeClr val="dk1"/>
                </a:solidFill>
                <a:latin typeface="Cabin"/>
                <a:ea typeface="Cabin"/>
                <a:cs typeface="Cabin"/>
                <a:sym typeface="Cabin"/>
              </a:defRPr>
            </a:lvl7pPr>
            <a:lvl8pPr marR="0" lvl="7" algn="l" rtl="0">
              <a:lnSpc>
                <a:spcPct val="100000"/>
              </a:lnSpc>
              <a:spcBef>
                <a:spcPts val="435"/>
              </a:spcBef>
              <a:spcAft>
                <a:spcPts val="0"/>
              </a:spcAft>
              <a:buClr>
                <a:schemeClr val="dk1"/>
              </a:buClr>
              <a:buSzPts val="2900"/>
              <a:buFont typeface="Arial"/>
              <a:buChar char="•"/>
              <a:defRPr sz="2175" b="0" i="0" u="none" strike="noStrike" cap="none">
                <a:solidFill>
                  <a:schemeClr val="dk1"/>
                </a:solidFill>
                <a:latin typeface="Cabin"/>
                <a:ea typeface="Cabin"/>
                <a:cs typeface="Cabin"/>
                <a:sym typeface="Cabin"/>
              </a:defRPr>
            </a:lvl8pPr>
            <a:lvl9pPr marR="0" lvl="8" algn="l" rtl="0">
              <a:lnSpc>
                <a:spcPct val="100000"/>
              </a:lnSpc>
              <a:spcBef>
                <a:spcPts val="435"/>
              </a:spcBef>
              <a:spcAft>
                <a:spcPts val="0"/>
              </a:spcAft>
              <a:buClr>
                <a:schemeClr val="dk1"/>
              </a:buClr>
              <a:buSzPts val="2900"/>
              <a:buFont typeface="Arial"/>
              <a:buChar char="•"/>
              <a:defRPr sz="2175" b="0" i="0" u="none" strike="noStrike" cap="none">
                <a:solidFill>
                  <a:schemeClr val="dk1"/>
                </a:solidFill>
                <a:latin typeface="Cabin"/>
                <a:ea typeface="Cabin"/>
                <a:cs typeface="Cabin"/>
                <a:sym typeface="Cabin"/>
              </a:defRPr>
            </a:lvl9pPr>
          </a:lstStyle>
          <a:p>
            <a:endParaRPr/>
          </a:p>
        </p:txBody>
      </p:sp>
      <p:cxnSp>
        <p:nvCxnSpPr>
          <p:cNvPr id="18" name="Google Shape;18;p13"/>
          <p:cNvCxnSpPr/>
          <p:nvPr/>
        </p:nvCxnSpPr>
        <p:spPr>
          <a:xfrm>
            <a:off x="533400" y="2311400"/>
            <a:ext cx="533400" cy="0"/>
          </a:xfrm>
          <a:prstGeom prst="straightConnector1">
            <a:avLst/>
          </a:prstGeom>
          <a:noFill/>
          <a:ln w="76200" cap="flat" cmpd="sng">
            <a:solidFill>
              <a:srgbClr val="006FBA"/>
            </a:solidFill>
            <a:prstDash val="solid"/>
            <a:round/>
            <a:headEnd type="none" w="sm" len="sm"/>
            <a:tailEnd type="none" w="sm" len="sm"/>
          </a:ln>
        </p:spPr>
      </p:cxnSp>
      <p:sp>
        <p:nvSpPr>
          <p:cNvPr id="19" name="Google Shape;19;p13"/>
          <p:cNvSpPr txBox="1">
            <a:spLocks noGrp="1"/>
          </p:cNvSpPr>
          <p:nvPr>
            <p:ph type="body" idx="1"/>
          </p:nvPr>
        </p:nvSpPr>
        <p:spPr>
          <a:xfrm>
            <a:off x="533400" y="4648200"/>
            <a:ext cx="2667000" cy="406400"/>
          </a:xfrm>
          <a:prstGeom prst="rect">
            <a:avLst/>
          </a:prstGeom>
          <a:noFill/>
          <a:ln>
            <a:noFill/>
          </a:ln>
        </p:spPr>
        <p:txBody>
          <a:bodyPr spcFirstLastPara="1" wrap="square" lIns="0" tIns="0" rIns="0" bIns="0" anchor="t" anchorCtr="0">
            <a:noAutofit/>
          </a:bodyPr>
          <a:lstStyle>
            <a:lvl1pPr marL="342900" marR="0" lvl="0" indent="-171450" algn="l">
              <a:spcBef>
                <a:spcPts val="240"/>
              </a:spcBef>
              <a:spcAft>
                <a:spcPts val="0"/>
              </a:spcAft>
              <a:buClr>
                <a:srgbClr val="00427B"/>
              </a:buClr>
              <a:buSzPts val="1600"/>
              <a:buFont typeface="Arial"/>
              <a:buNone/>
              <a:defRPr sz="1200" b="0" i="0" u="none" strike="noStrike" cap="none">
                <a:solidFill>
                  <a:srgbClr val="00427B"/>
                </a:solidFill>
                <a:latin typeface="Arial"/>
                <a:ea typeface="Arial"/>
                <a:cs typeface="Arial"/>
                <a:sym typeface="Arial"/>
              </a:defRPr>
            </a:lvl1pPr>
            <a:lvl2pPr marL="685800" marR="0" lvl="1" indent="-304800" algn="l">
              <a:spcBef>
                <a:spcPts val="420"/>
              </a:spcBef>
              <a:spcAft>
                <a:spcPts val="0"/>
              </a:spcAft>
              <a:buClr>
                <a:schemeClr val="dk1"/>
              </a:buClr>
              <a:buSzPts val="2800"/>
              <a:buFont typeface="Arial"/>
              <a:buChar char="–"/>
              <a:defRPr sz="2100" b="0" i="0" u="none" strike="noStrike" cap="none">
                <a:solidFill>
                  <a:schemeClr val="dk1"/>
                </a:solidFill>
                <a:latin typeface="Calibri"/>
                <a:ea typeface="Calibri"/>
                <a:cs typeface="Calibri"/>
                <a:sym typeface="Calibri"/>
              </a:defRPr>
            </a:lvl2pPr>
            <a:lvl3pPr marL="1028700" marR="0" lvl="2" indent="-285750" algn="l">
              <a:spcBef>
                <a:spcPts val="360"/>
              </a:spcBef>
              <a:spcAft>
                <a:spcPts val="0"/>
              </a:spcAft>
              <a:buClr>
                <a:schemeClr val="dk1"/>
              </a:buClr>
              <a:buSzPts val="2400"/>
              <a:buFont typeface="Arial"/>
              <a:buChar char="•"/>
              <a:defRPr sz="1800" b="0" i="0" u="none" strike="noStrike" cap="none">
                <a:solidFill>
                  <a:schemeClr val="dk1"/>
                </a:solidFill>
                <a:latin typeface="Calibri"/>
                <a:ea typeface="Calibri"/>
                <a:cs typeface="Calibri"/>
                <a:sym typeface="Calibri"/>
              </a:defRPr>
            </a:lvl3pPr>
            <a:lvl4pPr marL="1371600" marR="0" lvl="3" indent="-266700" algn="l">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4pPr>
            <a:lvl5pPr marL="1714500" marR="0" lvl="4" indent="-266700" algn="l">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5pPr>
            <a:lvl6pPr marL="2057400" marR="0" lvl="5" indent="-266700" algn="l">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6pPr>
            <a:lvl7pPr marL="2400300" marR="0" lvl="6" indent="-266700" algn="l">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7pPr>
            <a:lvl8pPr marL="2743200" marR="0" lvl="7" indent="-266700" algn="l">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8pPr>
            <a:lvl9pPr marL="3086100" marR="0" lvl="8" indent="-266700" algn="l">
              <a:spcBef>
                <a:spcPts val="300"/>
              </a:spcBef>
              <a:spcAft>
                <a:spcPts val="0"/>
              </a:spcAft>
              <a:buClr>
                <a:schemeClr val="dk1"/>
              </a:buClr>
              <a:buSzPts val="20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20" name="Google Shape;20;p13"/>
          <p:cNvSpPr txBox="1">
            <a:spLocks noGrp="1"/>
          </p:cNvSpPr>
          <p:nvPr>
            <p:ph type="title"/>
          </p:nvPr>
        </p:nvSpPr>
        <p:spPr>
          <a:xfrm>
            <a:off x="533410" y="2616205"/>
            <a:ext cx="4114784" cy="1828799"/>
          </a:xfrm>
          <a:prstGeom prst="rect">
            <a:avLst/>
          </a:prstGeom>
          <a:noFill/>
          <a:ln>
            <a:noFill/>
          </a:ln>
        </p:spPr>
        <p:txBody>
          <a:bodyPr spcFirstLastPara="1" wrap="square" lIns="0" tIns="0" rIns="0" bIns="0" anchor="t" anchorCtr="0">
            <a:noAutofit/>
          </a:bodyPr>
          <a:lstStyle>
            <a:lvl1pPr marR="0" lvl="0" algn="l">
              <a:lnSpc>
                <a:spcPct val="80000"/>
              </a:lnSpc>
              <a:spcBef>
                <a:spcPts val="0"/>
              </a:spcBef>
              <a:spcAft>
                <a:spcPts val="0"/>
              </a:spcAft>
              <a:buClr>
                <a:srgbClr val="00427B"/>
              </a:buClr>
              <a:buSzPts val="3600"/>
              <a:buFont typeface="Arial"/>
              <a:buNone/>
              <a:defRPr sz="2700" b="1" i="0" u="none" strike="noStrike" cap="none">
                <a:solidFill>
                  <a:srgbClr val="00427B"/>
                </a:solidFill>
                <a:latin typeface="Arial"/>
                <a:ea typeface="Arial"/>
                <a:cs typeface="Arial"/>
                <a:sym typeface="Arial"/>
              </a:defRPr>
            </a:lvl1pPr>
            <a:lvl2pPr lvl="1" algn="ctr">
              <a:spcBef>
                <a:spcPts val="0"/>
              </a:spcBef>
              <a:spcAft>
                <a:spcPts val="0"/>
              </a:spcAft>
              <a:buClr>
                <a:srgbClr val="262626"/>
              </a:buClr>
              <a:buSzPts val="1400"/>
              <a:buFont typeface="Cambria"/>
              <a:buNone/>
              <a:defRPr sz="1350"/>
            </a:lvl2pPr>
            <a:lvl3pPr lvl="2" algn="ctr">
              <a:spcBef>
                <a:spcPts val="0"/>
              </a:spcBef>
              <a:spcAft>
                <a:spcPts val="0"/>
              </a:spcAft>
              <a:buClr>
                <a:srgbClr val="262626"/>
              </a:buClr>
              <a:buSzPts val="1400"/>
              <a:buFont typeface="Cambria"/>
              <a:buNone/>
              <a:defRPr sz="1350"/>
            </a:lvl3pPr>
            <a:lvl4pPr lvl="3" algn="ctr">
              <a:spcBef>
                <a:spcPts val="0"/>
              </a:spcBef>
              <a:spcAft>
                <a:spcPts val="0"/>
              </a:spcAft>
              <a:buClr>
                <a:srgbClr val="262626"/>
              </a:buClr>
              <a:buSzPts val="1400"/>
              <a:buFont typeface="Cambria"/>
              <a:buNone/>
              <a:defRPr sz="1350"/>
            </a:lvl4pPr>
            <a:lvl5pPr lvl="4" algn="ctr">
              <a:spcBef>
                <a:spcPts val="0"/>
              </a:spcBef>
              <a:spcAft>
                <a:spcPts val="0"/>
              </a:spcAft>
              <a:buClr>
                <a:srgbClr val="262626"/>
              </a:buClr>
              <a:buSzPts val="1400"/>
              <a:buFont typeface="Cambria"/>
              <a:buNone/>
              <a:defRPr sz="1350"/>
            </a:lvl5pPr>
            <a:lvl6pPr lvl="5" algn="l">
              <a:spcBef>
                <a:spcPts val="0"/>
              </a:spcBef>
              <a:spcAft>
                <a:spcPts val="0"/>
              </a:spcAft>
              <a:buClr>
                <a:schemeClr val="dk2"/>
              </a:buClr>
              <a:buSzPts val="1400"/>
              <a:buNone/>
              <a:defRPr sz="1350"/>
            </a:lvl6pPr>
            <a:lvl7pPr lvl="6" algn="l">
              <a:spcBef>
                <a:spcPts val="0"/>
              </a:spcBef>
              <a:spcAft>
                <a:spcPts val="0"/>
              </a:spcAft>
              <a:buClr>
                <a:schemeClr val="dk2"/>
              </a:buClr>
              <a:buSzPts val="1400"/>
              <a:buNone/>
              <a:defRPr sz="1350"/>
            </a:lvl7pPr>
            <a:lvl8pPr lvl="7" algn="l">
              <a:spcBef>
                <a:spcPts val="0"/>
              </a:spcBef>
              <a:spcAft>
                <a:spcPts val="0"/>
              </a:spcAft>
              <a:buClr>
                <a:schemeClr val="dk2"/>
              </a:buClr>
              <a:buSzPts val="1400"/>
              <a:buNone/>
              <a:defRPr sz="1350"/>
            </a:lvl8pPr>
            <a:lvl9pPr lvl="8" algn="l">
              <a:spcBef>
                <a:spcPts val="0"/>
              </a:spcBef>
              <a:spcAft>
                <a:spcPts val="0"/>
              </a:spcAft>
              <a:buClr>
                <a:schemeClr val="dk2"/>
              </a:buClr>
              <a:buSzPts val="1400"/>
              <a:buNone/>
              <a:defRPr sz="1350"/>
            </a:lvl9pPr>
          </a:lstStyle>
          <a:p>
            <a:endParaRPr/>
          </a:p>
        </p:txBody>
      </p:sp>
      <p:pic>
        <p:nvPicPr>
          <p:cNvPr id="21" name="Google Shape;21;p13" descr="Text&#10;&#10;Description automatically generated"/>
          <p:cNvPicPr preferRelativeResize="0"/>
          <p:nvPr/>
        </p:nvPicPr>
        <p:blipFill rotWithShape="1">
          <a:blip r:embed="rId2">
            <a:alphaModFix/>
          </a:blip>
          <a:srcRect/>
          <a:stretch/>
        </p:blipFill>
        <p:spPr>
          <a:xfrm>
            <a:off x="5278993" y="5054603"/>
            <a:ext cx="3622506" cy="1507749"/>
          </a:xfrm>
          <a:prstGeom prst="rect">
            <a:avLst/>
          </a:prstGeom>
          <a:noFill/>
          <a:ln>
            <a:noFill/>
          </a:ln>
        </p:spPr>
      </p:pic>
    </p:spTree>
    <p:extLst>
      <p:ext uri="{BB962C8B-B14F-4D97-AF65-F5344CB8AC3E}">
        <p14:creationId xmlns:p14="http://schemas.microsoft.com/office/powerpoint/2010/main" val="11672605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2"/>
        <p:cNvGrpSpPr/>
        <p:nvPr/>
      </p:nvGrpSpPr>
      <p:grpSpPr>
        <a:xfrm>
          <a:off x="0" y="0"/>
          <a:ext cx="0" cy="0"/>
          <a:chOff x="0" y="0"/>
          <a:chExt cx="0" cy="0"/>
        </a:xfrm>
      </p:grpSpPr>
      <p:sp>
        <p:nvSpPr>
          <p:cNvPr id="23" name="Google Shape;23;p14"/>
          <p:cNvSpPr txBox="1">
            <a:spLocks noGrp="1"/>
          </p:cNvSpPr>
          <p:nvPr>
            <p:ph type="title"/>
          </p:nvPr>
        </p:nvSpPr>
        <p:spPr>
          <a:xfrm>
            <a:off x="550864" y="436565"/>
            <a:ext cx="8042275" cy="144303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 name="Google Shape;24;p14"/>
          <p:cNvSpPr txBox="1">
            <a:spLocks noGrp="1"/>
          </p:cNvSpPr>
          <p:nvPr>
            <p:ph type="body" idx="1"/>
          </p:nvPr>
        </p:nvSpPr>
        <p:spPr>
          <a:xfrm>
            <a:off x="838200" y="2038350"/>
            <a:ext cx="7467600" cy="3951288"/>
          </a:xfrm>
          <a:prstGeom prst="rect">
            <a:avLst/>
          </a:prstGeom>
          <a:noFill/>
          <a:ln>
            <a:noFill/>
          </a:ln>
        </p:spPr>
        <p:txBody>
          <a:bodyPr spcFirstLastPara="1" wrap="square" lIns="91425" tIns="45700" rIns="91425" bIns="45700" anchor="t"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25" name="Google Shape;25;p14"/>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 name="Google Shape;26;p14"/>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14"/>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7499311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8"/>
        <p:cNvGrpSpPr/>
        <p:nvPr/>
      </p:nvGrpSpPr>
      <p:grpSpPr>
        <a:xfrm>
          <a:off x="0" y="0"/>
          <a:ext cx="0" cy="0"/>
          <a:chOff x="0" y="0"/>
          <a:chExt cx="0" cy="0"/>
        </a:xfrm>
      </p:grpSpPr>
      <p:pic>
        <p:nvPicPr>
          <p:cNvPr id="29" name="Google Shape;29;p20" descr="C:\Users\jnsch\Desktop\O14ThemesHandoffs\WorkingFiles\FinalHanoff\Sketchbook\Cover.jpg"/>
          <p:cNvPicPr preferRelativeResize="0"/>
          <p:nvPr/>
        </p:nvPicPr>
        <p:blipFill rotWithShape="1">
          <a:blip r:embed="rId2">
            <a:alphaModFix/>
          </a:blip>
          <a:srcRect/>
          <a:stretch/>
        </p:blipFill>
        <p:spPr>
          <a:xfrm>
            <a:off x="0" y="0"/>
            <a:ext cx="9144000" cy="6858000"/>
          </a:xfrm>
          <a:prstGeom prst="rect">
            <a:avLst/>
          </a:prstGeom>
          <a:noFill/>
          <a:ln>
            <a:noFill/>
          </a:ln>
        </p:spPr>
      </p:pic>
      <p:grpSp>
        <p:nvGrpSpPr>
          <p:cNvPr id="30" name="Google Shape;30;p20"/>
          <p:cNvGrpSpPr/>
          <p:nvPr/>
        </p:nvGrpSpPr>
        <p:grpSpPr>
          <a:xfrm rot="-1066324">
            <a:off x="617532" y="3922674"/>
            <a:ext cx="2509176" cy="2527445"/>
            <a:chOff x="494947" y="417140"/>
            <a:chExt cx="2416941" cy="2421490"/>
          </a:xfrm>
        </p:grpSpPr>
        <p:sp>
          <p:nvSpPr>
            <p:cNvPr id="31" name="Google Shape;31;p20"/>
            <p:cNvSpPr/>
            <p:nvPr/>
          </p:nvSpPr>
          <p:spPr>
            <a:xfrm>
              <a:off x="494947" y="494484"/>
              <a:ext cx="2328384" cy="2344146"/>
            </a:xfrm>
            <a:custGeom>
              <a:avLst/>
              <a:gdLst/>
              <a:ahLst/>
              <a:cxnLst/>
              <a:rect l="l" t="t" r="r" b="b"/>
              <a:pathLst>
                <a:path w="2328384" h="2344146" extrusionOk="0">
                  <a:moveTo>
                    <a:pt x="94077" y="0"/>
                  </a:moveTo>
                  <a:lnTo>
                    <a:pt x="0" y="2344146"/>
                  </a:lnTo>
                  <a:lnTo>
                    <a:pt x="2328384" y="2250067"/>
                  </a:lnTo>
                  <a:lnTo>
                    <a:pt x="94077" y="0"/>
                  </a:lnTo>
                  <a:close/>
                </a:path>
              </a:pathLst>
            </a:custGeom>
            <a:gradFill>
              <a:gsLst>
                <a:gs pos="0">
                  <a:srgbClr val="000100">
                    <a:alpha val="30980"/>
                  </a:srgbClr>
                </a:gs>
                <a:gs pos="49000">
                  <a:srgbClr val="FEFFFF">
                    <a:alpha val="0"/>
                  </a:srgbClr>
                </a:gs>
                <a:gs pos="100000">
                  <a:srgbClr val="FEFFFF">
                    <a:alpha val="0"/>
                  </a:srgbClr>
                </a:gs>
              </a:gsLst>
              <a:path path="circle">
                <a:fillToRect t="100000" r="100000"/>
              </a:path>
              <a:tileRect l="-100000" b="-100000"/>
            </a:gradFill>
            <a:ln>
              <a:noFill/>
            </a:ln>
            <a:effectLst>
              <a:outerShdw blurRad="50800" dist="12700" dir="5400000" rotWithShape="0">
                <a:srgbClr val="000000">
                  <a:alpha val="36862"/>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FFFFFF"/>
                </a:solidFill>
                <a:latin typeface="Cambria"/>
                <a:ea typeface="Cambria"/>
                <a:cs typeface="Cambria"/>
                <a:sym typeface="Cambria"/>
              </a:endParaRPr>
            </a:p>
          </p:txBody>
        </p:sp>
        <p:sp>
          <p:nvSpPr>
            <p:cNvPr id="32" name="Google Shape;32;p20"/>
            <p:cNvSpPr/>
            <p:nvPr/>
          </p:nvSpPr>
          <p:spPr>
            <a:xfrm>
              <a:off x="590646" y="417140"/>
              <a:ext cx="2321242" cy="2320968"/>
            </a:xfrm>
            <a:prstGeom prst="rect">
              <a:avLst/>
            </a:prstGeom>
            <a:gradFill>
              <a:gsLst>
                <a:gs pos="0">
                  <a:srgbClr val="FAE148"/>
                </a:gs>
                <a:gs pos="100000">
                  <a:srgbClr val="FFEB63"/>
                </a:gs>
              </a:gsLst>
              <a:lin ang="1620000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0">
                <a:solidFill>
                  <a:srgbClr val="FFFFFF"/>
                </a:solidFill>
                <a:latin typeface="Cambria"/>
                <a:ea typeface="Cambria"/>
                <a:cs typeface="Cambria"/>
                <a:sym typeface="Cambria"/>
              </a:endParaRPr>
            </a:p>
          </p:txBody>
        </p:sp>
        <p:pic>
          <p:nvPicPr>
            <p:cNvPr id="33" name="Google Shape;33;p20" descr="stickie-shadow.png"/>
            <p:cNvPicPr preferRelativeResize="0"/>
            <p:nvPr/>
          </p:nvPicPr>
          <p:blipFill rotWithShape="1">
            <a:blip r:embed="rId3">
              <a:alphaModFix/>
            </a:blip>
            <a:srcRect/>
            <a:stretch/>
          </p:blipFill>
          <p:spPr>
            <a:xfrm>
              <a:off x="614456" y="436040"/>
              <a:ext cx="404704" cy="461174"/>
            </a:xfrm>
            <a:prstGeom prst="rect">
              <a:avLst/>
            </a:prstGeom>
            <a:noFill/>
            <a:ln>
              <a:noFill/>
            </a:ln>
          </p:spPr>
        </p:pic>
        <p:pic>
          <p:nvPicPr>
            <p:cNvPr id="34" name="Google Shape;34;p20" descr="stickie-shadow.png"/>
            <p:cNvPicPr preferRelativeResize="0"/>
            <p:nvPr/>
          </p:nvPicPr>
          <p:blipFill rotWithShape="1">
            <a:blip r:embed="rId3">
              <a:alphaModFix/>
            </a:blip>
            <a:srcRect/>
            <a:stretch/>
          </p:blipFill>
          <p:spPr>
            <a:xfrm rot="-5400000">
              <a:off x="637932" y="2282410"/>
              <a:ext cx="404704" cy="461174"/>
            </a:xfrm>
            <a:prstGeom prst="rect">
              <a:avLst/>
            </a:prstGeom>
            <a:noFill/>
            <a:ln>
              <a:noFill/>
            </a:ln>
          </p:spPr>
        </p:pic>
      </p:grpSp>
      <p:pic>
        <p:nvPicPr>
          <p:cNvPr id="35" name="Google Shape;35;p20" descr="TitleCard.png"/>
          <p:cNvPicPr preferRelativeResize="0"/>
          <p:nvPr/>
        </p:nvPicPr>
        <p:blipFill rotWithShape="1">
          <a:blip r:embed="rId4">
            <a:alphaModFix/>
          </a:blip>
          <a:srcRect/>
          <a:stretch/>
        </p:blipFill>
        <p:spPr>
          <a:xfrm rot="343346">
            <a:off x="2855914" y="2587627"/>
            <a:ext cx="5773737" cy="3851275"/>
          </a:xfrm>
          <a:prstGeom prst="rect">
            <a:avLst/>
          </a:prstGeom>
          <a:noFill/>
          <a:ln>
            <a:noFill/>
          </a:ln>
        </p:spPr>
      </p:pic>
      <p:pic>
        <p:nvPicPr>
          <p:cNvPr id="36" name="Google Shape;36;p20" descr="coverBand.png"/>
          <p:cNvPicPr preferRelativeResize="0"/>
          <p:nvPr/>
        </p:nvPicPr>
        <p:blipFill rotWithShape="1">
          <a:blip r:embed="rId5">
            <a:alphaModFix/>
          </a:blip>
          <a:srcRect/>
          <a:stretch/>
        </p:blipFill>
        <p:spPr>
          <a:xfrm>
            <a:off x="0" y="5880100"/>
            <a:ext cx="9144000" cy="330200"/>
          </a:xfrm>
          <a:prstGeom prst="rect">
            <a:avLst/>
          </a:prstGeom>
          <a:noFill/>
          <a:ln>
            <a:noFill/>
          </a:ln>
          <a:effectLst>
            <a:outerShdw blurRad="63500" dist="38100" dir="5400000" algn="t" rotWithShape="0">
              <a:srgbClr val="000000">
                <a:alpha val="58823"/>
              </a:srgbClr>
            </a:outerShdw>
          </a:effectLst>
        </p:spPr>
      </p:pic>
      <p:sp>
        <p:nvSpPr>
          <p:cNvPr id="37" name="Google Shape;37;p20"/>
          <p:cNvSpPr txBox="1">
            <a:spLocks noGrp="1"/>
          </p:cNvSpPr>
          <p:nvPr>
            <p:ph type="ctrTitle"/>
          </p:nvPr>
        </p:nvSpPr>
        <p:spPr>
          <a:xfrm rot="360000">
            <a:off x="3339810" y="3015792"/>
            <a:ext cx="4847038" cy="1599722"/>
          </a:xfrm>
          <a:prstGeom prst="rect">
            <a:avLst/>
          </a:prstGeom>
          <a:noFill/>
          <a:ln>
            <a:noFill/>
          </a:ln>
        </p:spPr>
        <p:txBody>
          <a:bodyPr spcFirstLastPara="1" wrap="square" lIns="91425" tIns="45700" rIns="91425" bIns="45700" anchor="b" anchorCtr="0">
            <a:noAutofit/>
          </a:bodyPr>
          <a:lstStyle>
            <a:lvl1pPr lvl="0" algn="ctr">
              <a:spcBef>
                <a:spcPts val="0"/>
              </a:spcBef>
              <a:spcAft>
                <a:spcPts val="0"/>
              </a:spcAft>
              <a:buSzPts val="1400"/>
              <a:buNone/>
              <a:defRPr sz="3600">
                <a:solidFill>
                  <a:srgbClr val="000100"/>
                </a:solidFill>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20"/>
          <p:cNvSpPr txBox="1">
            <a:spLocks noGrp="1"/>
          </p:cNvSpPr>
          <p:nvPr>
            <p:ph type="subTitle" idx="1"/>
          </p:nvPr>
        </p:nvSpPr>
        <p:spPr>
          <a:xfrm rot="360000">
            <a:off x="3200499" y="4766918"/>
            <a:ext cx="4836456" cy="1040845"/>
          </a:xfrm>
          <a:prstGeom prst="rect">
            <a:avLst/>
          </a:prstGeom>
          <a:noFill/>
          <a:ln>
            <a:noFill/>
          </a:ln>
        </p:spPr>
        <p:txBody>
          <a:bodyPr spcFirstLastPara="1" wrap="square" lIns="91425" tIns="45700" rIns="91425" bIns="45700" anchor="t" anchorCtr="0">
            <a:normAutofit/>
          </a:bodyPr>
          <a:lstStyle>
            <a:lvl1pPr lvl="0" algn="ctr">
              <a:spcBef>
                <a:spcPts val="270"/>
              </a:spcBef>
              <a:spcAft>
                <a:spcPts val="0"/>
              </a:spcAft>
              <a:buSzPts val="1710"/>
              <a:buNone/>
              <a:defRPr sz="1350">
                <a:solidFill>
                  <a:srgbClr val="000100"/>
                </a:solidFill>
              </a:defRPr>
            </a:lvl1pPr>
            <a:lvl2pPr lvl="1" algn="ctr">
              <a:spcBef>
                <a:spcPts val="330"/>
              </a:spcBef>
              <a:spcAft>
                <a:spcPts val="0"/>
              </a:spcAft>
              <a:buSzPts val="2090"/>
              <a:buNone/>
              <a:defRPr>
                <a:solidFill>
                  <a:srgbClr val="888888"/>
                </a:solidFill>
              </a:defRPr>
            </a:lvl2pPr>
            <a:lvl3pPr lvl="2" algn="ctr">
              <a:spcBef>
                <a:spcPts val="300"/>
              </a:spcBef>
              <a:spcAft>
                <a:spcPts val="0"/>
              </a:spcAft>
              <a:buSzPts val="1900"/>
              <a:buNone/>
              <a:defRPr>
                <a:solidFill>
                  <a:srgbClr val="888888"/>
                </a:solidFill>
              </a:defRPr>
            </a:lvl3pPr>
            <a:lvl4pPr lvl="3" algn="ctr">
              <a:spcBef>
                <a:spcPts val="240"/>
              </a:spcBef>
              <a:spcAft>
                <a:spcPts val="0"/>
              </a:spcAft>
              <a:buSzPts val="1520"/>
              <a:buNone/>
              <a:defRPr>
                <a:solidFill>
                  <a:srgbClr val="888888"/>
                </a:solidFill>
              </a:defRPr>
            </a:lvl4pPr>
            <a:lvl5pPr lvl="4" algn="ctr">
              <a:spcBef>
                <a:spcPts val="210"/>
              </a:spcBef>
              <a:spcAft>
                <a:spcPts val="0"/>
              </a:spcAft>
              <a:buSzPts val="1330"/>
              <a:buNone/>
              <a:defRPr>
                <a:solidFill>
                  <a:srgbClr val="888888"/>
                </a:solidFill>
              </a:defRPr>
            </a:lvl5pPr>
            <a:lvl6pPr lvl="5" algn="ctr">
              <a:spcBef>
                <a:spcPts val="210"/>
              </a:spcBef>
              <a:spcAft>
                <a:spcPts val="0"/>
              </a:spcAft>
              <a:buSzPts val="1330"/>
              <a:buNone/>
              <a:defRPr>
                <a:solidFill>
                  <a:srgbClr val="888888"/>
                </a:solidFill>
              </a:defRPr>
            </a:lvl6pPr>
            <a:lvl7pPr lvl="6" algn="ctr">
              <a:spcBef>
                <a:spcPts val="210"/>
              </a:spcBef>
              <a:spcAft>
                <a:spcPts val="0"/>
              </a:spcAft>
              <a:buSzPts val="1330"/>
              <a:buNone/>
              <a:defRPr>
                <a:solidFill>
                  <a:srgbClr val="888888"/>
                </a:solidFill>
              </a:defRPr>
            </a:lvl7pPr>
            <a:lvl8pPr lvl="7" algn="ctr">
              <a:spcBef>
                <a:spcPts val="210"/>
              </a:spcBef>
              <a:spcAft>
                <a:spcPts val="0"/>
              </a:spcAft>
              <a:buSzPts val="1330"/>
              <a:buNone/>
              <a:defRPr>
                <a:solidFill>
                  <a:srgbClr val="888888"/>
                </a:solidFill>
              </a:defRPr>
            </a:lvl8pPr>
            <a:lvl9pPr lvl="8" algn="ctr">
              <a:spcBef>
                <a:spcPts val="210"/>
              </a:spcBef>
              <a:spcAft>
                <a:spcPts val="0"/>
              </a:spcAft>
              <a:buSzPts val="1330"/>
              <a:buNone/>
              <a:defRPr>
                <a:solidFill>
                  <a:srgbClr val="888888"/>
                </a:solidFill>
              </a:defRPr>
            </a:lvl9pPr>
          </a:lstStyle>
          <a:p>
            <a:endParaRPr/>
          </a:p>
        </p:txBody>
      </p:sp>
      <p:sp>
        <p:nvSpPr>
          <p:cNvPr id="39" name="Google Shape;39;p20"/>
          <p:cNvSpPr txBox="1">
            <a:spLocks noGrp="1"/>
          </p:cNvSpPr>
          <p:nvPr>
            <p:ph type="dt" idx="10"/>
          </p:nvPr>
        </p:nvSpPr>
        <p:spPr>
          <a:xfrm rot="-1080000">
            <a:off x="963613" y="5060950"/>
            <a:ext cx="1968500" cy="534988"/>
          </a:xfrm>
          <a:prstGeom prst="rect">
            <a:avLst/>
          </a:prstGeom>
          <a:noFill/>
          <a:ln>
            <a:noFill/>
          </a:ln>
        </p:spPr>
        <p:txBody>
          <a:bodyPr spcFirstLastPara="1" wrap="square" lIns="91425" tIns="45700" rIns="91425" bIns="45700" anchor="t" anchorCtr="0">
            <a:noAutofit/>
          </a:bodyPr>
          <a:lstStyle>
            <a:lvl1pPr lvl="0" algn="ctr">
              <a:spcBef>
                <a:spcPts val="0"/>
              </a:spcBef>
              <a:spcAft>
                <a:spcPts val="0"/>
              </a:spcAft>
              <a:buSzPts val="1400"/>
              <a:buNone/>
              <a:defRPr sz="1650">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0" name="Google Shape;40;p20"/>
          <p:cNvSpPr txBox="1">
            <a:spLocks noGrp="1"/>
          </p:cNvSpPr>
          <p:nvPr>
            <p:ph type="ftr" idx="11"/>
          </p:nvPr>
        </p:nvSpPr>
        <p:spPr>
          <a:xfrm rot="-1080000">
            <a:off x="647701" y="4135440"/>
            <a:ext cx="2085975" cy="8350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200">
                <a:solidFill>
                  <a:srgbClr val="263259"/>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1" name="Google Shape;41;p20"/>
          <p:cNvSpPr txBox="1">
            <a:spLocks noGrp="1"/>
          </p:cNvSpPr>
          <p:nvPr>
            <p:ph type="sldNum" idx="12"/>
          </p:nvPr>
        </p:nvSpPr>
        <p:spPr>
          <a:xfrm rot="-1080000">
            <a:off x="1981201" y="5510213"/>
            <a:ext cx="738188" cy="425450"/>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D260E"/>
                </a:solidFill>
                <a:latin typeface="Arial"/>
                <a:ea typeface="Arial"/>
                <a:cs typeface="Arial"/>
                <a:sym typeface="Arial"/>
              </a:defRPr>
            </a:lvl1pPr>
            <a:lvl2pPr marL="0" marR="0" lvl="1" indent="0" algn="r">
              <a:spcBef>
                <a:spcPts val="0"/>
              </a:spcBef>
              <a:buNone/>
              <a:defRPr sz="1050">
                <a:solidFill>
                  <a:srgbClr val="7D260E"/>
                </a:solidFill>
                <a:latin typeface="Arial"/>
                <a:ea typeface="Arial"/>
                <a:cs typeface="Arial"/>
                <a:sym typeface="Arial"/>
              </a:defRPr>
            </a:lvl2pPr>
            <a:lvl3pPr marL="0" marR="0" lvl="2" indent="0" algn="r">
              <a:spcBef>
                <a:spcPts val="0"/>
              </a:spcBef>
              <a:buNone/>
              <a:defRPr sz="1050">
                <a:solidFill>
                  <a:srgbClr val="7D260E"/>
                </a:solidFill>
                <a:latin typeface="Arial"/>
                <a:ea typeface="Arial"/>
                <a:cs typeface="Arial"/>
                <a:sym typeface="Arial"/>
              </a:defRPr>
            </a:lvl3pPr>
            <a:lvl4pPr marL="0" marR="0" lvl="3" indent="0" algn="r">
              <a:spcBef>
                <a:spcPts val="0"/>
              </a:spcBef>
              <a:buNone/>
              <a:defRPr sz="1050">
                <a:solidFill>
                  <a:srgbClr val="7D260E"/>
                </a:solidFill>
                <a:latin typeface="Arial"/>
                <a:ea typeface="Arial"/>
                <a:cs typeface="Arial"/>
                <a:sym typeface="Arial"/>
              </a:defRPr>
            </a:lvl4pPr>
            <a:lvl5pPr marL="0" marR="0" lvl="4" indent="0" algn="r">
              <a:spcBef>
                <a:spcPts val="0"/>
              </a:spcBef>
              <a:buNone/>
              <a:defRPr sz="1050">
                <a:solidFill>
                  <a:srgbClr val="7D260E"/>
                </a:solidFill>
                <a:latin typeface="Arial"/>
                <a:ea typeface="Arial"/>
                <a:cs typeface="Arial"/>
                <a:sym typeface="Arial"/>
              </a:defRPr>
            </a:lvl5pPr>
            <a:lvl6pPr marL="0" marR="0" lvl="5" indent="0" algn="r">
              <a:spcBef>
                <a:spcPts val="0"/>
              </a:spcBef>
              <a:buNone/>
              <a:defRPr sz="1050">
                <a:solidFill>
                  <a:srgbClr val="7D260E"/>
                </a:solidFill>
                <a:latin typeface="Arial"/>
                <a:ea typeface="Arial"/>
                <a:cs typeface="Arial"/>
                <a:sym typeface="Arial"/>
              </a:defRPr>
            </a:lvl6pPr>
            <a:lvl7pPr marL="0" marR="0" lvl="6" indent="0" algn="r">
              <a:spcBef>
                <a:spcPts val="0"/>
              </a:spcBef>
              <a:buNone/>
              <a:defRPr sz="1050">
                <a:solidFill>
                  <a:srgbClr val="7D260E"/>
                </a:solidFill>
                <a:latin typeface="Arial"/>
                <a:ea typeface="Arial"/>
                <a:cs typeface="Arial"/>
                <a:sym typeface="Arial"/>
              </a:defRPr>
            </a:lvl7pPr>
            <a:lvl8pPr marL="0" marR="0" lvl="7" indent="0" algn="r">
              <a:spcBef>
                <a:spcPts val="0"/>
              </a:spcBef>
              <a:buNone/>
              <a:defRPr sz="1050">
                <a:solidFill>
                  <a:srgbClr val="7D260E"/>
                </a:solidFill>
                <a:latin typeface="Arial"/>
                <a:ea typeface="Arial"/>
                <a:cs typeface="Arial"/>
                <a:sym typeface="Arial"/>
              </a:defRPr>
            </a:lvl8pPr>
            <a:lvl9pPr marL="0" marR="0" lvl="8" indent="0" algn="r">
              <a:spcBef>
                <a:spcPts val="0"/>
              </a:spcBef>
              <a:buNone/>
              <a:defRPr sz="1050">
                <a:solidFill>
                  <a:srgbClr val="7D260E"/>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1108266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42"/>
        <p:cNvGrpSpPr/>
        <p:nvPr/>
      </p:nvGrpSpPr>
      <p:grpSpPr>
        <a:xfrm>
          <a:off x="0" y="0"/>
          <a:ext cx="0" cy="0"/>
          <a:chOff x="0" y="0"/>
          <a:chExt cx="0" cy="0"/>
        </a:xfrm>
      </p:grpSpPr>
      <p:sp>
        <p:nvSpPr>
          <p:cNvPr id="43" name="Google Shape;43;p21"/>
          <p:cNvSpPr txBox="1">
            <a:spLocks noGrp="1"/>
          </p:cNvSpPr>
          <p:nvPr>
            <p:ph type="title"/>
          </p:nvPr>
        </p:nvSpPr>
        <p:spPr>
          <a:xfrm>
            <a:off x="551281" y="1497995"/>
            <a:ext cx="8041439" cy="2097259"/>
          </a:xfrm>
          <a:prstGeom prst="rect">
            <a:avLst/>
          </a:prstGeom>
          <a:noFill/>
          <a:ln>
            <a:noFill/>
          </a:ln>
        </p:spPr>
        <p:txBody>
          <a:bodyPr spcFirstLastPara="1" wrap="square" lIns="91425" tIns="45700" rIns="91425" bIns="45700" anchor="b" anchorCtr="0">
            <a:noAutofit/>
          </a:bodyPr>
          <a:lstStyle>
            <a:lvl1pPr lvl="0" algn="ctr">
              <a:spcBef>
                <a:spcPts val="0"/>
              </a:spcBef>
              <a:spcAft>
                <a:spcPts val="0"/>
              </a:spcAft>
              <a:buSzPts val="1400"/>
              <a:buNone/>
              <a:defRPr sz="3600" b="0" cap="none"/>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21"/>
          <p:cNvSpPr txBox="1">
            <a:spLocks noGrp="1"/>
          </p:cNvSpPr>
          <p:nvPr>
            <p:ph type="body" idx="1"/>
          </p:nvPr>
        </p:nvSpPr>
        <p:spPr>
          <a:xfrm>
            <a:off x="838200" y="3754404"/>
            <a:ext cx="7467601" cy="1500187"/>
          </a:xfrm>
          <a:prstGeom prst="rect">
            <a:avLst/>
          </a:prstGeom>
          <a:noFill/>
          <a:ln>
            <a:noFill/>
          </a:ln>
        </p:spPr>
        <p:txBody>
          <a:bodyPr spcFirstLastPara="1" wrap="square" lIns="91425" tIns="45700" rIns="91425" bIns="45700" anchor="t" anchorCtr="0">
            <a:noAutofit/>
          </a:bodyPr>
          <a:lstStyle>
            <a:lvl1pPr marL="342900" lvl="0" indent="-171450" algn="ctr">
              <a:spcBef>
                <a:spcPts val="300"/>
              </a:spcBef>
              <a:spcAft>
                <a:spcPts val="0"/>
              </a:spcAft>
              <a:buSzPts val="1900"/>
              <a:buNone/>
              <a:defRPr sz="1500">
                <a:solidFill>
                  <a:srgbClr val="888888"/>
                </a:solidFill>
              </a:defRPr>
            </a:lvl1pPr>
            <a:lvl2pPr marL="685800" lvl="1" indent="-171450" algn="l">
              <a:spcBef>
                <a:spcPts val="270"/>
              </a:spcBef>
              <a:spcAft>
                <a:spcPts val="0"/>
              </a:spcAft>
              <a:buSzPts val="1710"/>
              <a:buNone/>
              <a:defRPr sz="1350">
                <a:solidFill>
                  <a:srgbClr val="888888"/>
                </a:solidFill>
              </a:defRPr>
            </a:lvl2pPr>
            <a:lvl3pPr marL="1028700" lvl="2" indent="-171450" algn="l">
              <a:spcBef>
                <a:spcPts val="240"/>
              </a:spcBef>
              <a:spcAft>
                <a:spcPts val="0"/>
              </a:spcAft>
              <a:buSzPts val="1520"/>
              <a:buNone/>
              <a:defRPr sz="1200">
                <a:solidFill>
                  <a:srgbClr val="888888"/>
                </a:solidFill>
              </a:defRPr>
            </a:lvl3pPr>
            <a:lvl4pPr marL="1371600" lvl="3" indent="-171450" algn="l">
              <a:spcBef>
                <a:spcPts val="210"/>
              </a:spcBef>
              <a:spcAft>
                <a:spcPts val="0"/>
              </a:spcAft>
              <a:buSzPts val="1330"/>
              <a:buNone/>
              <a:defRPr sz="1050">
                <a:solidFill>
                  <a:srgbClr val="888888"/>
                </a:solidFill>
              </a:defRPr>
            </a:lvl4pPr>
            <a:lvl5pPr marL="1714500" lvl="4" indent="-171450" algn="l">
              <a:spcBef>
                <a:spcPts val="210"/>
              </a:spcBef>
              <a:spcAft>
                <a:spcPts val="0"/>
              </a:spcAft>
              <a:buSzPts val="1330"/>
              <a:buNone/>
              <a:defRPr sz="1050">
                <a:solidFill>
                  <a:srgbClr val="888888"/>
                </a:solidFill>
              </a:defRPr>
            </a:lvl5pPr>
            <a:lvl6pPr marL="2057400" lvl="5" indent="-171450" algn="l">
              <a:spcBef>
                <a:spcPts val="210"/>
              </a:spcBef>
              <a:spcAft>
                <a:spcPts val="0"/>
              </a:spcAft>
              <a:buSzPts val="1330"/>
              <a:buNone/>
              <a:defRPr sz="1050">
                <a:solidFill>
                  <a:srgbClr val="888888"/>
                </a:solidFill>
              </a:defRPr>
            </a:lvl6pPr>
            <a:lvl7pPr marL="2400300" lvl="6" indent="-171450" algn="l">
              <a:spcBef>
                <a:spcPts val="210"/>
              </a:spcBef>
              <a:spcAft>
                <a:spcPts val="0"/>
              </a:spcAft>
              <a:buSzPts val="1330"/>
              <a:buNone/>
              <a:defRPr sz="1050">
                <a:solidFill>
                  <a:srgbClr val="888888"/>
                </a:solidFill>
              </a:defRPr>
            </a:lvl7pPr>
            <a:lvl8pPr marL="2743200" lvl="7" indent="-171450" algn="l">
              <a:spcBef>
                <a:spcPts val="210"/>
              </a:spcBef>
              <a:spcAft>
                <a:spcPts val="0"/>
              </a:spcAft>
              <a:buSzPts val="1330"/>
              <a:buNone/>
              <a:defRPr sz="1050">
                <a:solidFill>
                  <a:srgbClr val="888888"/>
                </a:solidFill>
              </a:defRPr>
            </a:lvl8pPr>
            <a:lvl9pPr marL="3086100" lvl="8" indent="-171450" algn="l">
              <a:spcBef>
                <a:spcPts val="210"/>
              </a:spcBef>
              <a:spcAft>
                <a:spcPts val="0"/>
              </a:spcAft>
              <a:buSzPts val="1330"/>
              <a:buNone/>
              <a:defRPr sz="1050">
                <a:solidFill>
                  <a:srgbClr val="888888"/>
                </a:solidFill>
              </a:defRPr>
            </a:lvl9pPr>
          </a:lstStyle>
          <a:p>
            <a:endParaRPr/>
          </a:p>
        </p:txBody>
      </p:sp>
      <p:sp>
        <p:nvSpPr>
          <p:cNvPr id="45" name="Google Shape;45;p21"/>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21"/>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21"/>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4443433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8"/>
        <p:cNvGrpSpPr/>
        <p:nvPr/>
      </p:nvGrpSpPr>
      <p:grpSpPr>
        <a:xfrm>
          <a:off x="0" y="0"/>
          <a:ext cx="0" cy="0"/>
          <a:chOff x="0" y="0"/>
          <a:chExt cx="0" cy="0"/>
        </a:xfrm>
      </p:grpSpPr>
      <p:sp>
        <p:nvSpPr>
          <p:cNvPr id="49" name="Google Shape;49;p22"/>
          <p:cNvSpPr txBox="1">
            <a:spLocks noGrp="1"/>
          </p:cNvSpPr>
          <p:nvPr>
            <p:ph type="title"/>
          </p:nvPr>
        </p:nvSpPr>
        <p:spPr>
          <a:xfrm>
            <a:off x="550864" y="436565"/>
            <a:ext cx="8042275" cy="144303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22"/>
          <p:cNvSpPr txBox="1">
            <a:spLocks noGrp="1"/>
          </p:cNvSpPr>
          <p:nvPr>
            <p:ph type="body" idx="1"/>
          </p:nvPr>
        </p:nvSpPr>
        <p:spPr>
          <a:xfrm>
            <a:off x="841248" y="2039112"/>
            <a:ext cx="3657600" cy="3950208"/>
          </a:xfrm>
          <a:prstGeom prst="rect">
            <a:avLst/>
          </a:prstGeom>
          <a:noFill/>
          <a:ln>
            <a:noFill/>
          </a:ln>
        </p:spPr>
        <p:txBody>
          <a:bodyPr spcFirstLastPara="1" wrap="square" lIns="91425" tIns="45700" rIns="91425" bIns="45700" anchor="t"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51" name="Google Shape;51;p22"/>
          <p:cNvSpPr txBox="1">
            <a:spLocks noGrp="1"/>
          </p:cNvSpPr>
          <p:nvPr>
            <p:ph type="body" idx="2"/>
          </p:nvPr>
        </p:nvSpPr>
        <p:spPr>
          <a:xfrm>
            <a:off x="4645152" y="2039112"/>
            <a:ext cx="3657600" cy="3950208"/>
          </a:xfrm>
          <a:prstGeom prst="rect">
            <a:avLst/>
          </a:prstGeom>
          <a:noFill/>
          <a:ln>
            <a:noFill/>
          </a:ln>
        </p:spPr>
        <p:txBody>
          <a:bodyPr spcFirstLastPara="1" wrap="square" lIns="91425" tIns="45700" rIns="91425" bIns="45700" anchor="t"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52" name="Google Shape;52;p22"/>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3" name="Google Shape;53;p22"/>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22"/>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5340506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5"/>
        <p:cNvGrpSpPr/>
        <p:nvPr/>
      </p:nvGrpSpPr>
      <p:grpSpPr>
        <a:xfrm>
          <a:off x="0" y="0"/>
          <a:ext cx="0" cy="0"/>
          <a:chOff x="0" y="0"/>
          <a:chExt cx="0" cy="0"/>
        </a:xfrm>
      </p:grpSpPr>
      <p:sp>
        <p:nvSpPr>
          <p:cNvPr id="56" name="Google Shape;56;p23"/>
          <p:cNvSpPr/>
          <p:nvPr/>
        </p:nvSpPr>
        <p:spPr>
          <a:xfrm rot="-1325433">
            <a:off x="3933825" y="4281488"/>
            <a:ext cx="1289050" cy="722312"/>
          </a:xfrm>
          <a:custGeom>
            <a:avLst/>
            <a:gdLst/>
            <a:ahLst/>
            <a:cxnLst/>
            <a:rect l="l" t="t" r="r" b="b"/>
            <a:pathLst>
              <a:path w="1288494" h="722529" extrusionOk="0">
                <a:moveTo>
                  <a:pt x="548461" y="537763"/>
                </a:moveTo>
                <a:lnTo>
                  <a:pt x="548461" y="537763"/>
                </a:lnTo>
                <a:close/>
                <a:moveTo>
                  <a:pt x="547489" y="536791"/>
                </a:moveTo>
                <a:lnTo>
                  <a:pt x="548461" y="537763"/>
                </a:lnTo>
                <a:lnTo>
                  <a:pt x="546516" y="536791"/>
                </a:lnTo>
                <a:lnTo>
                  <a:pt x="544572" y="535818"/>
                </a:lnTo>
                <a:lnTo>
                  <a:pt x="547489" y="536791"/>
                </a:lnTo>
                <a:close/>
                <a:moveTo>
                  <a:pt x="338413" y="443436"/>
                </a:moveTo>
                <a:lnTo>
                  <a:pt x="340357" y="444408"/>
                </a:lnTo>
                <a:lnTo>
                  <a:pt x="339385" y="444408"/>
                </a:lnTo>
                <a:lnTo>
                  <a:pt x="338413" y="443436"/>
                </a:lnTo>
                <a:close/>
                <a:moveTo>
                  <a:pt x="337440" y="442463"/>
                </a:moveTo>
                <a:lnTo>
                  <a:pt x="338413" y="443436"/>
                </a:lnTo>
                <a:lnTo>
                  <a:pt x="338412" y="443436"/>
                </a:lnTo>
                <a:lnTo>
                  <a:pt x="337440" y="442463"/>
                </a:lnTo>
                <a:close/>
                <a:moveTo>
                  <a:pt x="334522" y="440518"/>
                </a:moveTo>
                <a:lnTo>
                  <a:pt x="334523" y="441491"/>
                </a:lnTo>
                <a:lnTo>
                  <a:pt x="333550" y="441491"/>
                </a:lnTo>
                <a:lnTo>
                  <a:pt x="331605" y="439546"/>
                </a:lnTo>
                <a:lnTo>
                  <a:pt x="334522" y="440518"/>
                </a:lnTo>
                <a:close/>
                <a:moveTo>
                  <a:pt x="644733" y="565964"/>
                </a:moveTo>
                <a:lnTo>
                  <a:pt x="642788" y="565964"/>
                </a:lnTo>
                <a:lnTo>
                  <a:pt x="641816" y="565964"/>
                </a:lnTo>
                <a:lnTo>
                  <a:pt x="644733" y="565964"/>
                </a:lnTo>
                <a:close/>
                <a:moveTo>
                  <a:pt x="457051" y="488168"/>
                </a:moveTo>
                <a:lnTo>
                  <a:pt x="458996" y="489140"/>
                </a:lnTo>
                <a:lnTo>
                  <a:pt x="458993" y="489139"/>
                </a:lnTo>
                <a:lnTo>
                  <a:pt x="457051" y="488168"/>
                </a:lnTo>
                <a:close/>
                <a:moveTo>
                  <a:pt x="243112" y="383144"/>
                </a:moveTo>
                <a:lnTo>
                  <a:pt x="244085" y="384117"/>
                </a:lnTo>
                <a:lnTo>
                  <a:pt x="243112" y="383144"/>
                </a:lnTo>
                <a:close/>
                <a:moveTo>
                  <a:pt x="781848" y="599027"/>
                </a:moveTo>
                <a:lnTo>
                  <a:pt x="781848" y="599027"/>
                </a:lnTo>
                <a:lnTo>
                  <a:pt x="780876" y="599027"/>
                </a:lnTo>
                <a:lnTo>
                  <a:pt x="781848" y="599027"/>
                </a:lnTo>
                <a:close/>
                <a:moveTo>
                  <a:pt x="242140" y="366612"/>
                </a:moveTo>
                <a:lnTo>
                  <a:pt x="244085" y="368557"/>
                </a:lnTo>
                <a:lnTo>
                  <a:pt x="241797" y="366956"/>
                </a:lnTo>
                <a:lnTo>
                  <a:pt x="242140" y="366612"/>
                </a:lnTo>
                <a:close/>
                <a:moveTo>
                  <a:pt x="141978" y="301458"/>
                </a:moveTo>
                <a:lnTo>
                  <a:pt x="141978" y="301459"/>
                </a:lnTo>
                <a:lnTo>
                  <a:pt x="141977" y="301459"/>
                </a:lnTo>
                <a:lnTo>
                  <a:pt x="141978" y="301458"/>
                </a:lnTo>
                <a:close/>
                <a:moveTo>
                  <a:pt x="142950" y="301458"/>
                </a:moveTo>
                <a:lnTo>
                  <a:pt x="142950" y="302430"/>
                </a:lnTo>
                <a:lnTo>
                  <a:pt x="141978" y="301459"/>
                </a:lnTo>
                <a:lnTo>
                  <a:pt x="142950" y="301458"/>
                </a:lnTo>
                <a:close/>
                <a:moveTo>
                  <a:pt x="979256" y="620421"/>
                </a:moveTo>
                <a:lnTo>
                  <a:pt x="979165" y="620512"/>
                </a:lnTo>
                <a:lnTo>
                  <a:pt x="978283" y="620421"/>
                </a:lnTo>
                <a:lnTo>
                  <a:pt x="979256" y="620421"/>
                </a:lnTo>
                <a:close/>
                <a:moveTo>
                  <a:pt x="93355" y="247974"/>
                </a:moveTo>
                <a:lnTo>
                  <a:pt x="94328" y="248946"/>
                </a:lnTo>
                <a:lnTo>
                  <a:pt x="94328" y="249919"/>
                </a:lnTo>
                <a:lnTo>
                  <a:pt x="93355" y="247974"/>
                </a:lnTo>
                <a:close/>
                <a:moveTo>
                  <a:pt x="1075528" y="637925"/>
                </a:moveTo>
                <a:lnTo>
                  <a:pt x="1075528" y="637925"/>
                </a:lnTo>
                <a:lnTo>
                  <a:pt x="1074555" y="637925"/>
                </a:lnTo>
                <a:lnTo>
                  <a:pt x="1075528" y="637925"/>
                </a:lnTo>
                <a:close/>
                <a:moveTo>
                  <a:pt x="47650" y="177958"/>
                </a:moveTo>
                <a:lnTo>
                  <a:pt x="49595" y="178930"/>
                </a:lnTo>
                <a:lnTo>
                  <a:pt x="49595" y="180875"/>
                </a:lnTo>
                <a:lnTo>
                  <a:pt x="51540" y="183792"/>
                </a:lnTo>
                <a:lnTo>
                  <a:pt x="50568" y="184764"/>
                </a:lnTo>
                <a:lnTo>
                  <a:pt x="49595" y="184765"/>
                </a:lnTo>
                <a:lnTo>
                  <a:pt x="48623" y="183792"/>
                </a:lnTo>
                <a:lnTo>
                  <a:pt x="46678" y="182820"/>
                </a:lnTo>
                <a:lnTo>
                  <a:pt x="45705" y="179903"/>
                </a:lnTo>
                <a:lnTo>
                  <a:pt x="46678" y="179902"/>
                </a:lnTo>
                <a:lnTo>
                  <a:pt x="46678" y="178930"/>
                </a:lnTo>
                <a:lnTo>
                  <a:pt x="47650" y="177958"/>
                </a:lnTo>
                <a:close/>
                <a:moveTo>
                  <a:pt x="35008" y="156564"/>
                </a:moveTo>
                <a:lnTo>
                  <a:pt x="36953" y="159157"/>
                </a:lnTo>
                <a:lnTo>
                  <a:pt x="36953" y="159481"/>
                </a:lnTo>
                <a:lnTo>
                  <a:pt x="35008" y="156564"/>
                </a:lnTo>
                <a:close/>
                <a:moveTo>
                  <a:pt x="25284" y="133225"/>
                </a:moveTo>
                <a:lnTo>
                  <a:pt x="28201" y="141005"/>
                </a:lnTo>
                <a:lnTo>
                  <a:pt x="30146" y="144894"/>
                </a:lnTo>
                <a:lnTo>
                  <a:pt x="33063" y="147811"/>
                </a:lnTo>
                <a:lnTo>
                  <a:pt x="33063" y="146839"/>
                </a:lnTo>
                <a:lnTo>
                  <a:pt x="34036" y="148784"/>
                </a:lnTo>
                <a:lnTo>
                  <a:pt x="35008" y="151701"/>
                </a:lnTo>
                <a:lnTo>
                  <a:pt x="34036" y="149756"/>
                </a:lnTo>
                <a:lnTo>
                  <a:pt x="33064" y="148784"/>
                </a:lnTo>
                <a:lnTo>
                  <a:pt x="32091" y="149756"/>
                </a:lnTo>
                <a:lnTo>
                  <a:pt x="25284" y="137114"/>
                </a:lnTo>
                <a:lnTo>
                  <a:pt x="26256" y="137115"/>
                </a:lnTo>
                <a:lnTo>
                  <a:pt x="25284" y="136142"/>
                </a:lnTo>
                <a:lnTo>
                  <a:pt x="25284" y="133225"/>
                </a:lnTo>
                <a:close/>
                <a:moveTo>
                  <a:pt x="1277796" y="622366"/>
                </a:moveTo>
                <a:lnTo>
                  <a:pt x="1283631" y="625284"/>
                </a:lnTo>
                <a:lnTo>
                  <a:pt x="1285576" y="628201"/>
                </a:lnTo>
                <a:lnTo>
                  <a:pt x="1287521" y="630146"/>
                </a:lnTo>
                <a:lnTo>
                  <a:pt x="1288494" y="634036"/>
                </a:lnTo>
                <a:lnTo>
                  <a:pt x="1287521" y="637926"/>
                </a:lnTo>
                <a:lnTo>
                  <a:pt x="1285576" y="642788"/>
                </a:lnTo>
                <a:lnTo>
                  <a:pt x="1282659" y="646677"/>
                </a:lnTo>
                <a:lnTo>
                  <a:pt x="1277797" y="650567"/>
                </a:lnTo>
                <a:lnTo>
                  <a:pt x="1271962" y="654457"/>
                </a:lnTo>
                <a:lnTo>
                  <a:pt x="1264183" y="658347"/>
                </a:lnTo>
                <a:lnTo>
                  <a:pt x="1255431" y="662237"/>
                </a:lnTo>
                <a:lnTo>
                  <a:pt x="1235982" y="670016"/>
                </a:lnTo>
                <a:lnTo>
                  <a:pt x="1215560" y="676824"/>
                </a:lnTo>
                <a:lnTo>
                  <a:pt x="1207780" y="680713"/>
                </a:lnTo>
                <a:lnTo>
                  <a:pt x="1199028" y="685575"/>
                </a:lnTo>
                <a:lnTo>
                  <a:pt x="1179579" y="698217"/>
                </a:lnTo>
                <a:lnTo>
                  <a:pt x="1146516" y="722528"/>
                </a:lnTo>
                <a:lnTo>
                  <a:pt x="1140681" y="722529"/>
                </a:lnTo>
                <a:lnTo>
                  <a:pt x="1137764" y="721556"/>
                </a:lnTo>
                <a:lnTo>
                  <a:pt x="1129985" y="714748"/>
                </a:lnTo>
                <a:lnTo>
                  <a:pt x="1137764" y="708914"/>
                </a:lnTo>
                <a:lnTo>
                  <a:pt x="1146516" y="703079"/>
                </a:lnTo>
                <a:lnTo>
                  <a:pt x="1156241" y="696273"/>
                </a:lnTo>
                <a:lnTo>
                  <a:pt x="1168883" y="690437"/>
                </a:lnTo>
                <a:lnTo>
                  <a:pt x="1209726" y="669044"/>
                </a:lnTo>
                <a:lnTo>
                  <a:pt x="1220422" y="662237"/>
                </a:lnTo>
                <a:lnTo>
                  <a:pt x="1229174" y="655429"/>
                </a:lnTo>
                <a:lnTo>
                  <a:pt x="1237926" y="647649"/>
                </a:lnTo>
                <a:lnTo>
                  <a:pt x="1243761" y="639870"/>
                </a:lnTo>
                <a:lnTo>
                  <a:pt x="1245706" y="638898"/>
                </a:lnTo>
                <a:lnTo>
                  <a:pt x="1243275" y="638898"/>
                </a:lnTo>
                <a:lnTo>
                  <a:pt x="1242789" y="637925"/>
                </a:lnTo>
                <a:lnTo>
                  <a:pt x="1240844" y="635981"/>
                </a:lnTo>
                <a:lnTo>
                  <a:pt x="1237926" y="634036"/>
                </a:lnTo>
                <a:lnTo>
                  <a:pt x="1226257" y="630145"/>
                </a:lnTo>
                <a:lnTo>
                  <a:pt x="1207780" y="625284"/>
                </a:lnTo>
                <a:lnTo>
                  <a:pt x="1182496" y="620421"/>
                </a:lnTo>
                <a:lnTo>
                  <a:pt x="1113453" y="607780"/>
                </a:lnTo>
                <a:lnTo>
                  <a:pt x="1074555" y="600000"/>
                </a:lnTo>
                <a:lnTo>
                  <a:pt x="1060940" y="596110"/>
                </a:lnTo>
                <a:lnTo>
                  <a:pt x="1048299" y="592221"/>
                </a:lnTo>
                <a:lnTo>
                  <a:pt x="1036630" y="587358"/>
                </a:lnTo>
                <a:lnTo>
                  <a:pt x="1027877" y="583469"/>
                </a:lnTo>
                <a:lnTo>
                  <a:pt x="1020098" y="579579"/>
                </a:lnTo>
                <a:lnTo>
                  <a:pt x="1014263" y="574716"/>
                </a:lnTo>
                <a:lnTo>
                  <a:pt x="1009401" y="569854"/>
                </a:lnTo>
                <a:lnTo>
                  <a:pt x="1006483" y="564992"/>
                </a:lnTo>
                <a:lnTo>
                  <a:pt x="1002594" y="554295"/>
                </a:lnTo>
                <a:lnTo>
                  <a:pt x="1030795" y="566937"/>
                </a:lnTo>
                <a:lnTo>
                  <a:pt x="1058996" y="577634"/>
                </a:lnTo>
                <a:lnTo>
                  <a:pt x="1087197" y="587358"/>
                </a:lnTo>
                <a:lnTo>
                  <a:pt x="1116371" y="596110"/>
                </a:lnTo>
                <a:lnTo>
                  <a:pt x="1145544" y="602917"/>
                </a:lnTo>
                <a:lnTo>
                  <a:pt x="1174717" y="609725"/>
                </a:lnTo>
                <a:lnTo>
                  <a:pt x="1204863" y="614587"/>
                </a:lnTo>
                <a:lnTo>
                  <a:pt x="1234036" y="618476"/>
                </a:lnTo>
                <a:lnTo>
                  <a:pt x="1248623" y="618476"/>
                </a:lnTo>
                <a:lnTo>
                  <a:pt x="1260293" y="619449"/>
                </a:lnTo>
                <a:lnTo>
                  <a:pt x="1270017" y="620422"/>
                </a:lnTo>
                <a:lnTo>
                  <a:pt x="1277796" y="622366"/>
                </a:lnTo>
                <a:close/>
                <a:moveTo>
                  <a:pt x="13614" y="101134"/>
                </a:moveTo>
                <a:lnTo>
                  <a:pt x="15560" y="104051"/>
                </a:lnTo>
                <a:lnTo>
                  <a:pt x="16532" y="104052"/>
                </a:lnTo>
                <a:lnTo>
                  <a:pt x="15559" y="105024"/>
                </a:lnTo>
                <a:lnTo>
                  <a:pt x="16532" y="109886"/>
                </a:lnTo>
                <a:lnTo>
                  <a:pt x="16532" y="110859"/>
                </a:lnTo>
                <a:lnTo>
                  <a:pt x="15559" y="110858"/>
                </a:lnTo>
                <a:lnTo>
                  <a:pt x="14587" y="108913"/>
                </a:lnTo>
                <a:lnTo>
                  <a:pt x="15559" y="108913"/>
                </a:lnTo>
                <a:lnTo>
                  <a:pt x="15559" y="106969"/>
                </a:lnTo>
                <a:lnTo>
                  <a:pt x="14587" y="105024"/>
                </a:lnTo>
                <a:lnTo>
                  <a:pt x="14587" y="103079"/>
                </a:lnTo>
                <a:lnTo>
                  <a:pt x="13614" y="101134"/>
                </a:lnTo>
                <a:close/>
                <a:moveTo>
                  <a:pt x="5835" y="22366"/>
                </a:moveTo>
                <a:lnTo>
                  <a:pt x="5835" y="23338"/>
                </a:lnTo>
                <a:lnTo>
                  <a:pt x="5658" y="22542"/>
                </a:lnTo>
                <a:lnTo>
                  <a:pt x="5835" y="22366"/>
                </a:lnTo>
                <a:close/>
                <a:moveTo>
                  <a:pt x="3890" y="14586"/>
                </a:moveTo>
                <a:lnTo>
                  <a:pt x="4862" y="15559"/>
                </a:lnTo>
                <a:lnTo>
                  <a:pt x="4862" y="18476"/>
                </a:lnTo>
                <a:lnTo>
                  <a:pt x="4668" y="18087"/>
                </a:lnTo>
                <a:lnTo>
                  <a:pt x="3890" y="14586"/>
                </a:lnTo>
                <a:close/>
                <a:moveTo>
                  <a:pt x="1884" y="3039"/>
                </a:moveTo>
                <a:lnTo>
                  <a:pt x="3890" y="9724"/>
                </a:lnTo>
                <a:lnTo>
                  <a:pt x="3890" y="10697"/>
                </a:lnTo>
                <a:lnTo>
                  <a:pt x="2917" y="9724"/>
                </a:lnTo>
                <a:lnTo>
                  <a:pt x="2917" y="8752"/>
                </a:lnTo>
                <a:lnTo>
                  <a:pt x="1945" y="8751"/>
                </a:lnTo>
                <a:lnTo>
                  <a:pt x="1945" y="13613"/>
                </a:lnTo>
                <a:lnTo>
                  <a:pt x="2917" y="13613"/>
                </a:lnTo>
                <a:lnTo>
                  <a:pt x="2917" y="14586"/>
                </a:lnTo>
                <a:lnTo>
                  <a:pt x="4668" y="18087"/>
                </a:lnTo>
                <a:lnTo>
                  <a:pt x="5658" y="22542"/>
                </a:lnTo>
                <a:lnTo>
                  <a:pt x="4862" y="23338"/>
                </a:lnTo>
                <a:lnTo>
                  <a:pt x="4862" y="24310"/>
                </a:lnTo>
                <a:lnTo>
                  <a:pt x="5835" y="25283"/>
                </a:lnTo>
                <a:lnTo>
                  <a:pt x="6807" y="27228"/>
                </a:lnTo>
                <a:lnTo>
                  <a:pt x="7780" y="34035"/>
                </a:lnTo>
                <a:lnTo>
                  <a:pt x="7780" y="36952"/>
                </a:lnTo>
                <a:lnTo>
                  <a:pt x="8752" y="40842"/>
                </a:lnTo>
                <a:lnTo>
                  <a:pt x="9725" y="44732"/>
                </a:lnTo>
                <a:lnTo>
                  <a:pt x="9724" y="48622"/>
                </a:lnTo>
                <a:lnTo>
                  <a:pt x="7780" y="44732"/>
                </a:lnTo>
                <a:lnTo>
                  <a:pt x="5835" y="40842"/>
                </a:lnTo>
                <a:lnTo>
                  <a:pt x="6807" y="48622"/>
                </a:lnTo>
                <a:lnTo>
                  <a:pt x="8752" y="50567"/>
                </a:lnTo>
                <a:lnTo>
                  <a:pt x="10697" y="55429"/>
                </a:lnTo>
                <a:lnTo>
                  <a:pt x="10697" y="56401"/>
                </a:lnTo>
                <a:lnTo>
                  <a:pt x="12642" y="60291"/>
                </a:lnTo>
                <a:lnTo>
                  <a:pt x="13614" y="62236"/>
                </a:lnTo>
                <a:lnTo>
                  <a:pt x="14587" y="65153"/>
                </a:lnTo>
                <a:lnTo>
                  <a:pt x="17504" y="79740"/>
                </a:lnTo>
                <a:lnTo>
                  <a:pt x="20422" y="91410"/>
                </a:lnTo>
                <a:lnTo>
                  <a:pt x="19449" y="92382"/>
                </a:lnTo>
                <a:lnTo>
                  <a:pt x="22367" y="96271"/>
                </a:lnTo>
                <a:lnTo>
                  <a:pt x="23339" y="100162"/>
                </a:lnTo>
                <a:lnTo>
                  <a:pt x="27229" y="109886"/>
                </a:lnTo>
                <a:lnTo>
                  <a:pt x="29174" y="116693"/>
                </a:lnTo>
                <a:lnTo>
                  <a:pt x="32091" y="123501"/>
                </a:lnTo>
                <a:lnTo>
                  <a:pt x="35008" y="129335"/>
                </a:lnTo>
                <a:lnTo>
                  <a:pt x="35981" y="133225"/>
                </a:lnTo>
                <a:lnTo>
                  <a:pt x="41816" y="144894"/>
                </a:lnTo>
                <a:lnTo>
                  <a:pt x="47650" y="154619"/>
                </a:lnTo>
                <a:lnTo>
                  <a:pt x="58347" y="176013"/>
                </a:lnTo>
                <a:lnTo>
                  <a:pt x="56402" y="174068"/>
                </a:lnTo>
                <a:lnTo>
                  <a:pt x="57375" y="176012"/>
                </a:lnTo>
                <a:lnTo>
                  <a:pt x="57375" y="176985"/>
                </a:lnTo>
                <a:lnTo>
                  <a:pt x="57374" y="177957"/>
                </a:lnTo>
                <a:lnTo>
                  <a:pt x="58347" y="178930"/>
                </a:lnTo>
                <a:lnTo>
                  <a:pt x="58347" y="177957"/>
                </a:lnTo>
                <a:lnTo>
                  <a:pt x="59319" y="179902"/>
                </a:lnTo>
                <a:lnTo>
                  <a:pt x="63209" y="183792"/>
                </a:lnTo>
                <a:lnTo>
                  <a:pt x="66127" y="188654"/>
                </a:lnTo>
                <a:lnTo>
                  <a:pt x="70017" y="194489"/>
                </a:lnTo>
                <a:lnTo>
                  <a:pt x="76824" y="203241"/>
                </a:lnTo>
                <a:lnTo>
                  <a:pt x="76823" y="204213"/>
                </a:lnTo>
                <a:lnTo>
                  <a:pt x="79741" y="208103"/>
                </a:lnTo>
                <a:lnTo>
                  <a:pt x="83631" y="212966"/>
                </a:lnTo>
                <a:lnTo>
                  <a:pt x="90438" y="223662"/>
                </a:lnTo>
                <a:lnTo>
                  <a:pt x="90438" y="225607"/>
                </a:lnTo>
                <a:lnTo>
                  <a:pt x="92383" y="228525"/>
                </a:lnTo>
                <a:lnTo>
                  <a:pt x="97245" y="232415"/>
                </a:lnTo>
                <a:lnTo>
                  <a:pt x="102107" y="238249"/>
                </a:lnTo>
                <a:lnTo>
                  <a:pt x="113776" y="251863"/>
                </a:lnTo>
                <a:lnTo>
                  <a:pt x="133226" y="272285"/>
                </a:lnTo>
                <a:lnTo>
                  <a:pt x="142950" y="282982"/>
                </a:lnTo>
                <a:lnTo>
                  <a:pt x="153647" y="292707"/>
                </a:lnTo>
                <a:lnTo>
                  <a:pt x="153647" y="294651"/>
                </a:lnTo>
                <a:lnTo>
                  <a:pt x="165316" y="303403"/>
                </a:lnTo>
                <a:lnTo>
                  <a:pt x="176013" y="314100"/>
                </a:lnTo>
                <a:lnTo>
                  <a:pt x="187683" y="323824"/>
                </a:lnTo>
                <a:lnTo>
                  <a:pt x="197407" y="332577"/>
                </a:lnTo>
                <a:lnTo>
                  <a:pt x="195462" y="332576"/>
                </a:lnTo>
                <a:lnTo>
                  <a:pt x="201297" y="337439"/>
                </a:lnTo>
                <a:lnTo>
                  <a:pt x="203242" y="338411"/>
                </a:lnTo>
                <a:lnTo>
                  <a:pt x="204214" y="338411"/>
                </a:lnTo>
                <a:lnTo>
                  <a:pt x="204214" y="337439"/>
                </a:lnTo>
                <a:lnTo>
                  <a:pt x="211021" y="343273"/>
                </a:lnTo>
                <a:lnTo>
                  <a:pt x="213939" y="346191"/>
                </a:lnTo>
                <a:lnTo>
                  <a:pt x="215883" y="348136"/>
                </a:lnTo>
                <a:lnTo>
                  <a:pt x="220746" y="352026"/>
                </a:lnTo>
                <a:lnTo>
                  <a:pt x="225608" y="353970"/>
                </a:lnTo>
                <a:lnTo>
                  <a:pt x="234360" y="361750"/>
                </a:lnTo>
                <a:lnTo>
                  <a:pt x="241797" y="366956"/>
                </a:lnTo>
                <a:lnTo>
                  <a:pt x="241167" y="367584"/>
                </a:lnTo>
                <a:lnTo>
                  <a:pt x="243112" y="368557"/>
                </a:lnTo>
                <a:lnTo>
                  <a:pt x="248947" y="373420"/>
                </a:lnTo>
                <a:lnTo>
                  <a:pt x="250892" y="374392"/>
                </a:lnTo>
                <a:lnTo>
                  <a:pt x="251864" y="374392"/>
                </a:lnTo>
                <a:lnTo>
                  <a:pt x="251864" y="373419"/>
                </a:lnTo>
                <a:lnTo>
                  <a:pt x="257699" y="378282"/>
                </a:lnTo>
                <a:lnTo>
                  <a:pt x="265479" y="383144"/>
                </a:lnTo>
                <a:lnTo>
                  <a:pt x="273258" y="388006"/>
                </a:lnTo>
                <a:lnTo>
                  <a:pt x="279093" y="392869"/>
                </a:lnTo>
                <a:lnTo>
                  <a:pt x="280065" y="392868"/>
                </a:lnTo>
                <a:lnTo>
                  <a:pt x="282010" y="393841"/>
                </a:lnTo>
                <a:lnTo>
                  <a:pt x="293679" y="401621"/>
                </a:lnTo>
                <a:lnTo>
                  <a:pt x="299514" y="404538"/>
                </a:lnTo>
                <a:lnTo>
                  <a:pt x="304376" y="407455"/>
                </a:lnTo>
                <a:lnTo>
                  <a:pt x="304377" y="408428"/>
                </a:lnTo>
                <a:lnTo>
                  <a:pt x="303404" y="408427"/>
                </a:lnTo>
                <a:lnTo>
                  <a:pt x="305349" y="409400"/>
                </a:lnTo>
                <a:lnTo>
                  <a:pt x="306321" y="409400"/>
                </a:lnTo>
                <a:lnTo>
                  <a:pt x="308266" y="409400"/>
                </a:lnTo>
                <a:lnTo>
                  <a:pt x="317991" y="415235"/>
                </a:lnTo>
                <a:lnTo>
                  <a:pt x="326743" y="421069"/>
                </a:lnTo>
                <a:lnTo>
                  <a:pt x="335495" y="427876"/>
                </a:lnTo>
                <a:lnTo>
                  <a:pt x="345219" y="432738"/>
                </a:lnTo>
                <a:lnTo>
                  <a:pt x="408428" y="464829"/>
                </a:lnTo>
                <a:lnTo>
                  <a:pt x="408429" y="465802"/>
                </a:lnTo>
                <a:lnTo>
                  <a:pt x="414263" y="467747"/>
                </a:lnTo>
                <a:lnTo>
                  <a:pt x="420098" y="470664"/>
                </a:lnTo>
                <a:lnTo>
                  <a:pt x="424960" y="473582"/>
                </a:lnTo>
                <a:lnTo>
                  <a:pt x="430795" y="475527"/>
                </a:lnTo>
                <a:lnTo>
                  <a:pt x="433712" y="477472"/>
                </a:lnTo>
                <a:lnTo>
                  <a:pt x="435657" y="477471"/>
                </a:lnTo>
                <a:lnTo>
                  <a:pt x="435657" y="478444"/>
                </a:lnTo>
                <a:lnTo>
                  <a:pt x="440519" y="480389"/>
                </a:lnTo>
                <a:lnTo>
                  <a:pt x="446354" y="483306"/>
                </a:lnTo>
                <a:lnTo>
                  <a:pt x="452189" y="486223"/>
                </a:lnTo>
                <a:lnTo>
                  <a:pt x="458993" y="489139"/>
                </a:lnTo>
                <a:lnTo>
                  <a:pt x="462885" y="491085"/>
                </a:lnTo>
                <a:lnTo>
                  <a:pt x="468720" y="493031"/>
                </a:lnTo>
                <a:lnTo>
                  <a:pt x="481362" y="498865"/>
                </a:lnTo>
                <a:lnTo>
                  <a:pt x="477472" y="497893"/>
                </a:lnTo>
                <a:lnTo>
                  <a:pt x="480389" y="499838"/>
                </a:lnTo>
                <a:lnTo>
                  <a:pt x="483307" y="499837"/>
                </a:lnTo>
                <a:lnTo>
                  <a:pt x="486225" y="500810"/>
                </a:lnTo>
                <a:lnTo>
                  <a:pt x="487197" y="502755"/>
                </a:lnTo>
                <a:lnTo>
                  <a:pt x="489142" y="502755"/>
                </a:lnTo>
                <a:lnTo>
                  <a:pt x="488169" y="501782"/>
                </a:lnTo>
                <a:lnTo>
                  <a:pt x="502756" y="508590"/>
                </a:lnTo>
                <a:lnTo>
                  <a:pt x="517343" y="513452"/>
                </a:lnTo>
                <a:lnTo>
                  <a:pt x="548461" y="524149"/>
                </a:lnTo>
                <a:lnTo>
                  <a:pt x="554296" y="527066"/>
                </a:lnTo>
                <a:lnTo>
                  <a:pt x="555268" y="528039"/>
                </a:lnTo>
                <a:lnTo>
                  <a:pt x="555268" y="529011"/>
                </a:lnTo>
                <a:lnTo>
                  <a:pt x="560130" y="529984"/>
                </a:lnTo>
                <a:lnTo>
                  <a:pt x="561103" y="529984"/>
                </a:lnTo>
                <a:lnTo>
                  <a:pt x="564020" y="530956"/>
                </a:lnTo>
                <a:lnTo>
                  <a:pt x="565965" y="532901"/>
                </a:lnTo>
                <a:lnTo>
                  <a:pt x="567910" y="533873"/>
                </a:lnTo>
                <a:lnTo>
                  <a:pt x="570827" y="534846"/>
                </a:lnTo>
                <a:lnTo>
                  <a:pt x="570827" y="533873"/>
                </a:lnTo>
                <a:lnTo>
                  <a:pt x="571800" y="533873"/>
                </a:lnTo>
                <a:lnTo>
                  <a:pt x="573745" y="533873"/>
                </a:lnTo>
                <a:lnTo>
                  <a:pt x="582497" y="538735"/>
                </a:lnTo>
                <a:lnTo>
                  <a:pt x="586386" y="539708"/>
                </a:lnTo>
                <a:lnTo>
                  <a:pt x="591248" y="541653"/>
                </a:lnTo>
                <a:lnTo>
                  <a:pt x="590276" y="541653"/>
                </a:lnTo>
                <a:lnTo>
                  <a:pt x="597084" y="542625"/>
                </a:lnTo>
                <a:lnTo>
                  <a:pt x="603891" y="544570"/>
                </a:lnTo>
                <a:lnTo>
                  <a:pt x="609725" y="546515"/>
                </a:lnTo>
                <a:lnTo>
                  <a:pt x="615560" y="546515"/>
                </a:lnTo>
                <a:lnTo>
                  <a:pt x="650568" y="556239"/>
                </a:lnTo>
                <a:lnTo>
                  <a:pt x="684604" y="565964"/>
                </a:lnTo>
                <a:lnTo>
                  <a:pt x="752675" y="581523"/>
                </a:lnTo>
                <a:lnTo>
                  <a:pt x="786711" y="589303"/>
                </a:lnTo>
                <a:lnTo>
                  <a:pt x="819774" y="596110"/>
                </a:lnTo>
                <a:lnTo>
                  <a:pt x="888818" y="608752"/>
                </a:lnTo>
                <a:lnTo>
                  <a:pt x="899515" y="611669"/>
                </a:lnTo>
                <a:lnTo>
                  <a:pt x="912157" y="613614"/>
                </a:lnTo>
                <a:lnTo>
                  <a:pt x="911184" y="613614"/>
                </a:lnTo>
                <a:lnTo>
                  <a:pt x="913129" y="613614"/>
                </a:lnTo>
                <a:lnTo>
                  <a:pt x="916046" y="613614"/>
                </a:lnTo>
                <a:lnTo>
                  <a:pt x="918964" y="613614"/>
                </a:lnTo>
                <a:lnTo>
                  <a:pt x="921881" y="613614"/>
                </a:lnTo>
                <a:lnTo>
                  <a:pt x="946193" y="617504"/>
                </a:lnTo>
                <a:lnTo>
                  <a:pt x="972448" y="620421"/>
                </a:lnTo>
                <a:lnTo>
                  <a:pt x="969531" y="620421"/>
                </a:lnTo>
                <a:lnTo>
                  <a:pt x="969531" y="621394"/>
                </a:lnTo>
                <a:lnTo>
                  <a:pt x="971476" y="621394"/>
                </a:lnTo>
                <a:lnTo>
                  <a:pt x="975366" y="620421"/>
                </a:lnTo>
                <a:lnTo>
                  <a:pt x="975366" y="621393"/>
                </a:lnTo>
                <a:lnTo>
                  <a:pt x="978283" y="621394"/>
                </a:lnTo>
                <a:lnTo>
                  <a:pt x="979165" y="620512"/>
                </a:lnTo>
                <a:lnTo>
                  <a:pt x="1044409" y="627228"/>
                </a:lnTo>
                <a:lnTo>
                  <a:pt x="1077472" y="631118"/>
                </a:lnTo>
                <a:lnTo>
                  <a:pt x="1110536" y="633063"/>
                </a:lnTo>
                <a:lnTo>
                  <a:pt x="1119288" y="634036"/>
                </a:lnTo>
                <a:lnTo>
                  <a:pt x="1129013" y="634035"/>
                </a:lnTo>
                <a:lnTo>
                  <a:pt x="1147489" y="635008"/>
                </a:lnTo>
                <a:lnTo>
                  <a:pt x="1171801" y="636953"/>
                </a:lnTo>
                <a:lnTo>
                  <a:pt x="1196111" y="638897"/>
                </a:lnTo>
                <a:lnTo>
                  <a:pt x="1220423" y="638898"/>
                </a:lnTo>
                <a:lnTo>
                  <a:pt x="1243275" y="638898"/>
                </a:lnTo>
                <a:lnTo>
                  <a:pt x="1243761" y="639870"/>
                </a:lnTo>
                <a:lnTo>
                  <a:pt x="1241817" y="640842"/>
                </a:lnTo>
                <a:lnTo>
                  <a:pt x="1235982" y="642788"/>
                </a:lnTo>
                <a:lnTo>
                  <a:pt x="1227230" y="643760"/>
                </a:lnTo>
                <a:lnTo>
                  <a:pt x="1212643" y="644732"/>
                </a:lnTo>
                <a:lnTo>
                  <a:pt x="1197084" y="644732"/>
                </a:lnTo>
                <a:lnTo>
                  <a:pt x="1180552" y="644732"/>
                </a:lnTo>
                <a:lnTo>
                  <a:pt x="1164993" y="644732"/>
                </a:lnTo>
                <a:lnTo>
                  <a:pt x="1164021" y="644732"/>
                </a:lnTo>
                <a:lnTo>
                  <a:pt x="1164021" y="643760"/>
                </a:lnTo>
                <a:lnTo>
                  <a:pt x="1163048" y="642788"/>
                </a:lnTo>
                <a:lnTo>
                  <a:pt x="1161103" y="642788"/>
                </a:lnTo>
                <a:lnTo>
                  <a:pt x="1144571" y="643760"/>
                </a:lnTo>
                <a:lnTo>
                  <a:pt x="1126095" y="642788"/>
                </a:lnTo>
                <a:lnTo>
                  <a:pt x="1106646" y="640843"/>
                </a:lnTo>
                <a:lnTo>
                  <a:pt x="1088170" y="637926"/>
                </a:lnTo>
                <a:lnTo>
                  <a:pt x="1089142" y="637925"/>
                </a:lnTo>
                <a:lnTo>
                  <a:pt x="1082335" y="637926"/>
                </a:lnTo>
                <a:lnTo>
                  <a:pt x="1075528" y="637925"/>
                </a:lnTo>
                <a:lnTo>
                  <a:pt x="1075528" y="636953"/>
                </a:lnTo>
                <a:lnTo>
                  <a:pt x="1073583" y="636953"/>
                </a:lnTo>
                <a:lnTo>
                  <a:pt x="1069693" y="636953"/>
                </a:lnTo>
                <a:lnTo>
                  <a:pt x="1064831" y="637926"/>
                </a:lnTo>
                <a:lnTo>
                  <a:pt x="1062886" y="636953"/>
                </a:lnTo>
                <a:lnTo>
                  <a:pt x="1060942" y="635981"/>
                </a:lnTo>
                <a:lnTo>
                  <a:pt x="1058024" y="636953"/>
                </a:lnTo>
                <a:lnTo>
                  <a:pt x="1051217" y="636953"/>
                </a:lnTo>
                <a:lnTo>
                  <a:pt x="1044409" y="636953"/>
                </a:lnTo>
                <a:lnTo>
                  <a:pt x="1036630" y="635980"/>
                </a:lnTo>
                <a:lnTo>
                  <a:pt x="1028850" y="635008"/>
                </a:lnTo>
                <a:lnTo>
                  <a:pt x="1029823" y="635008"/>
                </a:lnTo>
                <a:lnTo>
                  <a:pt x="1017181" y="634036"/>
                </a:lnTo>
                <a:lnTo>
                  <a:pt x="1002594" y="633063"/>
                </a:lnTo>
                <a:lnTo>
                  <a:pt x="974393" y="631118"/>
                </a:lnTo>
                <a:lnTo>
                  <a:pt x="975366" y="630146"/>
                </a:lnTo>
                <a:lnTo>
                  <a:pt x="975365" y="629173"/>
                </a:lnTo>
                <a:lnTo>
                  <a:pt x="973421" y="630146"/>
                </a:lnTo>
                <a:lnTo>
                  <a:pt x="970504" y="630146"/>
                </a:lnTo>
                <a:lnTo>
                  <a:pt x="963696" y="630145"/>
                </a:lnTo>
                <a:lnTo>
                  <a:pt x="960779" y="629173"/>
                </a:lnTo>
                <a:lnTo>
                  <a:pt x="957862" y="629173"/>
                </a:lnTo>
                <a:lnTo>
                  <a:pt x="953972" y="629173"/>
                </a:lnTo>
                <a:lnTo>
                  <a:pt x="949111" y="628201"/>
                </a:lnTo>
                <a:lnTo>
                  <a:pt x="950082" y="628201"/>
                </a:lnTo>
                <a:lnTo>
                  <a:pt x="949110" y="628201"/>
                </a:lnTo>
                <a:lnTo>
                  <a:pt x="949111" y="628201"/>
                </a:lnTo>
                <a:lnTo>
                  <a:pt x="947165" y="628201"/>
                </a:lnTo>
                <a:lnTo>
                  <a:pt x="944247" y="628201"/>
                </a:lnTo>
                <a:lnTo>
                  <a:pt x="942303" y="627228"/>
                </a:lnTo>
                <a:lnTo>
                  <a:pt x="940358" y="628201"/>
                </a:lnTo>
                <a:lnTo>
                  <a:pt x="937441" y="626256"/>
                </a:lnTo>
                <a:lnTo>
                  <a:pt x="935496" y="627228"/>
                </a:lnTo>
                <a:lnTo>
                  <a:pt x="933550" y="626256"/>
                </a:lnTo>
                <a:lnTo>
                  <a:pt x="930633" y="625283"/>
                </a:lnTo>
                <a:lnTo>
                  <a:pt x="927716" y="625283"/>
                </a:lnTo>
                <a:lnTo>
                  <a:pt x="923826" y="625283"/>
                </a:lnTo>
                <a:lnTo>
                  <a:pt x="919936" y="624311"/>
                </a:lnTo>
                <a:lnTo>
                  <a:pt x="911184" y="622366"/>
                </a:lnTo>
                <a:lnTo>
                  <a:pt x="909239" y="622366"/>
                </a:lnTo>
                <a:lnTo>
                  <a:pt x="908267" y="623339"/>
                </a:lnTo>
                <a:lnTo>
                  <a:pt x="908267" y="622366"/>
                </a:lnTo>
                <a:lnTo>
                  <a:pt x="910212" y="622366"/>
                </a:lnTo>
                <a:lnTo>
                  <a:pt x="912157" y="622366"/>
                </a:lnTo>
                <a:lnTo>
                  <a:pt x="911184" y="621394"/>
                </a:lnTo>
                <a:lnTo>
                  <a:pt x="893680" y="619449"/>
                </a:lnTo>
                <a:lnTo>
                  <a:pt x="875204" y="617504"/>
                </a:lnTo>
                <a:lnTo>
                  <a:pt x="840196" y="610697"/>
                </a:lnTo>
                <a:lnTo>
                  <a:pt x="836306" y="609725"/>
                </a:lnTo>
                <a:lnTo>
                  <a:pt x="835333" y="608752"/>
                </a:lnTo>
                <a:lnTo>
                  <a:pt x="829499" y="607779"/>
                </a:lnTo>
                <a:lnTo>
                  <a:pt x="823664" y="607779"/>
                </a:lnTo>
                <a:lnTo>
                  <a:pt x="821719" y="605834"/>
                </a:lnTo>
                <a:lnTo>
                  <a:pt x="818802" y="605834"/>
                </a:lnTo>
                <a:lnTo>
                  <a:pt x="816856" y="605835"/>
                </a:lnTo>
                <a:lnTo>
                  <a:pt x="814912" y="605834"/>
                </a:lnTo>
                <a:lnTo>
                  <a:pt x="811994" y="605835"/>
                </a:lnTo>
                <a:lnTo>
                  <a:pt x="813939" y="604862"/>
                </a:lnTo>
                <a:lnTo>
                  <a:pt x="813939" y="603889"/>
                </a:lnTo>
                <a:lnTo>
                  <a:pt x="807132" y="603890"/>
                </a:lnTo>
                <a:lnTo>
                  <a:pt x="799352" y="602917"/>
                </a:lnTo>
                <a:lnTo>
                  <a:pt x="801298" y="602917"/>
                </a:lnTo>
                <a:lnTo>
                  <a:pt x="801297" y="601945"/>
                </a:lnTo>
                <a:lnTo>
                  <a:pt x="797407" y="601944"/>
                </a:lnTo>
                <a:lnTo>
                  <a:pt x="794490" y="600972"/>
                </a:lnTo>
                <a:lnTo>
                  <a:pt x="787683" y="600000"/>
                </a:lnTo>
                <a:lnTo>
                  <a:pt x="789628" y="599027"/>
                </a:lnTo>
                <a:lnTo>
                  <a:pt x="785738" y="598055"/>
                </a:lnTo>
                <a:lnTo>
                  <a:pt x="784765" y="599027"/>
                </a:lnTo>
                <a:lnTo>
                  <a:pt x="783793" y="599027"/>
                </a:lnTo>
                <a:lnTo>
                  <a:pt x="781848" y="599027"/>
                </a:lnTo>
                <a:lnTo>
                  <a:pt x="781849" y="598055"/>
                </a:lnTo>
                <a:lnTo>
                  <a:pt x="776986" y="598055"/>
                </a:lnTo>
                <a:lnTo>
                  <a:pt x="771152" y="597082"/>
                </a:lnTo>
                <a:lnTo>
                  <a:pt x="760455" y="595137"/>
                </a:lnTo>
                <a:lnTo>
                  <a:pt x="750730" y="592220"/>
                </a:lnTo>
                <a:lnTo>
                  <a:pt x="741006" y="590275"/>
                </a:lnTo>
                <a:lnTo>
                  <a:pt x="740034" y="589303"/>
                </a:lnTo>
                <a:lnTo>
                  <a:pt x="739061" y="589303"/>
                </a:lnTo>
                <a:lnTo>
                  <a:pt x="738088" y="588330"/>
                </a:lnTo>
                <a:lnTo>
                  <a:pt x="735171" y="587358"/>
                </a:lnTo>
                <a:lnTo>
                  <a:pt x="734199" y="587358"/>
                </a:lnTo>
                <a:lnTo>
                  <a:pt x="733226" y="587358"/>
                </a:lnTo>
                <a:lnTo>
                  <a:pt x="729336" y="587358"/>
                </a:lnTo>
                <a:lnTo>
                  <a:pt x="726419" y="587358"/>
                </a:lnTo>
                <a:lnTo>
                  <a:pt x="727392" y="588331"/>
                </a:lnTo>
                <a:lnTo>
                  <a:pt x="716694" y="585413"/>
                </a:lnTo>
                <a:lnTo>
                  <a:pt x="707942" y="583468"/>
                </a:lnTo>
                <a:lnTo>
                  <a:pt x="708915" y="582496"/>
                </a:lnTo>
                <a:lnTo>
                  <a:pt x="708915" y="581523"/>
                </a:lnTo>
                <a:lnTo>
                  <a:pt x="710860" y="581523"/>
                </a:lnTo>
                <a:lnTo>
                  <a:pt x="707942" y="579578"/>
                </a:lnTo>
                <a:lnTo>
                  <a:pt x="709888" y="579578"/>
                </a:lnTo>
                <a:lnTo>
                  <a:pt x="704052" y="578606"/>
                </a:lnTo>
                <a:lnTo>
                  <a:pt x="699190" y="577634"/>
                </a:lnTo>
                <a:lnTo>
                  <a:pt x="691411" y="577633"/>
                </a:lnTo>
                <a:lnTo>
                  <a:pt x="687521" y="576661"/>
                </a:lnTo>
                <a:lnTo>
                  <a:pt x="682659" y="575689"/>
                </a:lnTo>
                <a:lnTo>
                  <a:pt x="683631" y="575688"/>
                </a:lnTo>
                <a:lnTo>
                  <a:pt x="683631" y="574716"/>
                </a:lnTo>
                <a:lnTo>
                  <a:pt x="682659" y="574716"/>
                </a:lnTo>
                <a:lnTo>
                  <a:pt x="683632" y="573744"/>
                </a:lnTo>
                <a:lnTo>
                  <a:pt x="672934" y="574716"/>
                </a:lnTo>
                <a:lnTo>
                  <a:pt x="670990" y="573744"/>
                </a:lnTo>
                <a:lnTo>
                  <a:pt x="670990" y="572771"/>
                </a:lnTo>
                <a:lnTo>
                  <a:pt x="669045" y="572771"/>
                </a:lnTo>
                <a:lnTo>
                  <a:pt x="668072" y="572771"/>
                </a:lnTo>
                <a:lnTo>
                  <a:pt x="666127" y="572771"/>
                </a:lnTo>
                <a:lnTo>
                  <a:pt x="660292" y="571799"/>
                </a:lnTo>
                <a:lnTo>
                  <a:pt x="657375" y="569854"/>
                </a:lnTo>
                <a:lnTo>
                  <a:pt x="655430" y="568882"/>
                </a:lnTo>
                <a:lnTo>
                  <a:pt x="657375" y="568881"/>
                </a:lnTo>
                <a:lnTo>
                  <a:pt x="657375" y="567909"/>
                </a:lnTo>
                <a:lnTo>
                  <a:pt x="647651" y="565964"/>
                </a:lnTo>
                <a:lnTo>
                  <a:pt x="642788" y="564992"/>
                </a:lnTo>
                <a:lnTo>
                  <a:pt x="641816" y="564992"/>
                </a:lnTo>
                <a:lnTo>
                  <a:pt x="641816" y="565964"/>
                </a:lnTo>
                <a:lnTo>
                  <a:pt x="638899" y="565964"/>
                </a:lnTo>
                <a:lnTo>
                  <a:pt x="633064" y="564020"/>
                </a:lnTo>
                <a:lnTo>
                  <a:pt x="634036" y="564019"/>
                </a:lnTo>
                <a:lnTo>
                  <a:pt x="635009" y="563047"/>
                </a:lnTo>
                <a:lnTo>
                  <a:pt x="625284" y="562075"/>
                </a:lnTo>
                <a:lnTo>
                  <a:pt x="615560" y="560129"/>
                </a:lnTo>
                <a:lnTo>
                  <a:pt x="617505" y="560130"/>
                </a:lnTo>
                <a:lnTo>
                  <a:pt x="619450" y="560129"/>
                </a:lnTo>
                <a:lnTo>
                  <a:pt x="613615" y="558185"/>
                </a:lnTo>
                <a:lnTo>
                  <a:pt x="606808" y="556240"/>
                </a:lnTo>
                <a:lnTo>
                  <a:pt x="600973" y="554295"/>
                </a:lnTo>
                <a:lnTo>
                  <a:pt x="595138" y="552350"/>
                </a:lnTo>
                <a:lnTo>
                  <a:pt x="596111" y="553322"/>
                </a:lnTo>
                <a:lnTo>
                  <a:pt x="595139" y="553323"/>
                </a:lnTo>
                <a:lnTo>
                  <a:pt x="592221" y="551377"/>
                </a:lnTo>
                <a:lnTo>
                  <a:pt x="589304" y="550405"/>
                </a:lnTo>
                <a:lnTo>
                  <a:pt x="587359" y="549432"/>
                </a:lnTo>
                <a:lnTo>
                  <a:pt x="583469" y="548460"/>
                </a:lnTo>
                <a:lnTo>
                  <a:pt x="582497" y="548460"/>
                </a:lnTo>
                <a:lnTo>
                  <a:pt x="585414" y="549432"/>
                </a:lnTo>
                <a:lnTo>
                  <a:pt x="572772" y="545542"/>
                </a:lnTo>
                <a:lnTo>
                  <a:pt x="564993" y="543597"/>
                </a:lnTo>
                <a:lnTo>
                  <a:pt x="557213" y="540680"/>
                </a:lnTo>
                <a:lnTo>
                  <a:pt x="554295" y="540680"/>
                </a:lnTo>
                <a:lnTo>
                  <a:pt x="549433" y="539708"/>
                </a:lnTo>
                <a:lnTo>
                  <a:pt x="550406" y="538735"/>
                </a:lnTo>
                <a:lnTo>
                  <a:pt x="548461" y="537763"/>
                </a:lnTo>
                <a:lnTo>
                  <a:pt x="550406" y="537763"/>
                </a:lnTo>
                <a:lnTo>
                  <a:pt x="554296" y="538735"/>
                </a:lnTo>
                <a:lnTo>
                  <a:pt x="553323" y="537763"/>
                </a:lnTo>
                <a:lnTo>
                  <a:pt x="550406" y="537763"/>
                </a:lnTo>
                <a:lnTo>
                  <a:pt x="544572" y="535818"/>
                </a:lnTo>
                <a:lnTo>
                  <a:pt x="541654" y="534845"/>
                </a:lnTo>
                <a:lnTo>
                  <a:pt x="538736" y="533873"/>
                </a:lnTo>
                <a:lnTo>
                  <a:pt x="536792" y="532901"/>
                </a:lnTo>
                <a:lnTo>
                  <a:pt x="537764" y="532901"/>
                </a:lnTo>
                <a:lnTo>
                  <a:pt x="538737" y="531928"/>
                </a:lnTo>
                <a:lnTo>
                  <a:pt x="536792" y="531928"/>
                </a:lnTo>
                <a:lnTo>
                  <a:pt x="532902" y="530956"/>
                </a:lnTo>
                <a:lnTo>
                  <a:pt x="529985" y="529983"/>
                </a:lnTo>
                <a:lnTo>
                  <a:pt x="527067" y="529011"/>
                </a:lnTo>
                <a:lnTo>
                  <a:pt x="526095" y="529011"/>
                </a:lnTo>
                <a:lnTo>
                  <a:pt x="525122" y="529011"/>
                </a:lnTo>
                <a:lnTo>
                  <a:pt x="524150" y="529011"/>
                </a:lnTo>
                <a:lnTo>
                  <a:pt x="523178" y="528039"/>
                </a:lnTo>
                <a:lnTo>
                  <a:pt x="520260" y="527066"/>
                </a:lnTo>
                <a:lnTo>
                  <a:pt x="517342" y="526094"/>
                </a:lnTo>
                <a:lnTo>
                  <a:pt x="517343" y="525122"/>
                </a:lnTo>
                <a:lnTo>
                  <a:pt x="518315" y="524149"/>
                </a:lnTo>
                <a:lnTo>
                  <a:pt x="514425" y="524149"/>
                </a:lnTo>
                <a:lnTo>
                  <a:pt x="511508" y="524149"/>
                </a:lnTo>
                <a:lnTo>
                  <a:pt x="511508" y="523176"/>
                </a:lnTo>
                <a:lnTo>
                  <a:pt x="509563" y="523177"/>
                </a:lnTo>
                <a:lnTo>
                  <a:pt x="507619" y="522204"/>
                </a:lnTo>
                <a:lnTo>
                  <a:pt x="504701" y="521232"/>
                </a:lnTo>
                <a:lnTo>
                  <a:pt x="501783" y="521232"/>
                </a:lnTo>
                <a:lnTo>
                  <a:pt x="494004" y="517342"/>
                </a:lnTo>
                <a:lnTo>
                  <a:pt x="490114" y="515396"/>
                </a:lnTo>
                <a:lnTo>
                  <a:pt x="487197" y="513452"/>
                </a:lnTo>
                <a:lnTo>
                  <a:pt x="481362" y="512480"/>
                </a:lnTo>
                <a:lnTo>
                  <a:pt x="475527" y="509562"/>
                </a:lnTo>
                <a:lnTo>
                  <a:pt x="477472" y="509562"/>
                </a:lnTo>
                <a:lnTo>
                  <a:pt x="474555" y="508590"/>
                </a:lnTo>
                <a:lnTo>
                  <a:pt x="471638" y="507617"/>
                </a:lnTo>
                <a:lnTo>
                  <a:pt x="468720" y="505672"/>
                </a:lnTo>
                <a:lnTo>
                  <a:pt x="463858" y="502755"/>
                </a:lnTo>
                <a:lnTo>
                  <a:pt x="461913" y="501783"/>
                </a:lnTo>
                <a:lnTo>
                  <a:pt x="460941" y="502755"/>
                </a:lnTo>
                <a:lnTo>
                  <a:pt x="459968" y="503727"/>
                </a:lnTo>
                <a:lnTo>
                  <a:pt x="457051" y="501783"/>
                </a:lnTo>
                <a:lnTo>
                  <a:pt x="453161" y="499838"/>
                </a:lnTo>
                <a:lnTo>
                  <a:pt x="448299" y="498865"/>
                </a:lnTo>
                <a:lnTo>
                  <a:pt x="445381" y="495948"/>
                </a:lnTo>
                <a:lnTo>
                  <a:pt x="448299" y="496920"/>
                </a:lnTo>
                <a:lnTo>
                  <a:pt x="449271" y="496921"/>
                </a:lnTo>
                <a:lnTo>
                  <a:pt x="448299" y="495948"/>
                </a:lnTo>
                <a:lnTo>
                  <a:pt x="445381" y="494003"/>
                </a:lnTo>
                <a:lnTo>
                  <a:pt x="442464" y="493031"/>
                </a:lnTo>
                <a:lnTo>
                  <a:pt x="439547" y="492058"/>
                </a:lnTo>
                <a:lnTo>
                  <a:pt x="435657" y="491086"/>
                </a:lnTo>
                <a:lnTo>
                  <a:pt x="436630" y="493030"/>
                </a:lnTo>
                <a:lnTo>
                  <a:pt x="433712" y="491086"/>
                </a:lnTo>
                <a:lnTo>
                  <a:pt x="431767" y="490113"/>
                </a:lnTo>
                <a:lnTo>
                  <a:pt x="428850" y="490113"/>
                </a:lnTo>
                <a:lnTo>
                  <a:pt x="428850" y="489141"/>
                </a:lnTo>
                <a:lnTo>
                  <a:pt x="424960" y="487196"/>
                </a:lnTo>
                <a:lnTo>
                  <a:pt x="423015" y="486223"/>
                </a:lnTo>
                <a:lnTo>
                  <a:pt x="422043" y="487196"/>
                </a:lnTo>
                <a:lnTo>
                  <a:pt x="415236" y="483306"/>
                </a:lnTo>
                <a:lnTo>
                  <a:pt x="407456" y="479416"/>
                </a:lnTo>
                <a:lnTo>
                  <a:pt x="400649" y="475527"/>
                </a:lnTo>
                <a:lnTo>
                  <a:pt x="397732" y="473582"/>
                </a:lnTo>
                <a:lnTo>
                  <a:pt x="395787" y="471637"/>
                </a:lnTo>
                <a:lnTo>
                  <a:pt x="392869" y="470664"/>
                </a:lnTo>
                <a:lnTo>
                  <a:pt x="391897" y="470664"/>
                </a:lnTo>
                <a:lnTo>
                  <a:pt x="392869" y="471637"/>
                </a:lnTo>
                <a:lnTo>
                  <a:pt x="393842" y="471636"/>
                </a:lnTo>
                <a:lnTo>
                  <a:pt x="395787" y="472609"/>
                </a:lnTo>
                <a:lnTo>
                  <a:pt x="393842" y="472609"/>
                </a:lnTo>
                <a:lnTo>
                  <a:pt x="390925" y="470664"/>
                </a:lnTo>
                <a:lnTo>
                  <a:pt x="390924" y="469691"/>
                </a:lnTo>
                <a:lnTo>
                  <a:pt x="391897" y="469692"/>
                </a:lnTo>
                <a:lnTo>
                  <a:pt x="388007" y="467747"/>
                </a:lnTo>
                <a:lnTo>
                  <a:pt x="385090" y="466774"/>
                </a:lnTo>
                <a:lnTo>
                  <a:pt x="381200" y="466774"/>
                </a:lnTo>
                <a:lnTo>
                  <a:pt x="377310" y="463857"/>
                </a:lnTo>
                <a:lnTo>
                  <a:pt x="374393" y="461913"/>
                </a:lnTo>
                <a:lnTo>
                  <a:pt x="369531" y="460940"/>
                </a:lnTo>
                <a:lnTo>
                  <a:pt x="367586" y="458995"/>
                </a:lnTo>
                <a:lnTo>
                  <a:pt x="366613" y="458994"/>
                </a:lnTo>
                <a:lnTo>
                  <a:pt x="367586" y="457050"/>
                </a:lnTo>
                <a:lnTo>
                  <a:pt x="363696" y="455105"/>
                </a:lnTo>
                <a:lnTo>
                  <a:pt x="360779" y="454133"/>
                </a:lnTo>
                <a:lnTo>
                  <a:pt x="357861" y="451215"/>
                </a:lnTo>
                <a:lnTo>
                  <a:pt x="357861" y="452187"/>
                </a:lnTo>
                <a:lnTo>
                  <a:pt x="356889" y="451216"/>
                </a:lnTo>
                <a:lnTo>
                  <a:pt x="353971" y="450243"/>
                </a:lnTo>
                <a:lnTo>
                  <a:pt x="354944" y="450243"/>
                </a:lnTo>
                <a:lnTo>
                  <a:pt x="352999" y="449270"/>
                </a:lnTo>
                <a:lnTo>
                  <a:pt x="350081" y="447325"/>
                </a:lnTo>
                <a:lnTo>
                  <a:pt x="352026" y="449270"/>
                </a:lnTo>
                <a:lnTo>
                  <a:pt x="354944" y="451215"/>
                </a:lnTo>
                <a:lnTo>
                  <a:pt x="349109" y="449271"/>
                </a:lnTo>
                <a:lnTo>
                  <a:pt x="347164" y="447325"/>
                </a:lnTo>
                <a:lnTo>
                  <a:pt x="343274" y="445381"/>
                </a:lnTo>
                <a:lnTo>
                  <a:pt x="340357" y="444408"/>
                </a:lnTo>
                <a:lnTo>
                  <a:pt x="339385" y="442463"/>
                </a:lnTo>
                <a:lnTo>
                  <a:pt x="336468" y="440518"/>
                </a:lnTo>
                <a:lnTo>
                  <a:pt x="334522" y="440518"/>
                </a:lnTo>
                <a:lnTo>
                  <a:pt x="330633" y="437601"/>
                </a:lnTo>
                <a:lnTo>
                  <a:pt x="329660" y="437601"/>
                </a:lnTo>
                <a:lnTo>
                  <a:pt x="327715" y="436628"/>
                </a:lnTo>
                <a:lnTo>
                  <a:pt x="324798" y="435656"/>
                </a:lnTo>
                <a:lnTo>
                  <a:pt x="322853" y="434683"/>
                </a:lnTo>
                <a:lnTo>
                  <a:pt x="320908" y="434683"/>
                </a:lnTo>
                <a:lnTo>
                  <a:pt x="314101" y="429822"/>
                </a:lnTo>
                <a:lnTo>
                  <a:pt x="315073" y="429821"/>
                </a:lnTo>
                <a:lnTo>
                  <a:pt x="311184" y="426904"/>
                </a:lnTo>
                <a:lnTo>
                  <a:pt x="306322" y="424959"/>
                </a:lnTo>
                <a:lnTo>
                  <a:pt x="307294" y="424959"/>
                </a:lnTo>
                <a:lnTo>
                  <a:pt x="303404" y="423014"/>
                </a:lnTo>
                <a:lnTo>
                  <a:pt x="300487" y="421069"/>
                </a:lnTo>
                <a:lnTo>
                  <a:pt x="298542" y="420097"/>
                </a:lnTo>
                <a:lnTo>
                  <a:pt x="298542" y="418152"/>
                </a:lnTo>
                <a:lnTo>
                  <a:pt x="298542" y="417180"/>
                </a:lnTo>
                <a:lnTo>
                  <a:pt x="296597" y="416207"/>
                </a:lnTo>
                <a:lnTo>
                  <a:pt x="293679" y="415235"/>
                </a:lnTo>
                <a:lnTo>
                  <a:pt x="291735" y="414262"/>
                </a:lnTo>
                <a:lnTo>
                  <a:pt x="290762" y="415235"/>
                </a:lnTo>
                <a:lnTo>
                  <a:pt x="290762" y="416207"/>
                </a:lnTo>
                <a:lnTo>
                  <a:pt x="281038" y="409400"/>
                </a:lnTo>
                <a:lnTo>
                  <a:pt x="276175" y="406483"/>
                </a:lnTo>
                <a:lnTo>
                  <a:pt x="271313" y="402592"/>
                </a:lnTo>
                <a:lnTo>
                  <a:pt x="270341" y="402593"/>
                </a:lnTo>
                <a:lnTo>
                  <a:pt x="269368" y="401620"/>
                </a:lnTo>
                <a:lnTo>
                  <a:pt x="254782" y="392868"/>
                </a:lnTo>
                <a:lnTo>
                  <a:pt x="247975" y="388006"/>
                </a:lnTo>
                <a:lnTo>
                  <a:pt x="244085" y="384117"/>
                </a:lnTo>
                <a:lnTo>
                  <a:pt x="244085" y="383144"/>
                </a:lnTo>
                <a:lnTo>
                  <a:pt x="244085" y="382172"/>
                </a:lnTo>
                <a:lnTo>
                  <a:pt x="242140" y="381199"/>
                </a:lnTo>
                <a:lnTo>
                  <a:pt x="241167" y="380227"/>
                </a:lnTo>
                <a:lnTo>
                  <a:pt x="240195" y="380226"/>
                </a:lnTo>
                <a:lnTo>
                  <a:pt x="240195" y="381199"/>
                </a:lnTo>
                <a:lnTo>
                  <a:pt x="241167" y="383144"/>
                </a:lnTo>
                <a:lnTo>
                  <a:pt x="232415" y="376337"/>
                </a:lnTo>
                <a:lnTo>
                  <a:pt x="225608" y="370502"/>
                </a:lnTo>
                <a:lnTo>
                  <a:pt x="225608" y="371474"/>
                </a:lnTo>
                <a:lnTo>
                  <a:pt x="223663" y="370502"/>
                </a:lnTo>
                <a:lnTo>
                  <a:pt x="223663" y="369530"/>
                </a:lnTo>
                <a:lnTo>
                  <a:pt x="222691" y="368557"/>
                </a:lnTo>
                <a:lnTo>
                  <a:pt x="217829" y="364668"/>
                </a:lnTo>
                <a:lnTo>
                  <a:pt x="216856" y="365640"/>
                </a:lnTo>
                <a:lnTo>
                  <a:pt x="215883" y="363695"/>
                </a:lnTo>
                <a:lnTo>
                  <a:pt x="213939" y="362722"/>
                </a:lnTo>
                <a:lnTo>
                  <a:pt x="212966" y="362723"/>
                </a:lnTo>
                <a:lnTo>
                  <a:pt x="211021" y="360777"/>
                </a:lnTo>
                <a:lnTo>
                  <a:pt x="211022" y="359805"/>
                </a:lnTo>
                <a:lnTo>
                  <a:pt x="205187" y="356888"/>
                </a:lnTo>
                <a:lnTo>
                  <a:pt x="199352" y="352025"/>
                </a:lnTo>
                <a:lnTo>
                  <a:pt x="198380" y="349108"/>
                </a:lnTo>
                <a:lnTo>
                  <a:pt x="195462" y="348136"/>
                </a:lnTo>
                <a:lnTo>
                  <a:pt x="195462" y="349108"/>
                </a:lnTo>
                <a:lnTo>
                  <a:pt x="189628" y="342301"/>
                </a:lnTo>
                <a:lnTo>
                  <a:pt x="186710" y="338411"/>
                </a:lnTo>
                <a:lnTo>
                  <a:pt x="177958" y="333549"/>
                </a:lnTo>
                <a:lnTo>
                  <a:pt x="169206" y="326742"/>
                </a:lnTo>
                <a:lnTo>
                  <a:pt x="151702" y="311183"/>
                </a:lnTo>
                <a:lnTo>
                  <a:pt x="152674" y="311182"/>
                </a:lnTo>
                <a:lnTo>
                  <a:pt x="150730" y="309238"/>
                </a:lnTo>
                <a:lnTo>
                  <a:pt x="149757" y="309238"/>
                </a:lnTo>
                <a:lnTo>
                  <a:pt x="148785" y="308265"/>
                </a:lnTo>
                <a:lnTo>
                  <a:pt x="148785" y="307293"/>
                </a:lnTo>
                <a:lnTo>
                  <a:pt x="148785" y="306320"/>
                </a:lnTo>
                <a:lnTo>
                  <a:pt x="150730" y="306320"/>
                </a:lnTo>
                <a:lnTo>
                  <a:pt x="147812" y="304375"/>
                </a:lnTo>
                <a:lnTo>
                  <a:pt x="145867" y="302431"/>
                </a:lnTo>
                <a:lnTo>
                  <a:pt x="141978" y="300486"/>
                </a:lnTo>
                <a:lnTo>
                  <a:pt x="141978" y="301458"/>
                </a:lnTo>
                <a:lnTo>
                  <a:pt x="140033" y="299513"/>
                </a:lnTo>
                <a:lnTo>
                  <a:pt x="138088" y="297569"/>
                </a:lnTo>
                <a:lnTo>
                  <a:pt x="136143" y="296596"/>
                </a:lnTo>
                <a:lnTo>
                  <a:pt x="136143" y="295623"/>
                </a:lnTo>
                <a:lnTo>
                  <a:pt x="137115" y="295624"/>
                </a:lnTo>
                <a:lnTo>
                  <a:pt x="138088" y="295624"/>
                </a:lnTo>
                <a:lnTo>
                  <a:pt x="135171" y="293679"/>
                </a:lnTo>
                <a:lnTo>
                  <a:pt x="135170" y="292706"/>
                </a:lnTo>
                <a:lnTo>
                  <a:pt x="136143" y="292706"/>
                </a:lnTo>
                <a:lnTo>
                  <a:pt x="139060" y="293679"/>
                </a:lnTo>
                <a:lnTo>
                  <a:pt x="141977" y="294651"/>
                </a:lnTo>
                <a:lnTo>
                  <a:pt x="141978" y="293679"/>
                </a:lnTo>
                <a:lnTo>
                  <a:pt x="140033" y="291734"/>
                </a:lnTo>
                <a:lnTo>
                  <a:pt x="140033" y="290761"/>
                </a:lnTo>
                <a:lnTo>
                  <a:pt x="141005" y="290761"/>
                </a:lnTo>
                <a:lnTo>
                  <a:pt x="141978" y="291734"/>
                </a:lnTo>
                <a:lnTo>
                  <a:pt x="143922" y="292707"/>
                </a:lnTo>
                <a:lnTo>
                  <a:pt x="141978" y="290761"/>
                </a:lnTo>
                <a:lnTo>
                  <a:pt x="138088" y="288817"/>
                </a:lnTo>
                <a:lnTo>
                  <a:pt x="137115" y="288816"/>
                </a:lnTo>
                <a:lnTo>
                  <a:pt x="137116" y="290761"/>
                </a:lnTo>
                <a:lnTo>
                  <a:pt x="134198" y="287844"/>
                </a:lnTo>
                <a:lnTo>
                  <a:pt x="132253" y="287844"/>
                </a:lnTo>
                <a:lnTo>
                  <a:pt x="131281" y="287358"/>
                </a:lnTo>
                <a:lnTo>
                  <a:pt x="130308" y="286872"/>
                </a:lnTo>
                <a:lnTo>
                  <a:pt x="127391" y="284927"/>
                </a:lnTo>
                <a:lnTo>
                  <a:pt x="127391" y="283954"/>
                </a:lnTo>
                <a:lnTo>
                  <a:pt x="128363" y="284926"/>
                </a:lnTo>
                <a:lnTo>
                  <a:pt x="129336" y="285899"/>
                </a:lnTo>
                <a:lnTo>
                  <a:pt x="131281" y="286871"/>
                </a:lnTo>
                <a:lnTo>
                  <a:pt x="130308" y="284927"/>
                </a:lnTo>
                <a:lnTo>
                  <a:pt x="128363" y="282981"/>
                </a:lnTo>
                <a:lnTo>
                  <a:pt x="124473" y="280065"/>
                </a:lnTo>
                <a:lnTo>
                  <a:pt x="125446" y="281037"/>
                </a:lnTo>
                <a:lnTo>
                  <a:pt x="124474" y="282009"/>
                </a:lnTo>
                <a:lnTo>
                  <a:pt x="121556" y="280064"/>
                </a:lnTo>
                <a:lnTo>
                  <a:pt x="121556" y="279092"/>
                </a:lnTo>
                <a:lnTo>
                  <a:pt x="122529" y="279092"/>
                </a:lnTo>
                <a:lnTo>
                  <a:pt x="120584" y="277147"/>
                </a:lnTo>
                <a:lnTo>
                  <a:pt x="117666" y="276175"/>
                </a:lnTo>
                <a:lnTo>
                  <a:pt x="118639" y="277147"/>
                </a:lnTo>
                <a:lnTo>
                  <a:pt x="116694" y="276174"/>
                </a:lnTo>
                <a:lnTo>
                  <a:pt x="114749" y="275202"/>
                </a:lnTo>
                <a:lnTo>
                  <a:pt x="113777" y="273257"/>
                </a:lnTo>
                <a:lnTo>
                  <a:pt x="111832" y="271312"/>
                </a:lnTo>
                <a:lnTo>
                  <a:pt x="112804" y="270340"/>
                </a:lnTo>
                <a:lnTo>
                  <a:pt x="114749" y="271312"/>
                </a:lnTo>
                <a:lnTo>
                  <a:pt x="115721" y="271312"/>
                </a:lnTo>
                <a:lnTo>
                  <a:pt x="114749" y="268395"/>
                </a:lnTo>
                <a:lnTo>
                  <a:pt x="113777" y="268395"/>
                </a:lnTo>
                <a:lnTo>
                  <a:pt x="110859" y="267423"/>
                </a:lnTo>
                <a:lnTo>
                  <a:pt x="109887" y="266450"/>
                </a:lnTo>
                <a:lnTo>
                  <a:pt x="108914" y="266451"/>
                </a:lnTo>
                <a:lnTo>
                  <a:pt x="108914" y="267423"/>
                </a:lnTo>
                <a:lnTo>
                  <a:pt x="108915" y="265478"/>
                </a:lnTo>
                <a:lnTo>
                  <a:pt x="109887" y="265478"/>
                </a:lnTo>
                <a:lnTo>
                  <a:pt x="107942" y="263533"/>
                </a:lnTo>
                <a:lnTo>
                  <a:pt x="105997" y="261588"/>
                </a:lnTo>
                <a:lnTo>
                  <a:pt x="104052" y="260616"/>
                </a:lnTo>
                <a:lnTo>
                  <a:pt x="104052" y="258671"/>
                </a:lnTo>
                <a:lnTo>
                  <a:pt x="102107" y="258670"/>
                </a:lnTo>
                <a:lnTo>
                  <a:pt x="101135" y="254781"/>
                </a:lnTo>
                <a:lnTo>
                  <a:pt x="96273" y="250891"/>
                </a:lnTo>
                <a:lnTo>
                  <a:pt x="95300" y="248946"/>
                </a:lnTo>
                <a:lnTo>
                  <a:pt x="94328" y="247974"/>
                </a:lnTo>
                <a:lnTo>
                  <a:pt x="95300" y="247001"/>
                </a:lnTo>
                <a:lnTo>
                  <a:pt x="92383" y="244084"/>
                </a:lnTo>
                <a:lnTo>
                  <a:pt x="91410" y="243111"/>
                </a:lnTo>
                <a:lnTo>
                  <a:pt x="90438" y="244084"/>
                </a:lnTo>
                <a:lnTo>
                  <a:pt x="92383" y="246029"/>
                </a:lnTo>
                <a:lnTo>
                  <a:pt x="93355" y="247974"/>
                </a:lnTo>
                <a:lnTo>
                  <a:pt x="92383" y="247001"/>
                </a:lnTo>
                <a:lnTo>
                  <a:pt x="88493" y="244084"/>
                </a:lnTo>
                <a:lnTo>
                  <a:pt x="89465" y="243111"/>
                </a:lnTo>
                <a:lnTo>
                  <a:pt x="87520" y="241167"/>
                </a:lnTo>
                <a:lnTo>
                  <a:pt x="85576" y="239221"/>
                </a:lnTo>
                <a:lnTo>
                  <a:pt x="85576" y="238249"/>
                </a:lnTo>
                <a:lnTo>
                  <a:pt x="83631" y="237277"/>
                </a:lnTo>
                <a:lnTo>
                  <a:pt x="82658" y="235332"/>
                </a:lnTo>
                <a:lnTo>
                  <a:pt x="82658" y="234360"/>
                </a:lnTo>
                <a:lnTo>
                  <a:pt x="82658" y="233387"/>
                </a:lnTo>
                <a:lnTo>
                  <a:pt x="80713" y="231442"/>
                </a:lnTo>
                <a:lnTo>
                  <a:pt x="84603" y="234359"/>
                </a:lnTo>
                <a:lnTo>
                  <a:pt x="82658" y="232415"/>
                </a:lnTo>
                <a:lnTo>
                  <a:pt x="81686" y="229497"/>
                </a:lnTo>
                <a:lnTo>
                  <a:pt x="76824" y="227552"/>
                </a:lnTo>
                <a:lnTo>
                  <a:pt x="75851" y="226580"/>
                </a:lnTo>
                <a:lnTo>
                  <a:pt x="74879" y="225607"/>
                </a:lnTo>
                <a:lnTo>
                  <a:pt x="74879" y="224635"/>
                </a:lnTo>
                <a:lnTo>
                  <a:pt x="73906" y="223663"/>
                </a:lnTo>
                <a:lnTo>
                  <a:pt x="76824" y="226580"/>
                </a:lnTo>
                <a:lnTo>
                  <a:pt x="76823" y="224635"/>
                </a:lnTo>
                <a:lnTo>
                  <a:pt x="73906" y="219773"/>
                </a:lnTo>
                <a:lnTo>
                  <a:pt x="70989" y="217828"/>
                </a:lnTo>
                <a:lnTo>
                  <a:pt x="70017" y="217827"/>
                </a:lnTo>
                <a:lnTo>
                  <a:pt x="69044" y="216855"/>
                </a:lnTo>
                <a:lnTo>
                  <a:pt x="69044" y="215882"/>
                </a:lnTo>
                <a:lnTo>
                  <a:pt x="70016" y="215883"/>
                </a:lnTo>
                <a:lnTo>
                  <a:pt x="69044" y="213938"/>
                </a:lnTo>
                <a:lnTo>
                  <a:pt x="68072" y="213938"/>
                </a:lnTo>
                <a:lnTo>
                  <a:pt x="68071" y="214911"/>
                </a:lnTo>
                <a:lnTo>
                  <a:pt x="67099" y="213938"/>
                </a:lnTo>
                <a:lnTo>
                  <a:pt x="63209" y="203241"/>
                </a:lnTo>
                <a:lnTo>
                  <a:pt x="67099" y="206158"/>
                </a:lnTo>
                <a:lnTo>
                  <a:pt x="65154" y="204214"/>
                </a:lnTo>
                <a:lnTo>
                  <a:pt x="67099" y="204213"/>
                </a:lnTo>
                <a:lnTo>
                  <a:pt x="67099" y="203241"/>
                </a:lnTo>
                <a:lnTo>
                  <a:pt x="67099" y="202269"/>
                </a:lnTo>
                <a:lnTo>
                  <a:pt x="68072" y="202269"/>
                </a:lnTo>
                <a:lnTo>
                  <a:pt x="66127" y="200324"/>
                </a:lnTo>
                <a:lnTo>
                  <a:pt x="64182" y="197406"/>
                </a:lnTo>
                <a:lnTo>
                  <a:pt x="64182" y="199351"/>
                </a:lnTo>
                <a:lnTo>
                  <a:pt x="63209" y="199351"/>
                </a:lnTo>
                <a:lnTo>
                  <a:pt x="61264" y="198379"/>
                </a:lnTo>
                <a:lnTo>
                  <a:pt x="58347" y="196434"/>
                </a:lnTo>
                <a:lnTo>
                  <a:pt x="57374" y="195461"/>
                </a:lnTo>
                <a:lnTo>
                  <a:pt x="56402" y="196434"/>
                </a:lnTo>
                <a:lnTo>
                  <a:pt x="54457" y="192544"/>
                </a:lnTo>
                <a:lnTo>
                  <a:pt x="54457" y="189627"/>
                </a:lnTo>
                <a:lnTo>
                  <a:pt x="54457" y="187682"/>
                </a:lnTo>
                <a:lnTo>
                  <a:pt x="51540" y="183792"/>
                </a:lnTo>
                <a:lnTo>
                  <a:pt x="51540" y="181847"/>
                </a:lnTo>
                <a:lnTo>
                  <a:pt x="51540" y="180875"/>
                </a:lnTo>
                <a:lnTo>
                  <a:pt x="50567" y="177958"/>
                </a:lnTo>
                <a:lnTo>
                  <a:pt x="48623" y="174067"/>
                </a:lnTo>
                <a:lnTo>
                  <a:pt x="46678" y="173095"/>
                </a:lnTo>
                <a:lnTo>
                  <a:pt x="46678" y="174068"/>
                </a:lnTo>
                <a:lnTo>
                  <a:pt x="46678" y="175040"/>
                </a:lnTo>
                <a:lnTo>
                  <a:pt x="47650" y="176013"/>
                </a:lnTo>
                <a:lnTo>
                  <a:pt x="46678" y="176012"/>
                </a:lnTo>
                <a:lnTo>
                  <a:pt x="43760" y="170178"/>
                </a:lnTo>
                <a:lnTo>
                  <a:pt x="42788" y="169206"/>
                </a:lnTo>
                <a:lnTo>
                  <a:pt x="41815" y="167261"/>
                </a:lnTo>
                <a:lnTo>
                  <a:pt x="42788" y="171150"/>
                </a:lnTo>
                <a:lnTo>
                  <a:pt x="41815" y="173095"/>
                </a:lnTo>
                <a:lnTo>
                  <a:pt x="39870" y="169205"/>
                </a:lnTo>
                <a:lnTo>
                  <a:pt x="40843" y="169205"/>
                </a:lnTo>
                <a:lnTo>
                  <a:pt x="38898" y="166288"/>
                </a:lnTo>
                <a:lnTo>
                  <a:pt x="37926" y="165315"/>
                </a:lnTo>
                <a:lnTo>
                  <a:pt x="36953" y="164343"/>
                </a:lnTo>
                <a:lnTo>
                  <a:pt x="35008" y="161426"/>
                </a:lnTo>
                <a:lnTo>
                  <a:pt x="35008" y="158508"/>
                </a:lnTo>
                <a:lnTo>
                  <a:pt x="36953" y="160453"/>
                </a:lnTo>
                <a:lnTo>
                  <a:pt x="37926" y="163371"/>
                </a:lnTo>
                <a:lnTo>
                  <a:pt x="39871" y="165316"/>
                </a:lnTo>
                <a:lnTo>
                  <a:pt x="40843" y="165316"/>
                </a:lnTo>
                <a:lnTo>
                  <a:pt x="37926" y="160453"/>
                </a:lnTo>
                <a:lnTo>
                  <a:pt x="36953" y="159157"/>
                </a:lnTo>
                <a:lnTo>
                  <a:pt x="36953" y="155591"/>
                </a:lnTo>
                <a:lnTo>
                  <a:pt x="35981" y="153647"/>
                </a:lnTo>
                <a:lnTo>
                  <a:pt x="35008" y="151701"/>
                </a:lnTo>
                <a:lnTo>
                  <a:pt x="36953" y="153646"/>
                </a:lnTo>
                <a:lnTo>
                  <a:pt x="35981" y="149756"/>
                </a:lnTo>
                <a:lnTo>
                  <a:pt x="35981" y="147811"/>
                </a:lnTo>
                <a:lnTo>
                  <a:pt x="36953" y="145867"/>
                </a:lnTo>
                <a:lnTo>
                  <a:pt x="35008" y="142949"/>
                </a:lnTo>
                <a:lnTo>
                  <a:pt x="34036" y="142949"/>
                </a:lnTo>
                <a:lnTo>
                  <a:pt x="34036" y="143921"/>
                </a:lnTo>
                <a:lnTo>
                  <a:pt x="33063" y="144894"/>
                </a:lnTo>
                <a:lnTo>
                  <a:pt x="29174" y="136142"/>
                </a:lnTo>
                <a:lnTo>
                  <a:pt x="25284" y="130307"/>
                </a:lnTo>
                <a:lnTo>
                  <a:pt x="25284" y="129335"/>
                </a:lnTo>
                <a:lnTo>
                  <a:pt x="26256" y="128362"/>
                </a:lnTo>
                <a:lnTo>
                  <a:pt x="28201" y="130307"/>
                </a:lnTo>
                <a:lnTo>
                  <a:pt x="23339" y="119611"/>
                </a:lnTo>
                <a:lnTo>
                  <a:pt x="19449" y="108913"/>
                </a:lnTo>
                <a:lnTo>
                  <a:pt x="19449" y="109886"/>
                </a:lnTo>
                <a:lnTo>
                  <a:pt x="18477" y="109886"/>
                </a:lnTo>
                <a:lnTo>
                  <a:pt x="17504" y="106969"/>
                </a:lnTo>
                <a:lnTo>
                  <a:pt x="16532" y="104052"/>
                </a:lnTo>
                <a:lnTo>
                  <a:pt x="16532" y="103079"/>
                </a:lnTo>
                <a:lnTo>
                  <a:pt x="17504" y="103079"/>
                </a:lnTo>
                <a:lnTo>
                  <a:pt x="16532" y="101134"/>
                </a:lnTo>
                <a:lnTo>
                  <a:pt x="17504" y="100161"/>
                </a:lnTo>
                <a:lnTo>
                  <a:pt x="17504" y="98217"/>
                </a:lnTo>
                <a:lnTo>
                  <a:pt x="13614" y="90438"/>
                </a:lnTo>
                <a:lnTo>
                  <a:pt x="10697" y="82658"/>
                </a:lnTo>
                <a:lnTo>
                  <a:pt x="9725" y="75850"/>
                </a:lnTo>
                <a:lnTo>
                  <a:pt x="7780" y="70016"/>
                </a:lnTo>
                <a:lnTo>
                  <a:pt x="4862" y="58346"/>
                </a:lnTo>
                <a:lnTo>
                  <a:pt x="4862" y="56402"/>
                </a:lnTo>
                <a:lnTo>
                  <a:pt x="5835" y="55429"/>
                </a:lnTo>
                <a:lnTo>
                  <a:pt x="6807" y="55429"/>
                </a:lnTo>
                <a:lnTo>
                  <a:pt x="6807" y="53484"/>
                </a:lnTo>
                <a:lnTo>
                  <a:pt x="5835" y="51539"/>
                </a:lnTo>
                <a:lnTo>
                  <a:pt x="5835" y="52511"/>
                </a:lnTo>
                <a:lnTo>
                  <a:pt x="4862" y="52512"/>
                </a:lnTo>
                <a:lnTo>
                  <a:pt x="4863" y="50566"/>
                </a:lnTo>
                <a:lnTo>
                  <a:pt x="4862" y="44732"/>
                </a:lnTo>
                <a:lnTo>
                  <a:pt x="3890" y="39870"/>
                </a:lnTo>
                <a:lnTo>
                  <a:pt x="2918" y="35980"/>
                </a:lnTo>
                <a:lnTo>
                  <a:pt x="3890" y="35980"/>
                </a:lnTo>
                <a:lnTo>
                  <a:pt x="4862" y="36952"/>
                </a:lnTo>
                <a:lnTo>
                  <a:pt x="4863" y="34035"/>
                </a:lnTo>
                <a:lnTo>
                  <a:pt x="3890" y="31118"/>
                </a:lnTo>
                <a:lnTo>
                  <a:pt x="2918" y="24311"/>
                </a:lnTo>
                <a:lnTo>
                  <a:pt x="1945" y="27228"/>
                </a:lnTo>
                <a:lnTo>
                  <a:pt x="973" y="22365"/>
                </a:lnTo>
                <a:lnTo>
                  <a:pt x="972" y="17504"/>
                </a:lnTo>
                <a:lnTo>
                  <a:pt x="0" y="8751"/>
                </a:lnTo>
                <a:lnTo>
                  <a:pt x="972" y="8751"/>
                </a:lnTo>
                <a:lnTo>
                  <a:pt x="973" y="4861"/>
                </a:lnTo>
                <a:lnTo>
                  <a:pt x="1884" y="3039"/>
                </a:lnTo>
                <a:close/>
                <a:moveTo>
                  <a:pt x="972" y="0"/>
                </a:moveTo>
                <a:lnTo>
                  <a:pt x="1945" y="2917"/>
                </a:lnTo>
                <a:lnTo>
                  <a:pt x="1884" y="3039"/>
                </a:lnTo>
                <a:lnTo>
                  <a:pt x="972" y="0"/>
                </a:lnTo>
                <a:close/>
              </a:path>
            </a:pathLst>
          </a:custGeom>
          <a:solidFill>
            <a:schemeClr val="accent1"/>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a:solidFill>
                <a:srgbClr val="000000"/>
              </a:solidFill>
              <a:latin typeface="Arial"/>
              <a:ea typeface="Arial"/>
              <a:cs typeface="Arial"/>
              <a:sym typeface="Arial"/>
            </a:endParaRPr>
          </a:p>
        </p:txBody>
      </p:sp>
      <p:sp>
        <p:nvSpPr>
          <p:cNvPr id="57" name="Google Shape;57;p23"/>
          <p:cNvSpPr/>
          <p:nvPr/>
        </p:nvSpPr>
        <p:spPr>
          <a:xfrm rot="9377604">
            <a:off x="3925889" y="3316288"/>
            <a:ext cx="1289050" cy="722312"/>
          </a:xfrm>
          <a:custGeom>
            <a:avLst/>
            <a:gdLst/>
            <a:ahLst/>
            <a:cxnLst/>
            <a:rect l="l" t="t" r="r" b="b"/>
            <a:pathLst>
              <a:path w="1288494" h="722529" extrusionOk="0">
                <a:moveTo>
                  <a:pt x="1884" y="3038"/>
                </a:moveTo>
                <a:lnTo>
                  <a:pt x="972" y="0"/>
                </a:lnTo>
                <a:lnTo>
                  <a:pt x="1944" y="2917"/>
                </a:lnTo>
                <a:lnTo>
                  <a:pt x="1884" y="3038"/>
                </a:lnTo>
                <a:close/>
                <a:moveTo>
                  <a:pt x="4861" y="18476"/>
                </a:moveTo>
                <a:lnTo>
                  <a:pt x="4667" y="18087"/>
                </a:lnTo>
                <a:lnTo>
                  <a:pt x="3889" y="14587"/>
                </a:lnTo>
                <a:lnTo>
                  <a:pt x="4861" y="15559"/>
                </a:lnTo>
                <a:lnTo>
                  <a:pt x="4861" y="18476"/>
                </a:lnTo>
                <a:close/>
                <a:moveTo>
                  <a:pt x="5834" y="23339"/>
                </a:moveTo>
                <a:lnTo>
                  <a:pt x="5658" y="22543"/>
                </a:lnTo>
                <a:lnTo>
                  <a:pt x="5834" y="22366"/>
                </a:lnTo>
                <a:lnTo>
                  <a:pt x="5834" y="23339"/>
                </a:lnTo>
                <a:close/>
                <a:moveTo>
                  <a:pt x="15559" y="110859"/>
                </a:moveTo>
                <a:lnTo>
                  <a:pt x="14586" y="108914"/>
                </a:lnTo>
                <a:lnTo>
                  <a:pt x="15559" y="108914"/>
                </a:lnTo>
                <a:lnTo>
                  <a:pt x="15558" y="106969"/>
                </a:lnTo>
                <a:lnTo>
                  <a:pt x="14586" y="105024"/>
                </a:lnTo>
                <a:lnTo>
                  <a:pt x="14586" y="103079"/>
                </a:lnTo>
                <a:lnTo>
                  <a:pt x="13614" y="101134"/>
                </a:lnTo>
                <a:lnTo>
                  <a:pt x="15558" y="104052"/>
                </a:lnTo>
                <a:lnTo>
                  <a:pt x="16531" y="104052"/>
                </a:lnTo>
                <a:lnTo>
                  <a:pt x="15558" y="105024"/>
                </a:lnTo>
                <a:lnTo>
                  <a:pt x="16531" y="109887"/>
                </a:lnTo>
                <a:lnTo>
                  <a:pt x="16531" y="110859"/>
                </a:lnTo>
                <a:lnTo>
                  <a:pt x="15559" y="110859"/>
                </a:lnTo>
                <a:close/>
                <a:moveTo>
                  <a:pt x="35007" y="151701"/>
                </a:moveTo>
                <a:lnTo>
                  <a:pt x="34035" y="149757"/>
                </a:lnTo>
                <a:lnTo>
                  <a:pt x="33063" y="148784"/>
                </a:lnTo>
                <a:lnTo>
                  <a:pt x="32090" y="149757"/>
                </a:lnTo>
                <a:lnTo>
                  <a:pt x="25283" y="137115"/>
                </a:lnTo>
                <a:lnTo>
                  <a:pt x="26256" y="137115"/>
                </a:lnTo>
                <a:lnTo>
                  <a:pt x="25283" y="136142"/>
                </a:lnTo>
                <a:lnTo>
                  <a:pt x="25283" y="133225"/>
                </a:lnTo>
                <a:lnTo>
                  <a:pt x="28201" y="141005"/>
                </a:lnTo>
                <a:lnTo>
                  <a:pt x="30146" y="144895"/>
                </a:lnTo>
                <a:lnTo>
                  <a:pt x="33063" y="147812"/>
                </a:lnTo>
                <a:lnTo>
                  <a:pt x="33063" y="146839"/>
                </a:lnTo>
                <a:lnTo>
                  <a:pt x="34035" y="148785"/>
                </a:lnTo>
                <a:lnTo>
                  <a:pt x="35007" y="151701"/>
                </a:lnTo>
                <a:close/>
                <a:moveTo>
                  <a:pt x="35007" y="151702"/>
                </a:moveTo>
                <a:lnTo>
                  <a:pt x="35007" y="151702"/>
                </a:lnTo>
                <a:lnTo>
                  <a:pt x="35007" y="151701"/>
                </a:lnTo>
                <a:lnTo>
                  <a:pt x="35007" y="151702"/>
                </a:lnTo>
                <a:close/>
                <a:moveTo>
                  <a:pt x="36953" y="159481"/>
                </a:moveTo>
                <a:lnTo>
                  <a:pt x="35007" y="156564"/>
                </a:lnTo>
                <a:lnTo>
                  <a:pt x="36953" y="159158"/>
                </a:lnTo>
                <a:lnTo>
                  <a:pt x="36953" y="159481"/>
                </a:lnTo>
                <a:close/>
                <a:moveTo>
                  <a:pt x="49595" y="184765"/>
                </a:moveTo>
                <a:lnTo>
                  <a:pt x="48622" y="183793"/>
                </a:lnTo>
                <a:lnTo>
                  <a:pt x="46677" y="182820"/>
                </a:lnTo>
                <a:lnTo>
                  <a:pt x="45705" y="179903"/>
                </a:lnTo>
                <a:lnTo>
                  <a:pt x="46677" y="179903"/>
                </a:lnTo>
                <a:lnTo>
                  <a:pt x="46677" y="178930"/>
                </a:lnTo>
                <a:lnTo>
                  <a:pt x="47649" y="177958"/>
                </a:lnTo>
                <a:lnTo>
                  <a:pt x="49594" y="178930"/>
                </a:lnTo>
                <a:lnTo>
                  <a:pt x="49595" y="180875"/>
                </a:lnTo>
                <a:lnTo>
                  <a:pt x="51539" y="183792"/>
                </a:lnTo>
                <a:lnTo>
                  <a:pt x="50567" y="184765"/>
                </a:lnTo>
                <a:lnTo>
                  <a:pt x="49595" y="184765"/>
                </a:lnTo>
                <a:close/>
                <a:moveTo>
                  <a:pt x="70988" y="218801"/>
                </a:moveTo>
                <a:lnTo>
                  <a:pt x="70016" y="217828"/>
                </a:lnTo>
                <a:lnTo>
                  <a:pt x="70988" y="218801"/>
                </a:lnTo>
                <a:close/>
                <a:moveTo>
                  <a:pt x="978282" y="620422"/>
                </a:moveTo>
                <a:lnTo>
                  <a:pt x="979254" y="620422"/>
                </a:lnTo>
                <a:lnTo>
                  <a:pt x="979164" y="620513"/>
                </a:lnTo>
                <a:lnTo>
                  <a:pt x="978282" y="620422"/>
                </a:lnTo>
                <a:close/>
                <a:moveTo>
                  <a:pt x="94327" y="249919"/>
                </a:moveTo>
                <a:lnTo>
                  <a:pt x="93354" y="247974"/>
                </a:lnTo>
                <a:lnTo>
                  <a:pt x="94327" y="248946"/>
                </a:lnTo>
                <a:lnTo>
                  <a:pt x="94327" y="249919"/>
                </a:lnTo>
                <a:close/>
                <a:moveTo>
                  <a:pt x="1137764" y="721557"/>
                </a:moveTo>
                <a:lnTo>
                  <a:pt x="1129985" y="714750"/>
                </a:lnTo>
                <a:lnTo>
                  <a:pt x="1137764" y="708915"/>
                </a:lnTo>
                <a:lnTo>
                  <a:pt x="1146516" y="703081"/>
                </a:lnTo>
                <a:lnTo>
                  <a:pt x="1156241" y="696273"/>
                </a:lnTo>
                <a:lnTo>
                  <a:pt x="1168883" y="690439"/>
                </a:lnTo>
                <a:lnTo>
                  <a:pt x="1209725" y="669045"/>
                </a:lnTo>
                <a:lnTo>
                  <a:pt x="1220422" y="662238"/>
                </a:lnTo>
                <a:lnTo>
                  <a:pt x="1229175" y="655431"/>
                </a:lnTo>
                <a:lnTo>
                  <a:pt x="1237927" y="647651"/>
                </a:lnTo>
                <a:lnTo>
                  <a:pt x="1243761" y="639872"/>
                </a:lnTo>
                <a:lnTo>
                  <a:pt x="1243761" y="639871"/>
                </a:lnTo>
                <a:lnTo>
                  <a:pt x="1245706" y="638899"/>
                </a:lnTo>
                <a:lnTo>
                  <a:pt x="1243275" y="638899"/>
                </a:lnTo>
                <a:lnTo>
                  <a:pt x="1242789" y="637927"/>
                </a:lnTo>
                <a:lnTo>
                  <a:pt x="1240844" y="635982"/>
                </a:lnTo>
                <a:lnTo>
                  <a:pt x="1237926" y="634037"/>
                </a:lnTo>
                <a:lnTo>
                  <a:pt x="1226257" y="630147"/>
                </a:lnTo>
                <a:lnTo>
                  <a:pt x="1207781" y="625285"/>
                </a:lnTo>
                <a:lnTo>
                  <a:pt x="1182497" y="620423"/>
                </a:lnTo>
                <a:lnTo>
                  <a:pt x="1113453" y="607781"/>
                </a:lnTo>
                <a:lnTo>
                  <a:pt x="1074555" y="600001"/>
                </a:lnTo>
                <a:lnTo>
                  <a:pt x="1060941" y="596111"/>
                </a:lnTo>
                <a:lnTo>
                  <a:pt x="1048299" y="592222"/>
                </a:lnTo>
                <a:lnTo>
                  <a:pt x="1036630" y="587359"/>
                </a:lnTo>
                <a:lnTo>
                  <a:pt x="1027878" y="583470"/>
                </a:lnTo>
                <a:lnTo>
                  <a:pt x="1020098" y="579580"/>
                </a:lnTo>
                <a:lnTo>
                  <a:pt x="1014263" y="574718"/>
                </a:lnTo>
                <a:lnTo>
                  <a:pt x="1009401" y="569855"/>
                </a:lnTo>
                <a:lnTo>
                  <a:pt x="1006484" y="564993"/>
                </a:lnTo>
                <a:lnTo>
                  <a:pt x="1002594" y="554296"/>
                </a:lnTo>
                <a:lnTo>
                  <a:pt x="1030795" y="566938"/>
                </a:lnTo>
                <a:lnTo>
                  <a:pt x="1058996" y="577635"/>
                </a:lnTo>
                <a:lnTo>
                  <a:pt x="1087197" y="587360"/>
                </a:lnTo>
                <a:lnTo>
                  <a:pt x="1116370" y="596112"/>
                </a:lnTo>
                <a:lnTo>
                  <a:pt x="1145544" y="602918"/>
                </a:lnTo>
                <a:lnTo>
                  <a:pt x="1174717" y="609726"/>
                </a:lnTo>
                <a:lnTo>
                  <a:pt x="1204863" y="614588"/>
                </a:lnTo>
                <a:lnTo>
                  <a:pt x="1234037" y="618478"/>
                </a:lnTo>
                <a:lnTo>
                  <a:pt x="1248623" y="618478"/>
                </a:lnTo>
                <a:lnTo>
                  <a:pt x="1260293" y="619450"/>
                </a:lnTo>
                <a:lnTo>
                  <a:pt x="1270017" y="620422"/>
                </a:lnTo>
                <a:lnTo>
                  <a:pt x="1277797" y="622368"/>
                </a:lnTo>
                <a:lnTo>
                  <a:pt x="1283632" y="625285"/>
                </a:lnTo>
                <a:lnTo>
                  <a:pt x="1285577" y="628202"/>
                </a:lnTo>
                <a:lnTo>
                  <a:pt x="1287521" y="630147"/>
                </a:lnTo>
                <a:lnTo>
                  <a:pt x="1288494" y="634037"/>
                </a:lnTo>
                <a:lnTo>
                  <a:pt x="1287522" y="637927"/>
                </a:lnTo>
                <a:lnTo>
                  <a:pt x="1285577" y="642789"/>
                </a:lnTo>
                <a:lnTo>
                  <a:pt x="1282659" y="646679"/>
                </a:lnTo>
                <a:lnTo>
                  <a:pt x="1277797" y="650569"/>
                </a:lnTo>
                <a:lnTo>
                  <a:pt x="1271962" y="654458"/>
                </a:lnTo>
                <a:lnTo>
                  <a:pt x="1264183" y="658348"/>
                </a:lnTo>
                <a:lnTo>
                  <a:pt x="1255431" y="662238"/>
                </a:lnTo>
                <a:lnTo>
                  <a:pt x="1235982" y="670017"/>
                </a:lnTo>
                <a:lnTo>
                  <a:pt x="1215560" y="676825"/>
                </a:lnTo>
                <a:lnTo>
                  <a:pt x="1207781" y="680714"/>
                </a:lnTo>
                <a:lnTo>
                  <a:pt x="1199029" y="685576"/>
                </a:lnTo>
                <a:lnTo>
                  <a:pt x="1179580" y="698218"/>
                </a:lnTo>
                <a:lnTo>
                  <a:pt x="1146516" y="722529"/>
                </a:lnTo>
                <a:lnTo>
                  <a:pt x="1140682" y="722529"/>
                </a:lnTo>
                <a:lnTo>
                  <a:pt x="1137764" y="721557"/>
                </a:lnTo>
                <a:close/>
                <a:moveTo>
                  <a:pt x="909238" y="622367"/>
                </a:moveTo>
                <a:lnTo>
                  <a:pt x="909238" y="622367"/>
                </a:lnTo>
                <a:lnTo>
                  <a:pt x="909463" y="622367"/>
                </a:lnTo>
                <a:lnTo>
                  <a:pt x="909238" y="622367"/>
                </a:lnTo>
                <a:close/>
                <a:moveTo>
                  <a:pt x="908266" y="623340"/>
                </a:moveTo>
                <a:lnTo>
                  <a:pt x="908266" y="622367"/>
                </a:lnTo>
                <a:lnTo>
                  <a:pt x="909238" y="622367"/>
                </a:lnTo>
                <a:lnTo>
                  <a:pt x="908266" y="623340"/>
                </a:lnTo>
                <a:close/>
                <a:moveTo>
                  <a:pt x="141977" y="301459"/>
                </a:moveTo>
                <a:lnTo>
                  <a:pt x="141977" y="301459"/>
                </a:lnTo>
                <a:close/>
                <a:moveTo>
                  <a:pt x="142949" y="302431"/>
                </a:moveTo>
                <a:lnTo>
                  <a:pt x="141977" y="301459"/>
                </a:lnTo>
                <a:lnTo>
                  <a:pt x="142949" y="301459"/>
                </a:lnTo>
                <a:lnTo>
                  <a:pt x="142949" y="302431"/>
                </a:lnTo>
                <a:close/>
                <a:moveTo>
                  <a:pt x="244084" y="368557"/>
                </a:moveTo>
                <a:lnTo>
                  <a:pt x="241795" y="366956"/>
                </a:lnTo>
                <a:lnTo>
                  <a:pt x="242139" y="366613"/>
                </a:lnTo>
                <a:lnTo>
                  <a:pt x="244084" y="368557"/>
                </a:lnTo>
                <a:close/>
                <a:moveTo>
                  <a:pt x="641815" y="565965"/>
                </a:moveTo>
                <a:lnTo>
                  <a:pt x="641815" y="565965"/>
                </a:lnTo>
                <a:lnTo>
                  <a:pt x="644732" y="565965"/>
                </a:lnTo>
                <a:lnTo>
                  <a:pt x="642787" y="565965"/>
                </a:lnTo>
                <a:lnTo>
                  <a:pt x="641815" y="565965"/>
                </a:lnTo>
                <a:close/>
                <a:moveTo>
                  <a:pt x="458992" y="489140"/>
                </a:moveTo>
                <a:lnTo>
                  <a:pt x="457050" y="488169"/>
                </a:lnTo>
                <a:lnTo>
                  <a:pt x="458995" y="489141"/>
                </a:lnTo>
                <a:lnTo>
                  <a:pt x="458992" y="489140"/>
                </a:lnTo>
                <a:close/>
                <a:moveTo>
                  <a:pt x="333549" y="441491"/>
                </a:moveTo>
                <a:lnTo>
                  <a:pt x="331604" y="439546"/>
                </a:lnTo>
                <a:lnTo>
                  <a:pt x="334521" y="440519"/>
                </a:lnTo>
                <a:lnTo>
                  <a:pt x="334521" y="441491"/>
                </a:lnTo>
                <a:lnTo>
                  <a:pt x="333549" y="441491"/>
                </a:lnTo>
                <a:close/>
                <a:moveTo>
                  <a:pt x="339384" y="444409"/>
                </a:moveTo>
                <a:lnTo>
                  <a:pt x="337439" y="442464"/>
                </a:lnTo>
                <a:lnTo>
                  <a:pt x="338411" y="443436"/>
                </a:lnTo>
                <a:lnTo>
                  <a:pt x="340356" y="444408"/>
                </a:lnTo>
                <a:lnTo>
                  <a:pt x="339384" y="444409"/>
                </a:lnTo>
                <a:close/>
                <a:moveTo>
                  <a:pt x="448298" y="498866"/>
                </a:moveTo>
                <a:lnTo>
                  <a:pt x="445381" y="495948"/>
                </a:lnTo>
                <a:lnTo>
                  <a:pt x="448298" y="496921"/>
                </a:lnTo>
                <a:lnTo>
                  <a:pt x="449271" y="496921"/>
                </a:lnTo>
                <a:lnTo>
                  <a:pt x="448298" y="495948"/>
                </a:lnTo>
                <a:lnTo>
                  <a:pt x="445381" y="494003"/>
                </a:lnTo>
                <a:lnTo>
                  <a:pt x="442463" y="493031"/>
                </a:lnTo>
                <a:lnTo>
                  <a:pt x="439546" y="492059"/>
                </a:lnTo>
                <a:lnTo>
                  <a:pt x="435656" y="491086"/>
                </a:lnTo>
                <a:lnTo>
                  <a:pt x="436629" y="493031"/>
                </a:lnTo>
                <a:lnTo>
                  <a:pt x="433711" y="491086"/>
                </a:lnTo>
                <a:lnTo>
                  <a:pt x="431766" y="490113"/>
                </a:lnTo>
                <a:lnTo>
                  <a:pt x="428849" y="490114"/>
                </a:lnTo>
                <a:lnTo>
                  <a:pt x="428849" y="489141"/>
                </a:lnTo>
                <a:lnTo>
                  <a:pt x="424959" y="487196"/>
                </a:lnTo>
                <a:lnTo>
                  <a:pt x="423014" y="486224"/>
                </a:lnTo>
                <a:lnTo>
                  <a:pt x="422042" y="487196"/>
                </a:lnTo>
                <a:lnTo>
                  <a:pt x="415235" y="483306"/>
                </a:lnTo>
                <a:lnTo>
                  <a:pt x="407455" y="479417"/>
                </a:lnTo>
                <a:lnTo>
                  <a:pt x="400648" y="475527"/>
                </a:lnTo>
                <a:lnTo>
                  <a:pt x="397730" y="473582"/>
                </a:lnTo>
                <a:lnTo>
                  <a:pt x="395786" y="471637"/>
                </a:lnTo>
                <a:lnTo>
                  <a:pt x="392869" y="470665"/>
                </a:lnTo>
                <a:lnTo>
                  <a:pt x="391896" y="470664"/>
                </a:lnTo>
                <a:lnTo>
                  <a:pt x="392868" y="471637"/>
                </a:lnTo>
                <a:lnTo>
                  <a:pt x="393841" y="471637"/>
                </a:lnTo>
                <a:lnTo>
                  <a:pt x="395786" y="472610"/>
                </a:lnTo>
                <a:lnTo>
                  <a:pt x="393841" y="472610"/>
                </a:lnTo>
                <a:lnTo>
                  <a:pt x="390924" y="470665"/>
                </a:lnTo>
                <a:lnTo>
                  <a:pt x="390924" y="469692"/>
                </a:lnTo>
                <a:lnTo>
                  <a:pt x="391896" y="469692"/>
                </a:lnTo>
                <a:lnTo>
                  <a:pt x="388006" y="467747"/>
                </a:lnTo>
                <a:lnTo>
                  <a:pt x="385089" y="466775"/>
                </a:lnTo>
                <a:lnTo>
                  <a:pt x="381199" y="466775"/>
                </a:lnTo>
                <a:lnTo>
                  <a:pt x="377309" y="463857"/>
                </a:lnTo>
                <a:lnTo>
                  <a:pt x="374392" y="461913"/>
                </a:lnTo>
                <a:lnTo>
                  <a:pt x="369530" y="460940"/>
                </a:lnTo>
                <a:lnTo>
                  <a:pt x="367585" y="458995"/>
                </a:lnTo>
                <a:lnTo>
                  <a:pt x="366613" y="458995"/>
                </a:lnTo>
                <a:lnTo>
                  <a:pt x="367585" y="457050"/>
                </a:lnTo>
                <a:lnTo>
                  <a:pt x="363695" y="455105"/>
                </a:lnTo>
                <a:lnTo>
                  <a:pt x="360777" y="454133"/>
                </a:lnTo>
                <a:lnTo>
                  <a:pt x="357860" y="451216"/>
                </a:lnTo>
                <a:lnTo>
                  <a:pt x="357860" y="452188"/>
                </a:lnTo>
                <a:lnTo>
                  <a:pt x="356887" y="451216"/>
                </a:lnTo>
                <a:lnTo>
                  <a:pt x="353970" y="450243"/>
                </a:lnTo>
                <a:lnTo>
                  <a:pt x="354943" y="450243"/>
                </a:lnTo>
                <a:lnTo>
                  <a:pt x="352998" y="449271"/>
                </a:lnTo>
                <a:lnTo>
                  <a:pt x="350081" y="447326"/>
                </a:lnTo>
                <a:lnTo>
                  <a:pt x="352026" y="449271"/>
                </a:lnTo>
                <a:lnTo>
                  <a:pt x="354943" y="451216"/>
                </a:lnTo>
                <a:lnTo>
                  <a:pt x="349108" y="449271"/>
                </a:lnTo>
                <a:lnTo>
                  <a:pt x="347164" y="447326"/>
                </a:lnTo>
                <a:lnTo>
                  <a:pt x="343274" y="445381"/>
                </a:lnTo>
                <a:lnTo>
                  <a:pt x="340356" y="444408"/>
                </a:lnTo>
                <a:lnTo>
                  <a:pt x="339384" y="442464"/>
                </a:lnTo>
                <a:lnTo>
                  <a:pt x="336467" y="440519"/>
                </a:lnTo>
                <a:lnTo>
                  <a:pt x="334521" y="440519"/>
                </a:lnTo>
                <a:lnTo>
                  <a:pt x="330632" y="437601"/>
                </a:lnTo>
                <a:lnTo>
                  <a:pt x="329659" y="437601"/>
                </a:lnTo>
                <a:lnTo>
                  <a:pt x="327715" y="436629"/>
                </a:lnTo>
                <a:lnTo>
                  <a:pt x="324797" y="435657"/>
                </a:lnTo>
                <a:lnTo>
                  <a:pt x="322852" y="434684"/>
                </a:lnTo>
                <a:lnTo>
                  <a:pt x="320907" y="434684"/>
                </a:lnTo>
                <a:lnTo>
                  <a:pt x="314100" y="429822"/>
                </a:lnTo>
                <a:lnTo>
                  <a:pt x="315072" y="429822"/>
                </a:lnTo>
                <a:lnTo>
                  <a:pt x="311183" y="426904"/>
                </a:lnTo>
                <a:lnTo>
                  <a:pt x="306320" y="424960"/>
                </a:lnTo>
                <a:lnTo>
                  <a:pt x="307293" y="424960"/>
                </a:lnTo>
                <a:lnTo>
                  <a:pt x="303403" y="423015"/>
                </a:lnTo>
                <a:lnTo>
                  <a:pt x="300486" y="421070"/>
                </a:lnTo>
                <a:lnTo>
                  <a:pt x="298541" y="420097"/>
                </a:lnTo>
                <a:lnTo>
                  <a:pt x="298541" y="418152"/>
                </a:lnTo>
                <a:lnTo>
                  <a:pt x="298541" y="417180"/>
                </a:lnTo>
                <a:lnTo>
                  <a:pt x="296596" y="416208"/>
                </a:lnTo>
                <a:lnTo>
                  <a:pt x="293678" y="415235"/>
                </a:lnTo>
                <a:lnTo>
                  <a:pt x="291734" y="414263"/>
                </a:lnTo>
                <a:lnTo>
                  <a:pt x="290761" y="415235"/>
                </a:lnTo>
                <a:lnTo>
                  <a:pt x="290761" y="416208"/>
                </a:lnTo>
                <a:lnTo>
                  <a:pt x="281037" y="409401"/>
                </a:lnTo>
                <a:lnTo>
                  <a:pt x="276175" y="406483"/>
                </a:lnTo>
                <a:lnTo>
                  <a:pt x="271312" y="402593"/>
                </a:lnTo>
                <a:lnTo>
                  <a:pt x="270340" y="402593"/>
                </a:lnTo>
                <a:lnTo>
                  <a:pt x="269368" y="401621"/>
                </a:lnTo>
                <a:lnTo>
                  <a:pt x="254781" y="392869"/>
                </a:lnTo>
                <a:lnTo>
                  <a:pt x="247973" y="388007"/>
                </a:lnTo>
                <a:lnTo>
                  <a:pt x="243112" y="383144"/>
                </a:lnTo>
                <a:lnTo>
                  <a:pt x="244084" y="384117"/>
                </a:lnTo>
                <a:lnTo>
                  <a:pt x="244083" y="383144"/>
                </a:lnTo>
                <a:lnTo>
                  <a:pt x="244083" y="382172"/>
                </a:lnTo>
                <a:lnTo>
                  <a:pt x="242139" y="381200"/>
                </a:lnTo>
                <a:lnTo>
                  <a:pt x="241166" y="380227"/>
                </a:lnTo>
                <a:lnTo>
                  <a:pt x="240194" y="380227"/>
                </a:lnTo>
                <a:lnTo>
                  <a:pt x="240194" y="381199"/>
                </a:lnTo>
                <a:lnTo>
                  <a:pt x="241166" y="383144"/>
                </a:lnTo>
                <a:lnTo>
                  <a:pt x="232414" y="376337"/>
                </a:lnTo>
                <a:lnTo>
                  <a:pt x="225607" y="370502"/>
                </a:lnTo>
                <a:lnTo>
                  <a:pt x="225607" y="371475"/>
                </a:lnTo>
                <a:lnTo>
                  <a:pt x="223663" y="370503"/>
                </a:lnTo>
                <a:lnTo>
                  <a:pt x="223663" y="369530"/>
                </a:lnTo>
                <a:lnTo>
                  <a:pt x="222690" y="368558"/>
                </a:lnTo>
                <a:lnTo>
                  <a:pt x="217827" y="364668"/>
                </a:lnTo>
                <a:lnTo>
                  <a:pt x="216856" y="365640"/>
                </a:lnTo>
                <a:lnTo>
                  <a:pt x="215883" y="363696"/>
                </a:lnTo>
                <a:lnTo>
                  <a:pt x="213938" y="362723"/>
                </a:lnTo>
                <a:lnTo>
                  <a:pt x="212965" y="362723"/>
                </a:lnTo>
                <a:lnTo>
                  <a:pt x="211021" y="360778"/>
                </a:lnTo>
                <a:lnTo>
                  <a:pt x="211021" y="359806"/>
                </a:lnTo>
                <a:lnTo>
                  <a:pt x="205186" y="356888"/>
                </a:lnTo>
                <a:lnTo>
                  <a:pt x="199351" y="352026"/>
                </a:lnTo>
                <a:lnTo>
                  <a:pt x="198379" y="349109"/>
                </a:lnTo>
                <a:lnTo>
                  <a:pt x="195461" y="348136"/>
                </a:lnTo>
                <a:lnTo>
                  <a:pt x="195461" y="349109"/>
                </a:lnTo>
                <a:lnTo>
                  <a:pt x="189627" y="342302"/>
                </a:lnTo>
                <a:lnTo>
                  <a:pt x="186709" y="338412"/>
                </a:lnTo>
                <a:lnTo>
                  <a:pt x="177957" y="333550"/>
                </a:lnTo>
                <a:lnTo>
                  <a:pt x="169205" y="326742"/>
                </a:lnTo>
                <a:lnTo>
                  <a:pt x="151701" y="311183"/>
                </a:lnTo>
                <a:lnTo>
                  <a:pt x="152674" y="311183"/>
                </a:lnTo>
                <a:lnTo>
                  <a:pt x="150729" y="309238"/>
                </a:lnTo>
                <a:lnTo>
                  <a:pt x="149757" y="309238"/>
                </a:lnTo>
                <a:lnTo>
                  <a:pt x="148784" y="308266"/>
                </a:lnTo>
                <a:lnTo>
                  <a:pt x="148784" y="307293"/>
                </a:lnTo>
                <a:lnTo>
                  <a:pt x="148784" y="306321"/>
                </a:lnTo>
                <a:lnTo>
                  <a:pt x="150729" y="306321"/>
                </a:lnTo>
                <a:lnTo>
                  <a:pt x="147812" y="304376"/>
                </a:lnTo>
                <a:lnTo>
                  <a:pt x="145867" y="302431"/>
                </a:lnTo>
                <a:lnTo>
                  <a:pt x="141977" y="300486"/>
                </a:lnTo>
                <a:lnTo>
                  <a:pt x="141977" y="301459"/>
                </a:lnTo>
                <a:lnTo>
                  <a:pt x="140032" y="299514"/>
                </a:lnTo>
                <a:lnTo>
                  <a:pt x="138087" y="297569"/>
                </a:lnTo>
                <a:lnTo>
                  <a:pt x="136142" y="296596"/>
                </a:lnTo>
                <a:lnTo>
                  <a:pt x="136142" y="295624"/>
                </a:lnTo>
                <a:lnTo>
                  <a:pt x="137114" y="295624"/>
                </a:lnTo>
                <a:lnTo>
                  <a:pt x="138087" y="295624"/>
                </a:lnTo>
                <a:lnTo>
                  <a:pt x="135170" y="293679"/>
                </a:lnTo>
                <a:lnTo>
                  <a:pt x="135170" y="292707"/>
                </a:lnTo>
                <a:lnTo>
                  <a:pt x="136142" y="292707"/>
                </a:lnTo>
                <a:lnTo>
                  <a:pt x="139060" y="293679"/>
                </a:lnTo>
                <a:lnTo>
                  <a:pt x="141977" y="294652"/>
                </a:lnTo>
                <a:lnTo>
                  <a:pt x="141977" y="293679"/>
                </a:lnTo>
                <a:lnTo>
                  <a:pt x="140032" y="291734"/>
                </a:lnTo>
                <a:lnTo>
                  <a:pt x="140032" y="290762"/>
                </a:lnTo>
                <a:lnTo>
                  <a:pt x="141004" y="290762"/>
                </a:lnTo>
                <a:lnTo>
                  <a:pt x="141977" y="291734"/>
                </a:lnTo>
                <a:lnTo>
                  <a:pt x="143922" y="292707"/>
                </a:lnTo>
                <a:lnTo>
                  <a:pt x="141977" y="290762"/>
                </a:lnTo>
                <a:lnTo>
                  <a:pt x="138087" y="288817"/>
                </a:lnTo>
                <a:lnTo>
                  <a:pt x="137114" y="288817"/>
                </a:lnTo>
                <a:lnTo>
                  <a:pt x="137114" y="290762"/>
                </a:lnTo>
                <a:lnTo>
                  <a:pt x="134197" y="287844"/>
                </a:lnTo>
                <a:lnTo>
                  <a:pt x="132253" y="287845"/>
                </a:lnTo>
                <a:lnTo>
                  <a:pt x="131280" y="287358"/>
                </a:lnTo>
                <a:lnTo>
                  <a:pt x="130307" y="286872"/>
                </a:lnTo>
                <a:lnTo>
                  <a:pt x="127390" y="284927"/>
                </a:lnTo>
                <a:lnTo>
                  <a:pt x="127390" y="283955"/>
                </a:lnTo>
                <a:lnTo>
                  <a:pt x="128363" y="284927"/>
                </a:lnTo>
                <a:lnTo>
                  <a:pt x="129335" y="285899"/>
                </a:lnTo>
                <a:lnTo>
                  <a:pt x="131280" y="286872"/>
                </a:lnTo>
                <a:lnTo>
                  <a:pt x="130307" y="284927"/>
                </a:lnTo>
                <a:lnTo>
                  <a:pt x="128363" y="282982"/>
                </a:lnTo>
                <a:lnTo>
                  <a:pt x="124473" y="280065"/>
                </a:lnTo>
                <a:lnTo>
                  <a:pt x="125445" y="281037"/>
                </a:lnTo>
                <a:lnTo>
                  <a:pt x="124473" y="282010"/>
                </a:lnTo>
                <a:lnTo>
                  <a:pt x="121555" y="280065"/>
                </a:lnTo>
                <a:lnTo>
                  <a:pt x="121555" y="279092"/>
                </a:lnTo>
                <a:lnTo>
                  <a:pt x="122528" y="279092"/>
                </a:lnTo>
                <a:lnTo>
                  <a:pt x="120583" y="277148"/>
                </a:lnTo>
                <a:lnTo>
                  <a:pt x="117666" y="276175"/>
                </a:lnTo>
                <a:lnTo>
                  <a:pt x="118638" y="277147"/>
                </a:lnTo>
                <a:lnTo>
                  <a:pt x="116693" y="276175"/>
                </a:lnTo>
                <a:lnTo>
                  <a:pt x="114748" y="275203"/>
                </a:lnTo>
                <a:lnTo>
                  <a:pt x="113776" y="273258"/>
                </a:lnTo>
                <a:lnTo>
                  <a:pt x="111831" y="271313"/>
                </a:lnTo>
                <a:lnTo>
                  <a:pt x="112804" y="270340"/>
                </a:lnTo>
                <a:lnTo>
                  <a:pt x="114748" y="271313"/>
                </a:lnTo>
                <a:lnTo>
                  <a:pt x="115721" y="271313"/>
                </a:lnTo>
                <a:lnTo>
                  <a:pt x="114748" y="268395"/>
                </a:lnTo>
                <a:lnTo>
                  <a:pt x="113776" y="268396"/>
                </a:lnTo>
                <a:lnTo>
                  <a:pt x="110858" y="267423"/>
                </a:lnTo>
                <a:lnTo>
                  <a:pt x="109886" y="266450"/>
                </a:lnTo>
                <a:lnTo>
                  <a:pt x="108914" y="266450"/>
                </a:lnTo>
                <a:lnTo>
                  <a:pt x="108914" y="267423"/>
                </a:lnTo>
                <a:lnTo>
                  <a:pt x="108914" y="265478"/>
                </a:lnTo>
                <a:lnTo>
                  <a:pt x="109886" y="265478"/>
                </a:lnTo>
                <a:lnTo>
                  <a:pt x="107941" y="263533"/>
                </a:lnTo>
                <a:lnTo>
                  <a:pt x="105997" y="261588"/>
                </a:lnTo>
                <a:lnTo>
                  <a:pt x="104051" y="260616"/>
                </a:lnTo>
                <a:lnTo>
                  <a:pt x="104051" y="258671"/>
                </a:lnTo>
                <a:lnTo>
                  <a:pt x="102107" y="258671"/>
                </a:lnTo>
                <a:lnTo>
                  <a:pt x="101134" y="254781"/>
                </a:lnTo>
                <a:lnTo>
                  <a:pt x="96272" y="250891"/>
                </a:lnTo>
                <a:lnTo>
                  <a:pt x="95299" y="248946"/>
                </a:lnTo>
                <a:lnTo>
                  <a:pt x="94327" y="247974"/>
                </a:lnTo>
                <a:lnTo>
                  <a:pt x="95299" y="247002"/>
                </a:lnTo>
                <a:lnTo>
                  <a:pt x="92382" y="244084"/>
                </a:lnTo>
                <a:lnTo>
                  <a:pt x="91409" y="243112"/>
                </a:lnTo>
                <a:lnTo>
                  <a:pt x="90437" y="244084"/>
                </a:lnTo>
                <a:lnTo>
                  <a:pt x="92382" y="246029"/>
                </a:lnTo>
                <a:lnTo>
                  <a:pt x="93354" y="247974"/>
                </a:lnTo>
                <a:lnTo>
                  <a:pt x="92382" y="247002"/>
                </a:lnTo>
                <a:lnTo>
                  <a:pt x="88492" y="244084"/>
                </a:lnTo>
                <a:lnTo>
                  <a:pt x="89465" y="243112"/>
                </a:lnTo>
                <a:lnTo>
                  <a:pt x="87520" y="241167"/>
                </a:lnTo>
                <a:lnTo>
                  <a:pt x="85575" y="239222"/>
                </a:lnTo>
                <a:lnTo>
                  <a:pt x="85575" y="238250"/>
                </a:lnTo>
                <a:lnTo>
                  <a:pt x="83630" y="237277"/>
                </a:lnTo>
                <a:lnTo>
                  <a:pt x="82657" y="235332"/>
                </a:lnTo>
                <a:lnTo>
                  <a:pt x="82657" y="234360"/>
                </a:lnTo>
                <a:lnTo>
                  <a:pt x="82657" y="233387"/>
                </a:lnTo>
                <a:lnTo>
                  <a:pt x="80713" y="231442"/>
                </a:lnTo>
                <a:lnTo>
                  <a:pt x="84602" y="234360"/>
                </a:lnTo>
                <a:lnTo>
                  <a:pt x="82657" y="232415"/>
                </a:lnTo>
                <a:lnTo>
                  <a:pt x="81685" y="229498"/>
                </a:lnTo>
                <a:lnTo>
                  <a:pt x="76823" y="227553"/>
                </a:lnTo>
                <a:lnTo>
                  <a:pt x="75850" y="226580"/>
                </a:lnTo>
                <a:lnTo>
                  <a:pt x="74878" y="225608"/>
                </a:lnTo>
                <a:lnTo>
                  <a:pt x="74878" y="224635"/>
                </a:lnTo>
                <a:lnTo>
                  <a:pt x="73906" y="223663"/>
                </a:lnTo>
                <a:lnTo>
                  <a:pt x="76823" y="226580"/>
                </a:lnTo>
                <a:lnTo>
                  <a:pt x="76823" y="224635"/>
                </a:lnTo>
                <a:lnTo>
                  <a:pt x="73905" y="219773"/>
                </a:lnTo>
                <a:lnTo>
                  <a:pt x="70988" y="217828"/>
                </a:lnTo>
                <a:lnTo>
                  <a:pt x="70016" y="217828"/>
                </a:lnTo>
                <a:lnTo>
                  <a:pt x="69043" y="216856"/>
                </a:lnTo>
                <a:lnTo>
                  <a:pt x="69043" y="215883"/>
                </a:lnTo>
                <a:lnTo>
                  <a:pt x="70016" y="215883"/>
                </a:lnTo>
                <a:lnTo>
                  <a:pt x="69043" y="213938"/>
                </a:lnTo>
                <a:lnTo>
                  <a:pt x="68071" y="213938"/>
                </a:lnTo>
                <a:lnTo>
                  <a:pt x="68071" y="214911"/>
                </a:lnTo>
                <a:lnTo>
                  <a:pt x="67098" y="213938"/>
                </a:lnTo>
                <a:lnTo>
                  <a:pt x="63208" y="203242"/>
                </a:lnTo>
                <a:lnTo>
                  <a:pt x="67098" y="206159"/>
                </a:lnTo>
                <a:lnTo>
                  <a:pt x="65154" y="204214"/>
                </a:lnTo>
                <a:lnTo>
                  <a:pt x="67098" y="204214"/>
                </a:lnTo>
                <a:lnTo>
                  <a:pt x="67098" y="203242"/>
                </a:lnTo>
                <a:lnTo>
                  <a:pt x="67098" y="202269"/>
                </a:lnTo>
                <a:lnTo>
                  <a:pt x="68070" y="202269"/>
                </a:lnTo>
                <a:lnTo>
                  <a:pt x="66126" y="200324"/>
                </a:lnTo>
                <a:lnTo>
                  <a:pt x="64181" y="197407"/>
                </a:lnTo>
                <a:lnTo>
                  <a:pt x="64181" y="199352"/>
                </a:lnTo>
                <a:lnTo>
                  <a:pt x="63209" y="199352"/>
                </a:lnTo>
                <a:lnTo>
                  <a:pt x="61264" y="198379"/>
                </a:lnTo>
                <a:lnTo>
                  <a:pt x="58347" y="196434"/>
                </a:lnTo>
                <a:lnTo>
                  <a:pt x="57374" y="195462"/>
                </a:lnTo>
                <a:lnTo>
                  <a:pt x="56401" y="196434"/>
                </a:lnTo>
                <a:lnTo>
                  <a:pt x="54457" y="192545"/>
                </a:lnTo>
                <a:lnTo>
                  <a:pt x="54457" y="189627"/>
                </a:lnTo>
                <a:lnTo>
                  <a:pt x="54457" y="187682"/>
                </a:lnTo>
                <a:lnTo>
                  <a:pt x="51539" y="183792"/>
                </a:lnTo>
                <a:lnTo>
                  <a:pt x="51539" y="181848"/>
                </a:lnTo>
                <a:lnTo>
                  <a:pt x="51539" y="180875"/>
                </a:lnTo>
                <a:lnTo>
                  <a:pt x="50567" y="177958"/>
                </a:lnTo>
                <a:lnTo>
                  <a:pt x="48622" y="174068"/>
                </a:lnTo>
                <a:lnTo>
                  <a:pt x="46677" y="173096"/>
                </a:lnTo>
                <a:lnTo>
                  <a:pt x="46677" y="174068"/>
                </a:lnTo>
                <a:lnTo>
                  <a:pt x="46677" y="175041"/>
                </a:lnTo>
                <a:lnTo>
                  <a:pt x="47649" y="176013"/>
                </a:lnTo>
                <a:lnTo>
                  <a:pt x="46677" y="176013"/>
                </a:lnTo>
                <a:lnTo>
                  <a:pt x="43760" y="170178"/>
                </a:lnTo>
                <a:lnTo>
                  <a:pt x="42787" y="169206"/>
                </a:lnTo>
                <a:lnTo>
                  <a:pt x="41815" y="167261"/>
                </a:lnTo>
                <a:lnTo>
                  <a:pt x="42787" y="171151"/>
                </a:lnTo>
                <a:lnTo>
                  <a:pt x="41815" y="173096"/>
                </a:lnTo>
                <a:lnTo>
                  <a:pt x="39870" y="169206"/>
                </a:lnTo>
                <a:lnTo>
                  <a:pt x="40842" y="169206"/>
                </a:lnTo>
                <a:lnTo>
                  <a:pt x="38897" y="166288"/>
                </a:lnTo>
                <a:lnTo>
                  <a:pt x="37925" y="165316"/>
                </a:lnTo>
                <a:lnTo>
                  <a:pt x="36952" y="164344"/>
                </a:lnTo>
                <a:lnTo>
                  <a:pt x="35007" y="161426"/>
                </a:lnTo>
                <a:lnTo>
                  <a:pt x="35007" y="158509"/>
                </a:lnTo>
                <a:lnTo>
                  <a:pt x="36953" y="160454"/>
                </a:lnTo>
                <a:lnTo>
                  <a:pt x="37925" y="163371"/>
                </a:lnTo>
                <a:lnTo>
                  <a:pt x="39870" y="165316"/>
                </a:lnTo>
                <a:lnTo>
                  <a:pt x="40842" y="165316"/>
                </a:lnTo>
                <a:lnTo>
                  <a:pt x="37925" y="160454"/>
                </a:lnTo>
                <a:lnTo>
                  <a:pt x="36953" y="159158"/>
                </a:lnTo>
                <a:lnTo>
                  <a:pt x="36953" y="155592"/>
                </a:lnTo>
                <a:lnTo>
                  <a:pt x="35980" y="153647"/>
                </a:lnTo>
                <a:lnTo>
                  <a:pt x="35007" y="151702"/>
                </a:lnTo>
                <a:lnTo>
                  <a:pt x="36952" y="153647"/>
                </a:lnTo>
                <a:lnTo>
                  <a:pt x="35980" y="149757"/>
                </a:lnTo>
                <a:lnTo>
                  <a:pt x="35980" y="147812"/>
                </a:lnTo>
                <a:lnTo>
                  <a:pt x="36952" y="145867"/>
                </a:lnTo>
                <a:lnTo>
                  <a:pt x="35007" y="142950"/>
                </a:lnTo>
                <a:lnTo>
                  <a:pt x="34035" y="142950"/>
                </a:lnTo>
                <a:lnTo>
                  <a:pt x="34035" y="143922"/>
                </a:lnTo>
                <a:lnTo>
                  <a:pt x="33063" y="144894"/>
                </a:lnTo>
                <a:lnTo>
                  <a:pt x="29173" y="136143"/>
                </a:lnTo>
                <a:lnTo>
                  <a:pt x="25283" y="130308"/>
                </a:lnTo>
                <a:lnTo>
                  <a:pt x="25283" y="129336"/>
                </a:lnTo>
                <a:lnTo>
                  <a:pt x="26255" y="128363"/>
                </a:lnTo>
                <a:lnTo>
                  <a:pt x="28200" y="130308"/>
                </a:lnTo>
                <a:lnTo>
                  <a:pt x="23338" y="119611"/>
                </a:lnTo>
                <a:lnTo>
                  <a:pt x="19448" y="108914"/>
                </a:lnTo>
                <a:lnTo>
                  <a:pt x="19448" y="109886"/>
                </a:lnTo>
                <a:lnTo>
                  <a:pt x="18476" y="109886"/>
                </a:lnTo>
                <a:lnTo>
                  <a:pt x="17503" y="106969"/>
                </a:lnTo>
                <a:lnTo>
                  <a:pt x="16531" y="104052"/>
                </a:lnTo>
                <a:lnTo>
                  <a:pt x="16531" y="103079"/>
                </a:lnTo>
                <a:lnTo>
                  <a:pt x="17503" y="103079"/>
                </a:lnTo>
                <a:lnTo>
                  <a:pt x="16531" y="101135"/>
                </a:lnTo>
                <a:lnTo>
                  <a:pt x="17503" y="100162"/>
                </a:lnTo>
                <a:lnTo>
                  <a:pt x="17503" y="98217"/>
                </a:lnTo>
                <a:lnTo>
                  <a:pt x="13613" y="90437"/>
                </a:lnTo>
                <a:lnTo>
                  <a:pt x="10696" y="82658"/>
                </a:lnTo>
                <a:lnTo>
                  <a:pt x="9724" y="75851"/>
                </a:lnTo>
                <a:lnTo>
                  <a:pt x="7779" y="70016"/>
                </a:lnTo>
                <a:lnTo>
                  <a:pt x="4862" y="58347"/>
                </a:lnTo>
                <a:lnTo>
                  <a:pt x="4862" y="56402"/>
                </a:lnTo>
                <a:lnTo>
                  <a:pt x="5834" y="55429"/>
                </a:lnTo>
                <a:lnTo>
                  <a:pt x="6807" y="55429"/>
                </a:lnTo>
                <a:lnTo>
                  <a:pt x="6806" y="53484"/>
                </a:lnTo>
                <a:lnTo>
                  <a:pt x="5834" y="51539"/>
                </a:lnTo>
                <a:lnTo>
                  <a:pt x="5834" y="52512"/>
                </a:lnTo>
                <a:lnTo>
                  <a:pt x="4861" y="52512"/>
                </a:lnTo>
                <a:lnTo>
                  <a:pt x="4861" y="50567"/>
                </a:lnTo>
                <a:lnTo>
                  <a:pt x="4862" y="44732"/>
                </a:lnTo>
                <a:lnTo>
                  <a:pt x="3889" y="39870"/>
                </a:lnTo>
                <a:lnTo>
                  <a:pt x="2917" y="35980"/>
                </a:lnTo>
                <a:lnTo>
                  <a:pt x="3889" y="35980"/>
                </a:lnTo>
                <a:lnTo>
                  <a:pt x="4862" y="36953"/>
                </a:lnTo>
                <a:lnTo>
                  <a:pt x="4862" y="34035"/>
                </a:lnTo>
                <a:lnTo>
                  <a:pt x="3889" y="31118"/>
                </a:lnTo>
                <a:lnTo>
                  <a:pt x="2917" y="24311"/>
                </a:lnTo>
                <a:lnTo>
                  <a:pt x="1944" y="27228"/>
                </a:lnTo>
                <a:lnTo>
                  <a:pt x="972" y="22366"/>
                </a:lnTo>
                <a:lnTo>
                  <a:pt x="972" y="17504"/>
                </a:lnTo>
                <a:lnTo>
                  <a:pt x="0" y="8752"/>
                </a:lnTo>
                <a:lnTo>
                  <a:pt x="971" y="8752"/>
                </a:lnTo>
                <a:lnTo>
                  <a:pt x="972" y="4862"/>
                </a:lnTo>
                <a:lnTo>
                  <a:pt x="1884" y="3038"/>
                </a:lnTo>
                <a:lnTo>
                  <a:pt x="3890" y="9724"/>
                </a:lnTo>
                <a:lnTo>
                  <a:pt x="3890" y="10697"/>
                </a:lnTo>
                <a:lnTo>
                  <a:pt x="2917" y="9724"/>
                </a:lnTo>
                <a:lnTo>
                  <a:pt x="2917" y="8752"/>
                </a:lnTo>
                <a:lnTo>
                  <a:pt x="1944" y="8752"/>
                </a:lnTo>
                <a:lnTo>
                  <a:pt x="1944" y="13614"/>
                </a:lnTo>
                <a:lnTo>
                  <a:pt x="2917" y="13614"/>
                </a:lnTo>
                <a:lnTo>
                  <a:pt x="2917" y="14587"/>
                </a:lnTo>
                <a:lnTo>
                  <a:pt x="4667" y="18087"/>
                </a:lnTo>
                <a:lnTo>
                  <a:pt x="5658" y="22543"/>
                </a:lnTo>
                <a:lnTo>
                  <a:pt x="4862" y="23339"/>
                </a:lnTo>
                <a:lnTo>
                  <a:pt x="4862" y="24311"/>
                </a:lnTo>
                <a:lnTo>
                  <a:pt x="5834" y="25283"/>
                </a:lnTo>
                <a:lnTo>
                  <a:pt x="6806" y="27228"/>
                </a:lnTo>
                <a:lnTo>
                  <a:pt x="7779" y="34035"/>
                </a:lnTo>
                <a:lnTo>
                  <a:pt x="7779" y="36953"/>
                </a:lnTo>
                <a:lnTo>
                  <a:pt x="8752" y="40842"/>
                </a:lnTo>
                <a:lnTo>
                  <a:pt x="9724" y="44733"/>
                </a:lnTo>
                <a:lnTo>
                  <a:pt x="9724" y="48622"/>
                </a:lnTo>
                <a:lnTo>
                  <a:pt x="7779" y="44732"/>
                </a:lnTo>
                <a:lnTo>
                  <a:pt x="5834" y="40843"/>
                </a:lnTo>
                <a:lnTo>
                  <a:pt x="6806" y="48622"/>
                </a:lnTo>
                <a:lnTo>
                  <a:pt x="8751" y="50567"/>
                </a:lnTo>
                <a:lnTo>
                  <a:pt x="10696" y="55429"/>
                </a:lnTo>
                <a:lnTo>
                  <a:pt x="10696" y="56402"/>
                </a:lnTo>
                <a:lnTo>
                  <a:pt x="12641" y="60292"/>
                </a:lnTo>
                <a:lnTo>
                  <a:pt x="13614" y="62236"/>
                </a:lnTo>
                <a:lnTo>
                  <a:pt x="14586" y="65154"/>
                </a:lnTo>
                <a:lnTo>
                  <a:pt x="17503" y="79741"/>
                </a:lnTo>
                <a:lnTo>
                  <a:pt x="20421" y="91410"/>
                </a:lnTo>
                <a:lnTo>
                  <a:pt x="19449" y="92382"/>
                </a:lnTo>
                <a:lnTo>
                  <a:pt x="22366" y="96272"/>
                </a:lnTo>
                <a:lnTo>
                  <a:pt x="23338" y="100162"/>
                </a:lnTo>
                <a:lnTo>
                  <a:pt x="27228" y="109886"/>
                </a:lnTo>
                <a:lnTo>
                  <a:pt x="29173" y="116694"/>
                </a:lnTo>
                <a:lnTo>
                  <a:pt x="32091" y="123501"/>
                </a:lnTo>
                <a:lnTo>
                  <a:pt x="35008" y="129335"/>
                </a:lnTo>
                <a:lnTo>
                  <a:pt x="35980" y="133225"/>
                </a:lnTo>
                <a:lnTo>
                  <a:pt x="41814" y="144895"/>
                </a:lnTo>
                <a:lnTo>
                  <a:pt x="47649" y="154619"/>
                </a:lnTo>
                <a:lnTo>
                  <a:pt x="58346" y="176013"/>
                </a:lnTo>
                <a:lnTo>
                  <a:pt x="56402" y="174068"/>
                </a:lnTo>
                <a:lnTo>
                  <a:pt x="57374" y="176013"/>
                </a:lnTo>
                <a:lnTo>
                  <a:pt x="57374" y="176985"/>
                </a:lnTo>
                <a:lnTo>
                  <a:pt x="57374" y="177958"/>
                </a:lnTo>
                <a:lnTo>
                  <a:pt x="58346" y="178930"/>
                </a:lnTo>
                <a:lnTo>
                  <a:pt x="58346" y="177958"/>
                </a:lnTo>
                <a:lnTo>
                  <a:pt x="59319" y="179903"/>
                </a:lnTo>
                <a:lnTo>
                  <a:pt x="63208" y="183792"/>
                </a:lnTo>
                <a:lnTo>
                  <a:pt x="66126" y="188655"/>
                </a:lnTo>
                <a:lnTo>
                  <a:pt x="70015" y="194489"/>
                </a:lnTo>
                <a:lnTo>
                  <a:pt x="76823" y="203241"/>
                </a:lnTo>
                <a:lnTo>
                  <a:pt x="76823" y="204214"/>
                </a:lnTo>
                <a:lnTo>
                  <a:pt x="79740" y="208104"/>
                </a:lnTo>
                <a:lnTo>
                  <a:pt x="83630" y="212966"/>
                </a:lnTo>
                <a:lnTo>
                  <a:pt x="90437" y="223663"/>
                </a:lnTo>
                <a:lnTo>
                  <a:pt x="90437" y="225608"/>
                </a:lnTo>
                <a:lnTo>
                  <a:pt x="92382" y="228525"/>
                </a:lnTo>
                <a:lnTo>
                  <a:pt x="97244" y="232415"/>
                </a:lnTo>
                <a:lnTo>
                  <a:pt x="102106" y="238250"/>
                </a:lnTo>
                <a:lnTo>
                  <a:pt x="113776" y="251864"/>
                </a:lnTo>
                <a:lnTo>
                  <a:pt x="133225" y="272285"/>
                </a:lnTo>
                <a:lnTo>
                  <a:pt x="142949" y="282982"/>
                </a:lnTo>
                <a:lnTo>
                  <a:pt x="153646" y="292707"/>
                </a:lnTo>
                <a:lnTo>
                  <a:pt x="153646" y="294651"/>
                </a:lnTo>
                <a:lnTo>
                  <a:pt x="165316" y="303404"/>
                </a:lnTo>
                <a:lnTo>
                  <a:pt x="176012" y="314100"/>
                </a:lnTo>
                <a:lnTo>
                  <a:pt x="187682" y="323825"/>
                </a:lnTo>
                <a:lnTo>
                  <a:pt x="197406" y="332577"/>
                </a:lnTo>
                <a:lnTo>
                  <a:pt x="195461" y="332577"/>
                </a:lnTo>
                <a:lnTo>
                  <a:pt x="201296" y="337439"/>
                </a:lnTo>
                <a:lnTo>
                  <a:pt x="203241" y="338412"/>
                </a:lnTo>
                <a:lnTo>
                  <a:pt x="204214" y="338412"/>
                </a:lnTo>
                <a:lnTo>
                  <a:pt x="204214" y="337439"/>
                </a:lnTo>
                <a:lnTo>
                  <a:pt x="211021" y="343274"/>
                </a:lnTo>
                <a:lnTo>
                  <a:pt x="213938" y="346191"/>
                </a:lnTo>
                <a:lnTo>
                  <a:pt x="215883" y="348136"/>
                </a:lnTo>
                <a:lnTo>
                  <a:pt x="220745" y="352026"/>
                </a:lnTo>
                <a:lnTo>
                  <a:pt x="225607" y="353971"/>
                </a:lnTo>
                <a:lnTo>
                  <a:pt x="234360" y="361751"/>
                </a:lnTo>
                <a:lnTo>
                  <a:pt x="241795" y="366956"/>
                </a:lnTo>
                <a:lnTo>
                  <a:pt x="241167" y="367585"/>
                </a:lnTo>
                <a:lnTo>
                  <a:pt x="243111" y="368557"/>
                </a:lnTo>
                <a:lnTo>
                  <a:pt x="248946" y="373420"/>
                </a:lnTo>
                <a:lnTo>
                  <a:pt x="250891" y="374392"/>
                </a:lnTo>
                <a:lnTo>
                  <a:pt x="251863" y="374392"/>
                </a:lnTo>
                <a:lnTo>
                  <a:pt x="251863" y="373420"/>
                </a:lnTo>
                <a:lnTo>
                  <a:pt x="257698" y="378282"/>
                </a:lnTo>
                <a:lnTo>
                  <a:pt x="265478" y="383145"/>
                </a:lnTo>
                <a:lnTo>
                  <a:pt x="273257" y="388007"/>
                </a:lnTo>
                <a:lnTo>
                  <a:pt x="279092" y="392869"/>
                </a:lnTo>
                <a:lnTo>
                  <a:pt x="280065" y="392869"/>
                </a:lnTo>
                <a:lnTo>
                  <a:pt x="282009" y="393841"/>
                </a:lnTo>
                <a:lnTo>
                  <a:pt x="293679" y="401621"/>
                </a:lnTo>
                <a:lnTo>
                  <a:pt x="299513" y="404538"/>
                </a:lnTo>
                <a:lnTo>
                  <a:pt x="304375" y="407455"/>
                </a:lnTo>
                <a:lnTo>
                  <a:pt x="304375" y="408428"/>
                </a:lnTo>
                <a:lnTo>
                  <a:pt x="303403" y="408428"/>
                </a:lnTo>
                <a:lnTo>
                  <a:pt x="305348" y="409401"/>
                </a:lnTo>
                <a:lnTo>
                  <a:pt x="306321" y="409401"/>
                </a:lnTo>
                <a:lnTo>
                  <a:pt x="308265" y="409400"/>
                </a:lnTo>
                <a:lnTo>
                  <a:pt x="317990" y="415235"/>
                </a:lnTo>
                <a:lnTo>
                  <a:pt x="326742" y="421070"/>
                </a:lnTo>
                <a:lnTo>
                  <a:pt x="335494" y="427877"/>
                </a:lnTo>
                <a:lnTo>
                  <a:pt x="345218" y="432739"/>
                </a:lnTo>
                <a:lnTo>
                  <a:pt x="408427" y="464830"/>
                </a:lnTo>
                <a:lnTo>
                  <a:pt x="408428" y="465802"/>
                </a:lnTo>
                <a:lnTo>
                  <a:pt x="414262" y="467747"/>
                </a:lnTo>
                <a:lnTo>
                  <a:pt x="420097" y="470665"/>
                </a:lnTo>
                <a:lnTo>
                  <a:pt x="424959" y="473582"/>
                </a:lnTo>
                <a:lnTo>
                  <a:pt x="430794" y="475527"/>
                </a:lnTo>
                <a:lnTo>
                  <a:pt x="433711" y="477472"/>
                </a:lnTo>
                <a:lnTo>
                  <a:pt x="435656" y="477472"/>
                </a:lnTo>
                <a:lnTo>
                  <a:pt x="435656" y="478444"/>
                </a:lnTo>
                <a:lnTo>
                  <a:pt x="440519" y="480389"/>
                </a:lnTo>
                <a:lnTo>
                  <a:pt x="446353" y="483306"/>
                </a:lnTo>
                <a:lnTo>
                  <a:pt x="452188" y="486224"/>
                </a:lnTo>
                <a:lnTo>
                  <a:pt x="458992" y="489140"/>
                </a:lnTo>
                <a:lnTo>
                  <a:pt x="462885" y="491086"/>
                </a:lnTo>
                <a:lnTo>
                  <a:pt x="468719" y="493031"/>
                </a:lnTo>
                <a:lnTo>
                  <a:pt x="481362" y="498866"/>
                </a:lnTo>
                <a:lnTo>
                  <a:pt x="477472" y="497893"/>
                </a:lnTo>
                <a:lnTo>
                  <a:pt x="480389" y="499838"/>
                </a:lnTo>
                <a:lnTo>
                  <a:pt x="483306" y="499838"/>
                </a:lnTo>
                <a:lnTo>
                  <a:pt x="486223" y="500810"/>
                </a:lnTo>
                <a:lnTo>
                  <a:pt x="487196" y="502755"/>
                </a:lnTo>
                <a:lnTo>
                  <a:pt x="489141" y="502755"/>
                </a:lnTo>
                <a:lnTo>
                  <a:pt x="488168" y="501783"/>
                </a:lnTo>
                <a:lnTo>
                  <a:pt x="502755" y="508590"/>
                </a:lnTo>
                <a:lnTo>
                  <a:pt x="517342" y="513452"/>
                </a:lnTo>
                <a:lnTo>
                  <a:pt x="548460" y="524149"/>
                </a:lnTo>
                <a:lnTo>
                  <a:pt x="554295" y="527067"/>
                </a:lnTo>
                <a:lnTo>
                  <a:pt x="555267" y="528039"/>
                </a:lnTo>
                <a:lnTo>
                  <a:pt x="555267" y="529012"/>
                </a:lnTo>
                <a:lnTo>
                  <a:pt x="560129" y="529984"/>
                </a:lnTo>
                <a:lnTo>
                  <a:pt x="561102" y="529984"/>
                </a:lnTo>
                <a:lnTo>
                  <a:pt x="564019" y="530956"/>
                </a:lnTo>
                <a:lnTo>
                  <a:pt x="565964" y="532901"/>
                </a:lnTo>
                <a:lnTo>
                  <a:pt x="567909" y="533874"/>
                </a:lnTo>
                <a:lnTo>
                  <a:pt x="570826" y="534846"/>
                </a:lnTo>
                <a:lnTo>
                  <a:pt x="570826" y="533874"/>
                </a:lnTo>
                <a:lnTo>
                  <a:pt x="571799" y="533874"/>
                </a:lnTo>
                <a:lnTo>
                  <a:pt x="573744" y="533874"/>
                </a:lnTo>
                <a:lnTo>
                  <a:pt x="582496" y="538736"/>
                </a:lnTo>
                <a:lnTo>
                  <a:pt x="586386" y="539709"/>
                </a:lnTo>
                <a:lnTo>
                  <a:pt x="591248" y="541653"/>
                </a:lnTo>
                <a:lnTo>
                  <a:pt x="590276" y="541653"/>
                </a:lnTo>
                <a:lnTo>
                  <a:pt x="597082" y="542626"/>
                </a:lnTo>
                <a:lnTo>
                  <a:pt x="603889" y="544571"/>
                </a:lnTo>
                <a:lnTo>
                  <a:pt x="609724" y="546516"/>
                </a:lnTo>
                <a:lnTo>
                  <a:pt x="615559" y="546516"/>
                </a:lnTo>
                <a:lnTo>
                  <a:pt x="650567" y="556241"/>
                </a:lnTo>
                <a:lnTo>
                  <a:pt x="684603" y="565965"/>
                </a:lnTo>
                <a:lnTo>
                  <a:pt x="752674" y="581525"/>
                </a:lnTo>
                <a:lnTo>
                  <a:pt x="786710" y="589304"/>
                </a:lnTo>
                <a:lnTo>
                  <a:pt x="819773" y="596111"/>
                </a:lnTo>
                <a:lnTo>
                  <a:pt x="888817" y="608753"/>
                </a:lnTo>
                <a:lnTo>
                  <a:pt x="899514" y="611670"/>
                </a:lnTo>
                <a:lnTo>
                  <a:pt x="912155" y="613615"/>
                </a:lnTo>
                <a:lnTo>
                  <a:pt x="911183" y="613615"/>
                </a:lnTo>
                <a:lnTo>
                  <a:pt x="912156" y="613615"/>
                </a:lnTo>
                <a:lnTo>
                  <a:pt x="912155" y="613615"/>
                </a:lnTo>
                <a:lnTo>
                  <a:pt x="913128" y="613615"/>
                </a:lnTo>
                <a:lnTo>
                  <a:pt x="916046" y="613615"/>
                </a:lnTo>
                <a:lnTo>
                  <a:pt x="918963" y="613615"/>
                </a:lnTo>
                <a:lnTo>
                  <a:pt x="921880" y="613615"/>
                </a:lnTo>
                <a:lnTo>
                  <a:pt x="946191" y="617505"/>
                </a:lnTo>
                <a:lnTo>
                  <a:pt x="972448" y="620422"/>
                </a:lnTo>
                <a:lnTo>
                  <a:pt x="969530" y="620422"/>
                </a:lnTo>
                <a:lnTo>
                  <a:pt x="969530" y="621395"/>
                </a:lnTo>
                <a:lnTo>
                  <a:pt x="971475" y="621395"/>
                </a:lnTo>
                <a:lnTo>
                  <a:pt x="975365" y="620422"/>
                </a:lnTo>
                <a:lnTo>
                  <a:pt x="975365" y="621395"/>
                </a:lnTo>
                <a:lnTo>
                  <a:pt x="978282" y="621395"/>
                </a:lnTo>
                <a:lnTo>
                  <a:pt x="979164" y="620513"/>
                </a:lnTo>
                <a:lnTo>
                  <a:pt x="1044409" y="627229"/>
                </a:lnTo>
                <a:lnTo>
                  <a:pt x="1077472" y="631119"/>
                </a:lnTo>
                <a:lnTo>
                  <a:pt x="1110535" y="633064"/>
                </a:lnTo>
                <a:lnTo>
                  <a:pt x="1119287" y="634037"/>
                </a:lnTo>
                <a:lnTo>
                  <a:pt x="1129012" y="634037"/>
                </a:lnTo>
                <a:lnTo>
                  <a:pt x="1147488" y="635009"/>
                </a:lnTo>
                <a:lnTo>
                  <a:pt x="1171799" y="636954"/>
                </a:lnTo>
                <a:lnTo>
                  <a:pt x="1196111" y="638899"/>
                </a:lnTo>
                <a:lnTo>
                  <a:pt x="1220422" y="638899"/>
                </a:lnTo>
                <a:lnTo>
                  <a:pt x="1243275" y="638899"/>
                </a:lnTo>
                <a:lnTo>
                  <a:pt x="1243761" y="639871"/>
                </a:lnTo>
                <a:lnTo>
                  <a:pt x="1241816" y="640844"/>
                </a:lnTo>
                <a:lnTo>
                  <a:pt x="1235981" y="642788"/>
                </a:lnTo>
                <a:lnTo>
                  <a:pt x="1227229" y="643761"/>
                </a:lnTo>
                <a:lnTo>
                  <a:pt x="1212642" y="644733"/>
                </a:lnTo>
                <a:lnTo>
                  <a:pt x="1197083" y="644733"/>
                </a:lnTo>
                <a:lnTo>
                  <a:pt x="1180551" y="644733"/>
                </a:lnTo>
                <a:lnTo>
                  <a:pt x="1164992" y="644733"/>
                </a:lnTo>
                <a:lnTo>
                  <a:pt x="1164020" y="644733"/>
                </a:lnTo>
                <a:lnTo>
                  <a:pt x="1164020" y="643761"/>
                </a:lnTo>
                <a:lnTo>
                  <a:pt x="1163047" y="642789"/>
                </a:lnTo>
                <a:lnTo>
                  <a:pt x="1161102" y="642789"/>
                </a:lnTo>
                <a:lnTo>
                  <a:pt x="1144571" y="643761"/>
                </a:lnTo>
                <a:lnTo>
                  <a:pt x="1126095" y="642789"/>
                </a:lnTo>
                <a:lnTo>
                  <a:pt x="1106645" y="640844"/>
                </a:lnTo>
                <a:lnTo>
                  <a:pt x="1088169" y="637926"/>
                </a:lnTo>
                <a:lnTo>
                  <a:pt x="1089141" y="637926"/>
                </a:lnTo>
                <a:lnTo>
                  <a:pt x="1082334" y="637926"/>
                </a:lnTo>
                <a:lnTo>
                  <a:pt x="1074555" y="637926"/>
                </a:lnTo>
                <a:lnTo>
                  <a:pt x="1075527" y="637926"/>
                </a:lnTo>
                <a:lnTo>
                  <a:pt x="1075527" y="636954"/>
                </a:lnTo>
                <a:lnTo>
                  <a:pt x="1073582" y="636954"/>
                </a:lnTo>
                <a:lnTo>
                  <a:pt x="1069693" y="636954"/>
                </a:lnTo>
                <a:lnTo>
                  <a:pt x="1064830" y="637927"/>
                </a:lnTo>
                <a:lnTo>
                  <a:pt x="1062885" y="636954"/>
                </a:lnTo>
                <a:lnTo>
                  <a:pt x="1060941" y="635981"/>
                </a:lnTo>
                <a:lnTo>
                  <a:pt x="1058023" y="636954"/>
                </a:lnTo>
                <a:lnTo>
                  <a:pt x="1051216" y="636954"/>
                </a:lnTo>
                <a:lnTo>
                  <a:pt x="1044409" y="636954"/>
                </a:lnTo>
                <a:lnTo>
                  <a:pt x="1036629" y="635982"/>
                </a:lnTo>
                <a:lnTo>
                  <a:pt x="1028849" y="635009"/>
                </a:lnTo>
                <a:lnTo>
                  <a:pt x="1029822" y="635009"/>
                </a:lnTo>
                <a:lnTo>
                  <a:pt x="1017180" y="634037"/>
                </a:lnTo>
                <a:lnTo>
                  <a:pt x="1002593" y="633064"/>
                </a:lnTo>
                <a:lnTo>
                  <a:pt x="974392" y="631119"/>
                </a:lnTo>
                <a:lnTo>
                  <a:pt x="975365" y="630147"/>
                </a:lnTo>
                <a:lnTo>
                  <a:pt x="975365" y="629174"/>
                </a:lnTo>
                <a:lnTo>
                  <a:pt x="973420" y="630147"/>
                </a:lnTo>
                <a:lnTo>
                  <a:pt x="970503" y="630147"/>
                </a:lnTo>
                <a:lnTo>
                  <a:pt x="963695" y="630147"/>
                </a:lnTo>
                <a:lnTo>
                  <a:pt x="960778" y="629174"/>
                </a:lnTo>
                <a:lnTo>
                  <a:pt x="957861" y="629174"/>
                </a:lnTo>
                <a:lnTo>
                  <a:pt x="953971" y="629174"/>
                </a:lnTo>
                <a:lnTo>
                  <a:pt x="949109" y="628202"/>
                </a:lnTo>
                <a:lnTo>
                  <a:pt x="950081" y="628202"/>
                </a:lnTo>
                <a:lnTo>
                  <a:pt x="947164" y="628202"/>
                </a:lnTo>
                <a:lnTo>
                  <a:pt x="944247" y="628202"/>
                </a:lnTo>
                <a:lnTo>
                  <a:pt x="942301" y="627229"/>
                </a:lnTo>
                <a:lnTo>
                  <a:pt x="940357" y="628202"/>
                </a:lnTo>
                <a:lnTo>
                  <a:pt x="937439" y="626257"/>
                </a:lnTo>
                <a:lnTo>
                  <a:pt x="935495" y="627230"/>
                </a:lnTo>
                <a:lnTo>
                  <a:pt x="933549" y="626257"/>
                </a:lnTo>
                <a:lnTo>
                  <a:pt x="930632" y="625284"/>
                </a:lnTo>
                <a:lnTo>
                  <a:pt x="927715" y="625285"/>
                </a:lnTo>
                <a:lnTo>
                  <a:pt x="923825" y="625284"/>
                </a:lnTo>
                <a:lnTo>
                  <a:pt x="919936" y="624312"/>
                </a:lnTo>
                <a:lnTo>
                  <a:pt x="911183" y="622367"/>
                </a:lnTo>
                <a:lnTo>
                  <a:pt x="909463" y="622367"/>
                </a:lnTo>
                <a:lnTo>
                  <a:pt x="910211" y="622367"/>
                </a:lnTo>
                <a:lnTo>
                  <a:pt x="912155" y="622367"/>
                </a:lnTo>
                <a:lnTo>
                  <a:pt x="911183" y="621395"/>
                </a:lnTo>
                <a:lnTo>
                  <a:pt x="893679" y="619450"/>
                </a:lnTo>
                <a:lnTo>
                  <a:pt x="875203" y="617505"/>
                </a:lnTo>
                <a:lnTo>
                  <a:pt x="840194" y="610698"/>
                </a:lnTo>
                <a:lnTo>
                  <a:pt x="836305" y="609725"/>
                </a:lnTo>
                <a:lnTo>
                  <a:pt x="835332" y="608753"/>
                </a:lnTo>
                <a:lnTo>
                  <a:pt x="829498" y="607780"/>
                </a:lnTo>
                <a:lnTo>
                  <a:pt x="823663" y="607780"/>
                </a:lnTo>
                <a:lnTo>
                  <a:pt x="821718" y="605835"/>
                </a:lnTo>
                <a:lnTo>
                  <a:pt x="818800" y="605835"/>
                </a:lnTo>
                <a:lnTo>
                  <a:pt x="816856" y="605835"/>
                </a:lnTo>
                <a:lnTo>
                  <a:pt x="814911" y="605835"/>
                </a:lnTo>
                <a:lnTo>
                  <a:pt x="811993" y="605836"/>
                </a:lnTo>
                <a:lnTo>
                  <a:pt x="813939" y="604863"/>
                </a:lnTo>
                <a:lnTo>
                  <a:pt x="813939" y="603891"/>
                </a:lnTo>
                <a:lnTo>
                  <a:pt x="807131" y="603891"/>
                </a:lnTo>
                <a:lnTo>
                  <a:pt x="799352" y="602918"/>
                </a:lnTo>
                <a:lnTo>
                  <a:pt x="801297" y="602918"/>
                </a:lnTo>
                <a:lnTo>
                  <a:pt x="801297" y="601946"/>
                </a:lnTo>
                <a:lnTo>
                  <a:pt x="797407" y="601945"/>
                </a:lnTo>
                <a:lnTo>
                  <a:pt x="794489" y="600973"/>
                </a:lnTo>
                <a:lnTo>
                  <a:pt x="787682" y="600001"/>
                </a:lnTo>
                <a:lnTo>
                  <a:pt x="789627" y="599028"/>
                </a:lnTo>
                <a:lnTo>
                  <a:pt x="785738" y="598056"/>
                </a:lnTo>
                <a:lnTo>
                  <a:pt x="784765" y="599028"/>
                </a:lnTo>
                <a:lnTo>
                  <a:pt x="783792" y="599028"/>
                </a:lnTo>
                <a:lnTo>
                  <a:pt x="780875" y="599028"/>
                </a:lnTo>
                <a:lnTo>
                  <a:pt x="781848" y="599028"/>
                </a:lnTo>
                <a:lnTo>
                  <a:pt x="781848" y="598056"/>
                </a:lnTo>
                <a:lnTo>
                  <a:pt x="776985" y="598056"/>
                </a:lnTo>
                <a:lnTo>
                  <a:pt x="771151" y="597084"/>
                </a:lnTo>
                <a:lnTo>
                  <a:pt x="760454" y="595138"/>
                </a:lnTo>
                <a:lnTo>
                  <a:pt x="750730" y="592221"/>
                </a:lnTo>
                <a:lnTo>
                  <a:pt x="741005" y="590276"/>
                </a:lnTo>
                <a:lnTo>
                  <a:pt x="740032" y="589304"/>
                </a:lnTo>
                <a:lnTo>
                  <a:pt x="739060" y="589304"/>
                </a:lnTo>
                <a:lnTo>
                  <a:pt x="738087" y="588332"/>
                </a:lnTo>
                <a:lnTo>
                  <a:pt x="735170" y="587359"/>
                </a:lnTo>
                <a:lnTo>
                  <a:pt x="734198" y="587359"/>
                </a:lnTo>
                <a:lnTo>
                  <a:pt x="733225" y="587359"/>
                </a:lnTo>
                <a:lnTo>
                  <a:pt x="729336" y="587359"/>
                </a:lnTo>
                <a:lnTo>
                  <a:pt x="726418" y="587359"/>
                </a:lnTo>
                <a:lnTo>
                  <a:pt x="727390" y="588331"/>
                </a:lnTo>
                <a:lnTo>
                  <a:pt x="716694" y="585414"/>
                </a:lnTo>
                <a:lnTo>
                  <a:pt x="707942" y="583469"/>
                </a:lnTo>
                <a:lnTo>
                  <a:pt x="708914" y="582497"/>
                </a:lnTo>
                <a:lnTo>
                  <a:pt x="708914" y="581524"/>
                </a:lnTo>
                <a:lnTo>
                  <a:pt x="710859" y="581524"/>
                </a:lnTo>
                <a:lnTo>
                  <a:pt x="707942" y="579580"/>
                </a:lnTo>
                <a:lnTo>
                  <a:pt x="709887" y="579580"/>
                </a:lnTo>
                <a:lnTo>
                  <a:pt x="704052" y="578607"/>
                </a:lnTo>
                <a:lnTo>
                  <a:pt x="699190" y="577635"/>
                </a:lnTo>
                <a:lnTo>
                  <a:pt x="691410" y="577634"/>
                </a:lnTo>
                <a:lnTo>
                  <a:pt x="687520" y="576662"/>
                </a:lnTo>
                <a:lnTo>
                  <a:pt x="682658" y="575690"/>
                </a:lnTo>
                <a:lnTo>
                  <a:pt x="683631" y="575690"/>
                </a:lnTo>
                <a:lnTo>
                  <a:pt x="683630" y="574717"/>
                </a:lnTo>
                <a:lnTo>
                  <a:pt x="682658" y="574717"/>
                </a:lnTo>
                <a:lnTo>
                  <a:pt x="683630" y="573745"/>
                </a:lnTo>
                <a:lnTo>
                  <a:pt x="672933" y="574717"/>
                </a:lnTo>
                <a:lnTo>
                  <a:pt x="670989" y="573745"/>
                </a:lnTo>
                <a:lnTo>
                  <a:pt x="670989" y="572772"/>
                </a:lnTo>
                <a:lnTo>
                  <a:pt x="669044" y="572772"/>
                </a:lnTo>
                <a:lnTo>
                  <a:pt x="668071" y="572772"/>
                </a:lnTo>
                <a:lnTo>
                  <a:pt x="666126" y="572772"/>
                </a:lnTo>
                <a:lnTo>
                  <a:pt x="660292" y="571800"/>
                </a:lnTo>
                <a:lnTo>
                  <a:pt x="657374" y="569855"/>
                </a:lnTo>
                <a:lnTo>
                  <a:pt x="655429" y="568882"/>
                </a:lnTo>
                <a:lnTo>
                  <a:pt x="657374" y="568883"/>
                </a:lnTo>
                <a:lnTo>
                  <a:pt x="657374" y="567910"/>
                </a:lnTo>
                <a:lnTo>
                  <a:pt x="647650" y="565965"/>
                </a:lnTo>
                <a:lnTo>
                  <a:pt x="642787" y="564993"/>
                </a:lnTo>
                <a:lnTo>
                  <a:pt x="641815" y="564993"/>
                </a:lnTo>
                <a:lnTo>
                  <a:pt x="641815" y="565965"/>
                </a:lnTo>
                <a:lnTo>
                  <a:pt x="638898" y="565965"/>
                </a:lnTo>
                <a:lnTo>
                  <a:pt x="633063" y="564021"/>
                </a:lnTo>
                <a:lnTo>
                  <a:pt x="634036" y="564021"/>
                </a:lnTo>
                <a:lnTo>
                  <a:pt x="635008" y="563048"/>
                </a:lnTo>
                <a:lnTo>
                  <a:pt x="625284" y="562076"/>
                </a:lnTo>
                <a:lnTo>
                  <a:pt x="615559" y="560130"/>
                </a:lnTo>
                <a:lnTo>
                  <a:pt x="617504" y="560130"/>
                </a:lnTo>
                <a:lnTo>
                  <a:pt x="619449" y="560130"/>
                </a:lnTo>
                <a:lnTo>
                  <a:pt x="613614" y="558186"/>
                </a:lnTo>
                <a:lnTo>
                  <a:pt x="606807" y="556241"/>
                </a:lnTo>
                <a:lnTo>
                  <a:pt x="600972" y="554295"/>
                </a:lnTo>
                <a:lnTo>
                  <a:pt x="595138" y="552350"/>
                </a:lnTo>
                <a:lnTo>
                  <a:pt x="596110" y="553323"/>
                </a:lnTo>
                <a:lnTo>
                  <a:pt x="595138" y="553323"/>
                </a:lnTo>
                <a:lnTo>
                  <a:pt x="592220" y="551378"/>
                </a:lnTo>
                <a:lnTo>
                  <a:pt x="589303" y="550406"/>
                </a:lnTo>
                <a:lnTo>
                  <a:pt x="587358" y="549433"/>
                </a:lnTo>
                <a:lnTo>
                  <a:pt x="583468" y="548461"/>
                </a:lnTo>
                <a:lnTo>
                  <a:pt x="582496" y="548461"/>
                </a:lnTo>
                <a:lnTo>
                  <a:pt x="585413" y="549433"/>
                </a:lnTo>
                <a:lnTo>
                  <a:pt x="572771" y="545543"/>
                </a:lnTo>
                <a:lnTo>
                  <a:pt x="564992" y="543598"/>
                </a:lnTo>
                <a:lnTo>
                  <a:pt x="557212" y="540681"/>
                </a:lnTo>
                <a:lnTo>
                  <a:pt x="554295" y="540681"/>
                </a:lnTo>
                <a:lnTo>
                  <a:pt x="549433" y="539708"/>
                </a:lnTo>
                <a:lnTo>
                  <a:pt x="550405" y="538736"/>
                </a:lnTo>
                <a:lnTo>
                  <a:pt x="546515" y="536791"/>
                </a:lnTo>
                <a:lnTo>
                  <a:pt x="544570" y="535819"/>
                </a:lnTo>
                <a:lnTo>
                  <a:pt x="547488" y="536791"/>
                </a:lnTo>
                <a:lnTo>
                  <a:pt x="548460" y="537763"/>
                </a:lnTo>
                <a:lnTo>
                  <a:pt x="550405" y="537764"/>
                </a:lnTo>
                <a:lnTo>
                  <a:pt x="554295" y="538736"/>
                </a:lnTo>
                <a:lnTo>
                  <a:pt x="553322" y="537764"/>
                </a:lnTo>
                <a:lnTo>
                  <a:pt x="550405" y="537764"/>
                </a:lnTo>
                <a:lnTo>
                  <a:pt x="544570" y="535819"/>
                </a:lnTo>
                <a:lnTo>
                  <a:pt x="541653" y="534846"/>
                </a:lnTo>
                <a:lnTo>
                  <a:pt x="538736" y="533874"/>
                </a:lnTo>
                <a:lnTo>
                  <a:pt x="536791" y="532901"/>
                </a:lnTo>
                <a:lnTo>
                  <a:pt x="537763" y="532901"/>
                </a:lnTo>
                <a:lnTo>
                  <a:pt x="538735" y="531929"/>
                </a:lnTo>
                <a:lnTo>
                  <a:pt x="536791" y="531929"/>
                </a:lnTo>
                <a:lnTo>
                  <a:pt x="532901" y="530956"/>
                </a:lnTo>
                <a:lnTo>
                  <a:pt x="529984" y="529984"/>
                </a:lnTo>
                <a:lnTo>
                  <a:pt x="527067" y="529011"/>
                </a:lnTo>
                <a:lnTo>
                  <a:pt x="526094" y="529011"/>
                </a:lnTo>
                <a:lnTo>
                  <a:pt x="525121" y="529012"/>
                </a:lnTo>
                <a:lnTo>
                  <a:pt x="524149" y="529012"/>
                </a:lnTo>
                <a:lnTo>
                  <a:pt x="523177" y="528039"/>
                </a:lnTo>
                <a:lnTo>
                  <a:pt x="520259" y="527067"/>
                </a:lnTo>
                <a:lnTo>
                  <a:pt x="517342" y="526094"/>
                </a:lnTo>
                <a:lnTo>
                  <a:pt x="517342" y="525122"/>
                </a:lnTo>
                <a:lnTo>
                  <a:pt x="518314" y="524149"/>
                </a:lnTo>
                <a:lnTo>
                  <a:pt x="514425" y="524149"/>
                </a:lnTo>
                <a:lnTo>
                  <a:pt x="511507" y="524150"/>
                </a:lnTo>
                <a:lnTo>
                  <a:pt x="511507" y="523177"/>
                </a:lnTo>
                <a:lnTo>
                  <a:pt x="509562" y="523177"/>
                </a:lnTo>
                <a:lnTo>
                  <a:pt x="507617" y="522204"/>
                </a:lnTo>
                <a:lnTo>
                  <a:pt x="504700" y="521232"/>
                </a:lnTo>
                <a:lnTo>
                  <a:pt x="501782" y="521232"/>
                </a:lnTo>
                <a:lnTo>
                  <a:pt x="494003" y="517342"/>
                </a:lnTo>
                <a:lnTo>
                  <a:pt x="490114" y="515397"/>
                </a:lnTo>
                <a:lnTo>
                  <a:pt x="487195" y="513452"/>
                </a:lnTo>
                <a:lnTo>
                  <a:pt x="481361" y="512480"/>
                </a:lnTo>
                <a:lnTo>
                  <a:pt x="475527" y="509563"/>
                </a:lnTo>
                <a:lnTo>
                  <a:pt x="477471" y="509563"/>
                </a:lnTo>
                <a:lnTo>
                  <a:pt x="474554" y="508590"/>
                </a:lnTo>
                <a:lnTo>
                  <a:pt x="471637" y="507617"/>
                </a:lnTo>
                <a:lnTo>
                  <a:pt x="468719" y="505673"/>
                </a:lnTo>
                <a:lnTo>
                  <a:pt x="463857" y="502755"/>
                </a:lnTo>
                <a:lnTo>
                  <a:pt x="461912" y="501783"/>
                </a:lnTo>
                <a:lnTo>
                  <a:pt x="460939" y="502756"/>
                </a:lnTo>
                <a:lnTo>
                  <a:pt x="459967" y="503728"/>
                </a:lnTo>
                <a:lnTo>
                  <a:pt x="457050" y="501783"/>
                </a:lnTo>
                <a:lnTo>
                  <a:pt x="453160" y="499838"/>
                </a:lnTo>
                <a:lnTo>
                  <a:pt x="448298" y="498866"/>
                </a:lnTo>
                <a:close/>
              </a:path>
            </a:pathLst>
          </a:custGeom>
          <a:solidFill>
            <a:schemeClr val="accent1"/>
          </a:solidFill>
          <a:ln>
            <a:noFill/>
          </a:ln>
        </p:spPr>
        <p:txBody>
          <a:bodyPr spcFirstLastPara="1" wrap="square" lIns="68569" tIns="34275" rIns="68569" bIns="34275" anchor="t" anchorCtr="0">
            <a:noAutofit/>
          </a:bodyPr>
          <a:lstStyle/>
          <a:p>
            <a:pPr marL="0" marR="0" lvl="0" indent="0" algn="l" rtl="0">
              <a:spcBef>
                <a:spcPts val="0"/>
              </a:spcBef>
              <a:spcAft>
                <a:spcPts val="0"/>
              </a:spcAft>
              <a:buNone/>
            </a:pPr>
            <a:endParaRPr sz="1350">
              <a:solidFill>
                <a:srgbClr val="000000"/>
              </a:solidFill>
              <a:latin typeface="Arial"/>
              <a:ea typeface="Arial"/>
              <a:cs typeface="Arial"/>
              <a:sym typeface="Arial"/>
            </a:endParaRPr>
          </a:p>
        </p:txBody>
      </p:sp>
      <p:sp>
        <p:nvSpPr>
          <p:cNvPr id="58" name="Google Shape;58;p23"/>
          <p:cNvSpPr txBox="1">
            <a:spLocks noGrp="1"/>
          </p:cNvSpPr>
          <p:nvPr>
            <p:ph type="title"/>
          </p:nvPr>
        </p:nvSpPr>
        <p:spPr>
          <a:xfrm>
            <a:off x="550864" y="436565"/>
            <a:ext cx="8042275" cy="144303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9" name="Google Shape;59;p23"/>
          <p:cNvSpPr txBox="1">
            <a:spLocks noGrp="1"/>
          </p:cNvSpPr>
          <p:nvPr>
            <p:ph type="body" idx="1"/>
          </p:nvPr>
        </p:nvSpPr>
        <p:spPr>
          <a:xfrm>
            <a:off x="841248" y="2038390"/>
            <a:ext cx="3017520" cy="542395"/>
          </a:xfrm>
          <a:prstGeom prst="rect">
            <a:avLst/>
          </a:prstGeom>
          <a:noFill/>
          <a:ln>
            <a:noFill/>
          </a:ln>
        </p:spPr>
        <p:txBody>
          <a:bodyPr spcFirstLastPara="1" wrap="square" lIns="91425" tIns="45700" rIns="91425" bIns="45700" anchor="b" anchorCtr="0">
            <a:noAutofit/>
          </a:bodyPr>
          <a:lstStyle>
            <a:lvl1pPr marL="342900" lvl="0" indent="-171450" algn="ctr">
              <a:spcBef>
                <a:spcPts val="360"/>
              </a:spcBef>
              <a:spcAft>
                <a:spcPts val="0"/>
              </a:spcAft>
              <a:buSzPts val="2280"/>
              <a:buNone/>
              <a:defRPr sz="1800" b="0">
                <a:solidFill>
                  <a:schemeClr val="dk2"/>
                </a:solidFill>
                <a:latin typeface="Cambria"/>
                <a:ea typeface="Cambria"/>
                <a:cs typeface="Cambria"/>
                <a:sym typeface="Cambria"/>
              </a:defRPr>
            </a:lvl1pPr>
            <a:lvl2pPr marL="685800" lvl="1" indent="-171450" algn="l">
              <a:spcBef>
                <a:spcPts val="300"/>
              </a:spcBef>
              <a:spcAft>
                <a:spcPts val="0"/>
              </a:spcAft>
              <a:buSzPts val="1900"/>
              <a:buNone/>
              <a:defRPr sz="1500" b="1"/>
            </a:lvl2pPr>
            <a:lvl3pPr marL="1028700" lvl="2" indent="-171450" algn="l">
              <a:spcBef>
                <a:spcPts val="270"/>
              </a:spcBef>
              <a:spcAft>
                <a:spcPts val="0"/>
              </a:spcAft>
              <a:buSzPts val="1710"/>
              <a:buNone/>
              <a:defRPr sz="1350" b="1"/>
            </a:lvl3pPr>
            <a:lvl4pPr marL="1371600" lvl="3" indent="-171450" algn="l">
              <a:spcBef>
                <a:spcPts val="240"/>
              </a:spcBef>
              <a:spcAft>
                <a:spcPts val="0"/>
              </a:spcAft>
              <a:buSzPts val="1520"/>
              <a:buNone/>
              <a:defRPr sz="1200" b="1"/>
            </a:lvl4pPr>
            <a:lvl5pPr marL="1714500" lvl="4" indent="-171450" algn="l">
              <a:spcBef>
                <a:spcPts val="240"/>
              </a:spcBef>
              <a:spcAft>
                <a:spcPts val="0"/>
              </a:spcAft>
              <a:buSzPts val="1520"/>
              <a:buNone/>
              <a:defRPr sz="1200" b="1"/>
            </a:lvl5pPr>
            <a:lvl6pPr marL="2057400" lvl="5" indent="-171450" algn="l">
              <a:spcBef>
                <a:spcPts val="240"/>
              </a:spcBef>
              <a:spcAft>
                <a:spcPts val="0"/>
              </a:spcAft>
              <a:buSzPts val="1520"/>
              <a:buNone/>
              <a:defRPr sz="1200" b="1"/>
            </a:lvl6pPr>
            <a:lvl7pPr marL="2400300" lvl="6" indent="-171450" algn="l">
              <a:spcBef>
                <a:spcPts val="240"/>
              </a:spcBef>
              <a:spcAft>
                <a:spcPts val="0"/>
              </a:spcAft>
              <a:buSzPts val="1520"/>
              <a:buNone/>
              <a:defRPr sz="1200" b="1"/>
            </a:lvl7pPr>
            <a:lvl8pPr marL="2743200" lvl="7" indent="-171450" algn="l">
              <a:spcBef>
                <a:spcPts val="240"/>
              </a:spcBef>
              <a:spcAft>
                <a:spcPts val="0"/>
              </a:spcAft>
              <a:buSzPts val="1520"/>
              <a:buNone/>
              <a:defRPr sz="1200" b="1"/>
            </a:lvl8pPr>
            <a:lvl9pPr marL="3086100" lvl="8" indent="-171450" algn="l">
              <a:spcBef>
                <a:spcPts val="240"/>
              </a:spcBef>
              <a:spcAft>
                <a:spcPts val="0"/>
              </a:spcAft>
              <a:buSzPts val="1520"/>
              <a:buNone/>
              <a:defRPr sz="1200" b="1"/>
            </a:lvl9pPr>
          </a:lstStyle>
          <a:p>
            <a:endParaRPr/>
          </a:p>
        </p:txBody>
      </p:sp>
      <p:sp>
        <p:nvSpPr>
          <p:cNvPr id="60" name="Google Shape;60;p23"/>
          <p:cNvSpPr txBox="1">
            <a:spLocks noGrp="1"/>
          </p:cNvSpPr>
          <p:nvPr>
            <p:ph type="body" idx="2"/>
          </p:nvPr>
        </p:nvSpPr>
        <p:spPr>
          <a:xfrm>
            <a:off x="5291092" y="2038387"/>
            <a:ext cx="3014708" cy="542394"/>
          </a:xfrm>
          <a:prstGeom prst="rect">
            <a:avLst/>
          </a:prstGeom>
          <a:noFill/>
          <a:ln>
            <a:noFill/>
          </a:ln>
        </p:spPr>
        <p:txBody>
          <a:bodyPr spcFirstLastPara="1" wrap="square" lIns="91425" tIns="45700" rIns="91425" bIns="45700" anchor="b" anchorCtr="0">
            <a:noAutofit/>
          </a:bodyPr>
          <a:lstStyle>
            <a:lvl1pPr marL="342900" lvl="0" indent="-171450" algn="ctr">
              <a:spcBef>
                <a:spcPts val="360"/>
              </a:spcBef>
              <a:spcAft>
                <a:spcPts val="0"/>
              </a:spcAft>
              <a:buSzPts val="2280"/>
              <a:buNone/>
              <a:defRPr sz="1800" b="0">
                <a:solidFill>
                  <a:schemeClr val="dk2"/>
                </a:solidFill>
                <a:latin typeface="Cambria"/>
                <a:ea typeface="Cambria"/>
                <a:cs typeface="Cambria"/>
                <a:sym typeface="Cambria"/>
              </a:defRPr>
            </a:lvl1pPr>
            <a:lvl2pPr marL="685800" lvl="1" indent="-171450" algn="l">
              <a:spcBef>
                <a:spcPts val="300"/>
              </a:spcBef>
              <a:spcAft>
                <a:spcPts val="0"/>
              </a:spcAft>
              <a:buSzPts val="1900"/>
              <a:buNone/>
              <a:defRPr sz="1500" b="1"/>
            </a:lvl2pPr>
            <a:lvl3pPr marL="1028700" lvl="2" indent="-171450" algn="l">
              <a:spcBef>
                <a:spcPts val="270"/>
              </a:spcBef>
              <a:spcAft>
                <a:spcPts val="0"/>
              </a:spcAft>
              <a:buSzPts val="1710"/>
              <a:buNone/>
              <a:defRPr sz="1350" b="1"/>
            </a:lvl3pPr>
            <a:lvl4pPr marL="1371600" lvl="3" indent="-171450" algn="l">
              <a:spcBef>
                <a:spcPts val="240"/>
              </a:spcBef>
              <a:spcAft>
                <a:spcPts val="0"/>
              </a:spcAft>
              <a:buSzPts val="1520"/>
              <a:buNone/>
              <a:defRPr sz="1200" b="1"/>
            </a:lvl4pPr>
            <a:lvl5pPr marL="1714500" lvl="4" indent="-171450" algn="l">
              <a:spcBef>
                <a:spcPts val="240"/>
              </a:spcBef>
              <a:spcAft>
                <a:spcPts val="0"/>
              </a:spcAft>
              <a:buSzPts val="1520"/>
              <a:buNone/>
              <a:defRPr sz="1200" b="1"/>
            </a:lvl5pPr>
            <a:lvl6pPr marL="2057400" lvl="5" indent="-171450" algn="l">
              <a:spcBef>
                <a:spcPts val="240"/>
              </a:spcBef>
              <a:spcAft>
                <a:spcPts val="0"/>
              </a:spcAft>
              <a:buSzPts val="1520"/>
              <a:buNone/>
              <a:defRPr sz="1200" b="1"/>
            </a:lvl6pPr>
            <a:lvl7pPr marL="2400300" lvl="6" indent="-171450" algn="l">
              <a:spcBef>
                <a:spcPts val="240"/>
              </a:spcBef>
              <a:spcAft>
                <a:spcPts val="0"/>
              </a:spcAft>
              <a:buSzPts val="1520"/>
              <a:buNone/>
              <a:defRPr sz="1200" b="1"/>
            </a:lvl7pPr>
            <a:lvl8pPr marL="2743200" lvl="7" indent="-171450" algn="l">
              <a:spcBef>
                <a:spcPts val="240"/>
              </a:spcBef>
              <a:spcAft>
                <a:spcPts val="0"/>
              </a:spcAft>
              <a:buSzPts val="1520"/>
              <a:buNone/>
              <a:defRPr sz="1200" b="1"/>
            </a:lvl8pPr>
            <a:lvl9pPr marL="3086100" lvl="8" indent="-171450" algn="l">
              <a:spcBef>
                <a:spcPts val="240"/>
              </a:spcBef>
              <a:spcAft>
                <a:spcPts val="0"/>
              </a:spcAft>
              <a:buSzPts val="1520"/>
              <a:buNone/>
              <a:defRPr sz="1200" b="1"/>
            </a:lvl9pPr>
          </a:lstStyle>
          <a:p>
            <a:endParaRPr/>
          </a:p>
        </p:txBody>
      </p:sp>
      <p:sp>
        <p:nvSpPr>
          <p:cNvPr id="61" name="Google Shape;61;p23"/>
          <p:cNvSpPr txBox="1">
            <a:spLocks noGrp="1"/>
          </p:cNvSpPr>
          <p:nvPr>
            <p:ph type="body" idx="3"/>
          </p:nvPr>
        </p:nvSpPr>
        <p:spPr>
          <a:xfrm>
            <a:off x="841248" y="2743199"/>
            <a:ext cx="3017520" cy="3246120"/>
          </a:xfrm>
          <a:prstGeom prst="rect">
            <a:avLst/>
          </a:prstGeom>
          <a:noFill/>
          <a:ln>
            <a:noFill/>
          </a:ln>
        </p:spPr>
        <p:txBody>
          <a:bodyPr spcFirstLastPara="1" wrap="square" lIns="91425" tIns="45700" rIns="91425" bIns="45700" anchor="t"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62" name="Google Shape;62;p23"/>
          <p:cNvSpPr txBox="1">
            <a:spLocks noGrp="1"/>
          </p:cNvSpPr>
          <p:nvPr>
            <p:ph type="body" idx="4"/>
          </p:nvPr>
        </p:nvSpPr>
        <p:spPr>
          <a:xfrm>
            <a:off x="5294376" y="2743200"/>
            <a:ext cx="3017520" cy="3246120"/>
          </a:xfrm>
          <a:prstGeom prst="rect">
            <a:avLst/>
          </a:prstGeom>
          <a:noFill/>
          <a:ln>
            <a:noFill/>
          </a:ln>
        </p:spPr>
        <p:txBody>
          <a:bodyPr spcFirstLastPara="1" wrap="square" lIns="91425" tIns="45700" rIns="91425" bIns="45700" anchor="t"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63" name="Google Shape;63;p23"/>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23"/>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5" name="Google Shape;65;p23"/>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255990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66"/>
        <p:cNvGrpSpPr/>
        <p:nvPr/>
      </p:nvGrpSpPr>
      <p:grpSpPr>
        <a:xfrm>
          <a:off x="0" y="0"/>
          <a:ext cx="0" cy="0"/>
          <a:chOff x="0" y="0"/>
          <a:chExt cx="0" cy="0"/>
        </a:xfrm>
      </p:grpSpPr>
      <p:sp>
        <p:nvSpPr>
          <p:cNvPr id="67" name="Google Shape;67;p24"/>
          <p:cNvSpPr txBox="1">
            <a:spLocks noGrp="1"/>
          </p:cNvSpPr>
          <p:nvPr>
            <p:ph type="title"/>
          </p:nvPr>
        </p:nvSpPr>
        <p:spPr>
          <a:xfrm>
            <a:off x="550864" y="436565"/>
            <a:ext cx="8042275" cy="144303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24"/>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24"/>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24"/>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863274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1"/>
        <p:cNvGrpSpPr/>
        <p:nvPr/>
      </p:nvGrpSpPr>
      <p:grpSpPr>
        <a:xfrm>
          <a:off x="0" y="0"/>
          <a:ext cx="0" cy="0"/>
          <a:chOff x="0" y="0"/>
          <a:chExt cx="0" cy="0"/>
        </a:xfrm>
      </p:grpSpPr>
      <p:sp>
        <p:nvSpPr>
          <p:cNvPr id="72" name="Google Shape;72;p25"/>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3" name="Google Shape;73;p25"/>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25"/>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555478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75"/>
        <p:cNvGrpSpPr/>
        <p:nvPr/>
      </p:nvGrpSpPr>
      <p:grpSpPr>
        <a:xfrm>
          <a:off x="0" y="0"/>
          <a:ext cx="0" cy="0"/>
          <a:chOff x="0" y="0"/>
          <a:chExt cx="0" cy="0"/>
        </a:xfrm>
      </p:grpSpPr>
      <p:sp>
        <p:nvSpPr>
          <p:cNvPr id="76" name="Google Shape;76;p26"/>
          <p:cNvSpPr txBox="1">
            <a:spLocks noGrp="1"/>
          </p:cNvSpPr>
          <p:nvPr>
            <p:ph type="title"/>
          </p:nvPr>
        </p:nvSpPr>
        <p:spPr>
          <a:xfrm>
            <a:off x="551281" y="1487083"/>
            <a:ext cx="3008313" cy="1921339"/>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1800" b="0"/>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7" name="Google Shape;77;p26"/>
          <p:cNvSpPr txBox="1">
            <a:spLocks noGrp="1"/>
          </p:cNvSpPr>
          <p:nvPr>
            <p:ph type="body" idx="1"/>
          </p:nvPr>
        </p:nvSpPr>
        <p:spPr>
          <a:xfrm>
            <a:off x="3893350" y="835428"/>
            <a:ext cx="4699370" cy="5151526"/>
          </a:xfrm>
          <a:prstGeom prst="rect">
            <a:avLst/>
          </a:prstGeom>
          <a:noFill/>
          <a:ln>
            <a:noFill/>
          </a:ln>
        </p:spPr>
        <p:txBody>
          <a:bodyPr spcFirstLastPara="1" wrap="square" lIns="91425" tIns="45700" rIns="91425" bIns="45700" anchor="ctr" anchorCtr="0">
            <a:noAutofit/>
          </a:bodyPr>
          <a:lstStyle>
            <a:lvl1pPr marL="342900" lvl="0" indent="-280035" algn="l">
              <a:spcBef>
                <a:spcPts val="360"/>
              </a:spcBef>
              <a:spcAft>
                <a:spcPts val="0"/>
              </a:spcAft>
              <a:buSzPts val="2280"/>
              <a:buChar char="0"/>
              <a:defRPr sz="1800"/>
            </a:lvl1pPr>
            <a:lvl2pPr marL="685800" lvl="1" indent="-270986" algn="l">
              <a:spcBef>
                <a:spcPts val="330"/>
              </a:spcBef>
              <a:spcAft>
                <a:spcPts val="0"/>
              </a:spcAft>
              <a:buSzPts val="2090"/>
              <a:buChar char="0"/>
              <a:defRPr sz="1650"/>
            </a:lvl2pPr>
            <a:lvl3pPr marL="1028700" lvl="2" indent="-261938" algn="l">
              <a:spcBef>
                <a:spcPts val="300"/>
              </a:spcBef>
              <a:spcAft>
                <a:spcPts val="0"/>
              </a:spcAft>
              <a:buSzPts val="1900"/>
              <a:buChar char="0"/>
              <a:defRPr sz="1500"/>
            </a:lvl3pPr>
            <a:lvl4pPr marL="1371600" lvl="3" indent="-252889" algn="l">
              <a:spcBef>
                <a:spcPts val="270"/>
              </a:spcBef>
              <a:spcAft>
                <a:spcPts val="0"/>
              </a:spcAft>
              <a:buSzPts val="1710"/>
              <a:buChar char="0"/>
              <a:defRPr sz="1350"/>
            </a:lvl4pPr>
            <a:lvl5pPr marL="1714500" lvl="4" indent="-243840" algn="l">
              <a:spcBef>
                <a:spcPts val="240"/>
              </a:spcBef>
              <a:spcAft>
                <a:spcPts val="0"/>
              </a:spcAft>
              <a:buSzPts val="1520"/>
              <a:buChar char="0"/>
              <a:defRPr sz="1200"/>
            </a:lvl5pPr>
            <a:lvl6pPr marL="2057400" lvl="5" indent="-261938" algn="l">
              <a:spcBef>
                <a:spcPts val="300"/>
              </a:spcBef>
              <a:spcAft>
                <a:spcPts val="0"/>
              </a:spcAft>
              <a:buSzPts val="1900"/>
              <a:buChar char="0"/>
              <a:defRPr sz="1500"/>
            </a:lvl6pPr>
            <a:lvl7pPr marL="2400300" lvl="6" indent="-261938" algn="l">
              <a:spcBef>
                <a:spcPts val="300"/>
              </a:spcBef>
              <a:spcAft>
                <a:spcPts val="0"/>
              </a:spcAft>
              <a:buSzPts val="1900"/>
              <a:buChar char="0"/>
              <a:defRPr sz="1500"/>
            </a:lvl7pPr>
            <a:lvl8pPr marL="2743200" lvl="7" indent="-261938" algn="l">
              <a:spcBef>
                <a:spcPts val="300"/>
              </a:spcBef>
              <a:spcAft>
                <a:spcPts val="0"/>
              </a:spcAft>
              <a:buSzPts val="1900"/>
              <a:buChar char="0"/>
              <a:defRPr sz="1500"/>
            </a:lvl8pPr>
            <a:lvl9pPr marL="3086100" lvl="8" indent="-261938" algn="l">
              <a:spcBef>
                <a:spcPts val="300"/>
              </a:spcBef>
              <a:spcAft>
                <a:spcPts val="0"/>
              </a:spcAft>
              <a:buSzPts val="1900"/>
              <a:buChar char="0"/>
              <a:defRPr sz="1500"/>
            </a:lvl9pPr>
          </a:lstStyle>
          <a:p>
            <a:endParaRPr/>
          </a:p>
        </p:txBody>
      </p:sp>
      <p:sp>
        <p:nvSpPr>
          <p:cNvPr id="78" name="Google Shape;78;p26"/>
          <p:cNvSpPr txBox="1">
            <a:spLocks noGrp="1"/>
          </p:cNvSpPr>
          <p:nvPr>
            <p:ph type="body" idx="2"/>
          </p:nvPr>
        </p:nvSpPr>
        <p:spPr>
          <a:xfrm>
            <a:off x="551281" y="3408422"/>
            <a:ext cx="3008313" cy="1919091"/>
          </a:xfrm>
          <a:prstGeom prst="rect">
            <a:avLst/>
          </a:prstGeom>
          <a:noFill/>
          <a:ln>
            <a:noFill/>
          </a:ln>
        </p:spPr>
        <p:txBody>
          <a:bodyPr spcFirstLastPara="1" wrap="square" lIns="91425" tIns="45700" rIns="91425" bIns="45700" anchor="t" anchorCtr="0">
            <a:noAutofit/>
          </a:bodyPr>
          <a:lstStyle>
            <a:lvl1pPr marL="342900" lvl="0" indent="-171450" algn="l">
              <a:spcBef>
                <a:spcPts val="210"/>
              </a:spcBef>
              <a:spcAft>
                <a:spcPts val="0"/>
              </a:spcAft>
              <a:buSzPts val="1330"/>
              <a:buNone/>
              <a:defRPr sz="1050"/>
            </a:lvl1pPr>
            <a:lvl2pPr marL="685800" lvl="1" indent="-171450" algn="l">
              <a:spcBef>
                <a:spcPts val="180"/>
              </a:spcBef>
              <a:spcAft>
                <a:spcPts val="0"/>
              </a:spcAft>
              <a:buSzPts val="1140"/>
              <a:buNone/>
              <a:defRPr sz="900"/>
            </a:lvl2pPr>
            <a:lvl3pPr marL="1028700" lvl="2" indent="-171450" algn="l">
              <a:spcBef>
                <a:spcPts val="150"/>
              </a:spcBef>
              <a:spcAft>
                <a:spcPts val="0"/>
              </a:spcAft>
              <a:buSzPts val="950"/>
              <a:buNone/>
              <a:defRPr sz="750"/>
            </a:lvl3pPr>
            <a:lvl4pPr marL="1371600" lvl="3" indent="-171450" algn="l">
              <a:spcBef>
                <a:spcPts val="135"/>
              </a:spcBef>
              <a:spcAft>
                <a:spcPts val="0"/>
              </a:spcAft>
              <a:buSzPts val="855"/>
              <a:buNone/>
              <a:defRPr sz="675"/>
            </a:lvl4pPr>
            <a:lvl5pPr marL="1714500" lvl="4" indent="-171450" algn="l">
              <a:spcBef>
                <a:spcPts val="135"/>
              </a:spcBef>
              <a:spcAft>
                <a:spcPts val="0"/>
              </a:spcAft>
              <a:buSzPts val="855"/>
              <a:buNone/>
              <a:defRPr sz="675"/>
            </a:lvl5pPr>
            <a:lvl6pPr marL="2057400" lvl="5" indent="-171450" algn="l">
              <a:spcBef>
                <a:spcPts val="135"/>
              </a:spcBef>
              <a:spcAft>
                <a:spcPts val="0"/>
              </a:spcAft>
              <a:buSzPts val="855"/>
              <a:buNone/>
              <a:defRPr sz="675"/>
            </a:lvl6pPr>
            <a:lvl7pPr marL="2400300" lvl="6" indent="-171450" algn="l">
              <a:spcBef>
                <a:spcPts val="135"/>
              </a:spcBef>
              <a:spcAft>
                <a:spcPts val="0"/>
              </a:spcAft>
              <a:buSzPts val="855"/>
              <a:buNone/>
              <a:defRPr sz="675"/>
            </a:lvl7pPr>
            <a:lvl8pPr marL="2743200" lvl="7" indent="-171450" algn="l">
              <a:spcBef>
                <a:spcPts val="135"/>
              </a:spcBef>
              <a:spcAft>
                <a:spcPts val="0"/>
              </a:spcAft>
              <a:buSzPts val="855"/>
              <a:buNone/>
              <a:defRPr sz="675"/>
            </a:lvl8pPr>
            <a:lvl9pPr marL="3086100" lvl="8" indent="-171450" algn="l">
              <a:spcBef>
                <a:spcPts val="135"/>
              </a:spcBef>
              <a:spcAft>
                <a:spcPts val="0"/>
              </a:spcAft>
              <a:buSzPts val="855"/>
              <a:buNone/>
              <a:defRPr sz="675"/>
            </a:lvl9pPr>
          </a:lstStyle>
          <a:p>
            <a:endParaRPr/>
          </a:p>
        </p:txBody>
      </p:sp>
      <p:sp>
        <p:nvSpPr>
          <p:cNvPr id="79" name="Google Shape;79;p26"/>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0" name="Google Shape;80;p26"/>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26"/>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723347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82"/>
        <p:cNvGrpSpPr/>
        <p:nvPr/>
      </p:nvGrpSpPr>
      <p:grpSpPr>
        <a:xfrm>
          <a:off x="0" y="0"/>
          <a:ext cx="0" cy="0"/>
          <a:chOff x="0" y="0"/>
          <a:chExt cx="0" cy="0"/>
        </a:xfrm>
      </p:grpSpPr>
      <p:pic>
        <p:nvPicPr>
          <p:cNvPr id="83" name="Google Shape;83;p27" descr="tape.png"/>
          <p:cNvPicPr preferRelativeResize="0"/>
          <p:nvPr/>
        </p:nvPicPr>
        <p:blipFill rotWithShape="1">
          <a:blip r:embed="rId2">
            <a:alphaModFix/>
          </a:blip>
          <a:srcRect/>
          <a:stretch/>
        </p:blipFill>
        <p:spPr>
          <a:xfrm>
            <a:off x="3124200" y="190500"/>
            <a:ext cx="2781300" cy="819150"/>
          </a:xfrm>
          <a:prstGeom prst="rect">
            <a:avLst/>
          </a:prstGeom>
          <a:noFill/>
          <a:ln>
            <a:noFill/>
          </a:ln>
        </p:spPr>
      </p:pic>
      <p:sp>
        <p:nvSpPr>
          <p:cNvPr id="84" name="Google Shape;84;p27"/>
          <p:cNvSpPr txBox="1">
            <a:spLocks noGrp="1"/>
          </p:cNvSpPr>
          <p:nvPr>
            <p:ph type="title"/>
          </p:nvPr>
        </p:nvSpPr>
        <p:spPr>
          <a:xfrm>
            <a:off x="551280" y="4669656"/>
            <a:ext cx="8041440" cy="719865"/>
          </a:xfrm>
          <a:prstGeom prst="rect">
            <a:avLst/>
          </a:prstGeom>
          <a:noFill/>
          <a:ln>
            <a:noFill/>
          </a:ln>
        </p:spPr>
        <p:txBody>
          <a:bodyPr spcFirstLastPara="1" wrap="square" lIns="91425" tIns="45700" rIns="91425" bIns="45700" anchor="b" anchorCtr="0">
            <a:noAutofit/>
          </a:bodyPr>
          <a:lstStyle>
            <a:lvl1pPr lvl="0" algn="ctr">
              <a:spcBef>
                <a:spcPts val="0"/>
              </a:spcBef>
              <a:spcAft>
                <a:spcPts val="0"/>
              </a:spcAft>
              <a:buSzPts val="1400"/>
              <a:buNone/>
              <a:defRPr sz="2700" b="0"/>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5" name="Google Shape;85;p27"/>
          <p:cNvSpPr>
            <a:spLocks noGrp="1"/>
          </p:cNvSpPr>
          <p:nvPr>
            <p:ph type="pic" idx="2"/>
          </p:nvPr>
        </p:nvSpPr>
        <p:spPr>
          <a:xfrm rot="-60000">
            <a:off x="2130552" y="594360"/>
            <a:ext cx="4873752" cy="3657600"/>
          </a:xfrm>
          <a:prstGeom prst="rect">
            <a:avLst/>
          </a:prstGeom>
          <a:solidFill>
            <a:srgbClr val="ECECEC"/>
          </a:solidFill>
          <a:ln w="190500" cap="sq" cmpd="sng">
            <a:solidFill>
              <a:srgbClr val="FFFFFF"/>
            </a:solidFill>
            <a:prstDash val="solid"/>
            <a:miter lim="800000"/>
            <a:headEnd type="none" w="sm" len="sm"/>
            <a:tailEnd type="none" w="sm" len="sm"/>
          </a:ln>
          <a:effectLst>
            <a:outerShdw blurRad="55000" dist="18000" dir="5400000" algn="tl" rotWithShape="0">
              <a:srgbClr val="000000">
                <a:alpha val="40000"/>
              </a:srgbClr>
            </a:outerShdw>
          </a:effectLst>
        </p:spPr>
        <p:txBody>
          <a:bodyPr spcFirstLastPara="1" wrap="square" lIns="91425" tIns="45700" rIns="91425" bIns="45700" anchor="t" anchorCtr="0">
            <a:normAutofit/>
          </a:bodyPr>
          <a:lstStyle>
            <a:lvl1pPr marR="0" lvl="0" algn="l" rtl="0">
              <a:spcBef>
                <a:spcPts val="480"/>
              </a:spcBef>
              <a:spcAft>
                <a:spcPts val="0"/>
              </a:spcAft>
              <a:buClr>
                <a:schemeClr val="accent1"/>
              </a:buClr>
              <a:buSzPts val="3040"/>
              <a:buFont typeface="Arial"/>
              <a:buNone/>
              <a:defRPr sz="2400" b="0" i="0" u="none" strike="noStrike" cap="none">
                <a:solidFill>
                  <a:srgbClr val="404040"/>
                </a:solidFill>
                <a:latin typeface="Cambria"/>
                <a:ea typeface="Cambria"/>
                <a:cs typeface="Cambria"/>
                <a:sym typeface="Cambria"/>
              </a:defRPr>
            </a:lvl1pPr>
            <a:lvl2pPr marR="0" lvl="1" algn="l" rtl="0">
              <a:spcBef>
                <a:spcPts val="420"/>
              </a:spcBef>
              <a:spcAft>
                <a:spcPts val="0"/>
              </a:spcAft>
              <a:buClr>
                <a:schemeClr val="accent1"/>
              </a:buClr>
              <a:buSzPts val="2660"/>
              <a:buFont typeface="Arial"/>
              <a:buNone/>
              <a:defRPr sz="2100" b="0" i="0" u="none" strike="noStrike" cap="none">
                <a:solidFill>
                  <a:srgbClr val="404040"/>
                </a:solidFill>
                <a:latin typeface="Cambria"/>
                <a:ea typeface="Cambria"/>
                <a:cs typeface="Cambria"/>
                <a:sym typeface="Cambria"/>
              </a:defRPr>
            </a:lvl2pPr>
            <a:lvl3pPr marR="0" lvl="2" algn="l" rtl="0">
              <a:spcBef>
                <a:spcPts val="360"/>
              </a:spcBef>
              <a:spcAft>
                <a:spcPts val="0"/>
              </a:spcAft>
              <a:buClr>
                <a:schemeClr val="accent1"/>
              </a:buClr>
              <a:buSzPts val="2280"/>
              <a:buFont typeface="Arial"/>
              <a:buNone/>
              <a:defRPr sz="1800" b="0" i="0" u="none" strike="noStrike" cap="none">
                <a:solidFill>
                  <a:srgbClr val="404040"/>
                </a:solidFill>
                <a:latin typeface="Cambria"/>
                <a:ea typeface="Cambria"/>
                <a:cs typeface="Cambria"/>
                <a:sym typeface="Cambria"/>
              </a:defRPr>
            </a:lvl3pPr>
            <a:lvl4pPr marR="0" lvl="3" algn="l" rtl="0">
              <a:spcBef>
                <a:spcPts val="300"/>
              </a:spcBef>
              <a:spcAft>
                <a:spcPts val="0"/>
              </a:spcAft>
              <a:buClr>
                <a:schemeClr val="accent1"/>
              </a:buClr>
              <a:buSzPts val="1900"/>
              <a:buFont typeface="Arial"/>
              <a:buNone/>
              <a:defRPr sz="1500" b="0" i="0" u="none" strike="noStrike" cap="none">
                <a:solidFill>
                  <a:srgbClr val="404040"/>
                </a:solidFill>
                <a:latin typeface="Cambria"/>
                <a:ea typeface="Cambria"/>
                <a:cs typeface="Cambria"/>
                <a:sym typeface="Cambria"/>
              </a:defRPr>
            </a:lvl4pPr>
            <a:lvl5pPr marR="0" lvl="4" algn="l" rtl="0">
              <a:spcBef>
                <a:spcPts val="300"/>
              </a:spcBef>
              <a:spcAft>
                <a:spcPts val="0"/>
              </a:spcAft>
              <a:buClr>
                <a:schemeClr val="accent1"/>
              </a:buClr>
              <a:buSzPts val="1900"/>
              <a:buFont typeface="Arial"/>
              <a:buNone/>
              <a:defRPr sz="1500" b="0" i="0" u="none" strike="noStrike" cap="none">
                <a:solidFill>
                  <a:srgbClr val="404040"/>
                </a:solidFill>
                <a:latin typeface="Cambria"/>
                <a:ea typeface="Cambria"/>
                <a:cs typeface="Cambria"/>
                <a:sym typeface="Cambria"/>
              </a:defRPr>
            </a:lvl5pPr>
            <a:lvl6pPr marR="0" lvl="5" algn="l" rtl="0">
              <a:spcBef>
                <a:spcPts val="300"/>
              </a:spcBef>
              <a:spcAft>
                <a:spcPts val="0"/>
              </a:spcAft>
              <a:buClr>
                <a:schemeClr val="accent1"/>
              </a:buClr>
              <a:buSzPts val="1900"/>
              <a:buFont typeface="Arial"/>
              <a:buNone/>
              <a:defRPr sz="1500" b="0" i="0" u="none" strike="noStrike" cap="none">
                <a:solidFill>
                  <a:srgbClr val="3F3F3F"/>
                </a:solidFill>
                <a:latin typeface="Cambria"/>
                <a:ea typeface="Cambria"/>
                <a:cs typeface="Cambria"/>
                <a:sym typeface="Cambria"/>
              </a:defRPr>
            </a:lvl6pPr>
            <a:lvl7pPr marR="0" lvl="6" algn="l" rtl="0">
              <a:spcBef>
                <a:spcPts val="300"/>
              </a:spcBef>
              <a:spcAft>
                <a:spcPts val="0"/>
              </a:spcAft>
              <a:buClr>
                <a:schemeClr val="accent1"/>
              </a:buClr>
              <a:buSzPts val="1900"/>
              <a:buFont typeface="Arial"/>
              <a:buNone/>
              <a:defRPr sz="1500" b="0" i="0" u="none" strike="noStrike" cap="none">
                <a:solidFill>
                  <a:srgbClr val="3F3F3F"/>
                </a:solidFill>
                <a:latin typeface="Cambria"/>
                <a:ea typeface="Cambria"/>
                <a:cs typeface="Cambria"/>
                <a:sym typeface="Cambria"/>
              </a:defRPr>
            </a:lvl7pPr>
            <a:lvl8pPr marR="0" lvl="7" algn="l" rtl="0">
              <a:spcBef>
                <a:spcPts val="300"/>
              </a:spcBef>
              <a:spcAft>
                <a:spcPts val="0"/>
              </a:spcAft>
              <a:buClr>
                <a:schemeClr val="accent1"/>
              </a:buClr>
              <a:buSzPts val="1900"/>
              <a:buFont typeface="Arial"/>
              <a:buNone/>
              <a:defRPr sz="1500" b="0" i="0" u="none" strike="noStrike" cap="none">
                <a:solidFill>
                  <a:srgbClr val="3F3F3F"/>
                </a:solidFill>
                <a:latin typeface="Cambria"/>
                <a:ea typeface="Cambria"/>
                <a:cs typeface="Cambria"/>
                <a:sym typeface="Cambria"/>
              </a:defRPr>
            </a:lvl8pPr>
            <a:lvl9pPr marR="0" lvl="8" algn="l" rtl="0">
              <a:spcBef>
                <a:spcPts val="300"/>
              </a:spcBef>
              <a:spcAft>
                <a:spcPts val="0"/>
              </a:spcAft>
              <a:buClr>
                <a:schemeClr val="accent1"/>
              </a:buClr>
              <a:buSzPts val="1900"/>
              <a:buFont typeface="Arial"/>
              <a:buNone/>
              <a:defRPr sz="1500" b="0" i="0" u="none" strike="noStrike" cap="none">
                <a:solidFill>
                  <a:srgbClr val="3F3F3F"/>
                </a:solidFill>
                <a:latin typeface="Cambria"/>
                <a:ea typeface="Cambria"/>
                <a:cs typeface="Cambria"/>
                <a:sym typeface="Cambria"/>
              </a:defRPr>
            </a:lvl9pPr>
          </a:lstStyle>
          <a:p>
            <a:endParaRPr/>
          </a:p>
        </p:txBody>
      </p:sp>
      <p:sp>
        <p:nvSpPr>
          <p:cNvPr id="86" name="Google Shape;86;p27"/>
          <p:cNvSpPr txBox="1">
            <a:spLocks noGrp="1"/>
          </p:cNvSpPr>
          <p:nvPr>
            <p:ph type="body" idx="1"/>
          </p:nvPr>
        </p:nvSpPr>
        <p:spPr>
          <a:xfrm>
            <a:off x="1219200" y="5416153"/>
            <a:ext cx="6705600" cy="603126"/>
          </a:xfrm>
          <a:prstGeom prst="rect">
            <a:avLst/>
          </a:prstGeom>
          <a:noFill/>
          <a:ln>
            <a:noFill/>
          </a:ln>
        </p:spPr>
        <p:txBody>
          <a:bodyPr spcFirstLastPara="1" wrap="square" lIns="91425" tIns="45700" rIns="91425" bIns="45700" anchor="t" anchorCtr="0">
            <a:normAutofit/>
          </a:bodyPr>
          <a:lstStyle>
            <a:lvl1pPr marL="342900" lvl="0" indent="-171450" algn="ctr">
              <a:spcBef>
                <a:spcPts val="240"/>
              </a:spcBef>
              <a:spcAft>
                <a:spcPts val="0"/>
              </a:spcAft>
              <a:buSzPts val="1520"/>
              <a:buNone/>
              <a:defRPr sz="1200"/>
            </a:lvl1pPr>
            <a:lvl2pPr marL="685800" lvl="1" indent="-171450" algn="l">
              <a:spcBef>
                <a:spcPts val="180"/>
              </a:spcBef>
              <a:spcAft>
                <a:spcPts val="0"/>
              </a:spcAft>
              <a:buSzPts val="1140"/>
              <a:buNone/>
              <a:defRPr sz="900"/>
            </a:lvl2pPr>
            <a:lvl3pPr marL="1028700" lvl="2" indent="-171450" algn="l">
              <a:spcBef>
                <a:spcPts val="150"/>
              </a:spcBef>
              <a:spcAft>
                <a:spcPts val="0"/>
              </a:spcAft>
              <a:buSzPts val="950"/>
              <a:buNone/>
              <a:defRPr sz="750"/>
            </a:lvl3pPr>
            <a:lvl4pPr marL="1371600" lvl="3" indent="-171450" algn="l">
              <a:spcBef>
                <a:spcPts val="135"/>
              </a:spcBef>
              <a:spcAft>
                <a:spcPts val="0"/>
              </a:spcAft>
              <a:buSzPts val="855"/>
              <a:buNone/>
              <a:defRPr sz="675"/>
            </a:lvl4pPr>
            <a:lvl5pPr marL="1714500" lvl="4" indent="-171450" algn="l">
              <a:spcBef>
                <a:spcPts val="135"/>
              </a:spcBef>
              <a:spcAft>
                <a:spcPts val="0"/>
              </a:spcAft>
              <a:buSzPts val="855"/>
              <a:buNone/>
              <a:defRPr sz="675"/>
            </a:lvl5pPr>
            <a:lvl6pPr marL="2057400" lvl="5" indent="-171450" algn="l">
              <a:spcBef>
                <a:spcPts val="135"/>
              </a:spcBef>
              <a:spcAft>
                <a:spcPts val="0"/>
              </a:spcAft>
              <a:buSzPts val="855"/>
              <a:buNone/>
              <a:defRPr sz="675"/>
            </a:lvl6pPr>
            <a:lvl7pPr marL="2400300" lvl="6" indent="-171450" algn="l">
              <a:spcBef>
                <a:spcPts val="135"/>
              </a:spcBef>
              <a:spcAft>
                <a:spcPts val="0"/>
              </a:spcAft>
              <a:buSzPts val="855"/>
              <a:buNone/>
              <a:defRPr sz="675"/>
            </a:lvl7pPr>
            <a:lvl8pPr marL="2743200" lvl="7" indent="-171450" algn="l">
              <a:spcBef>
                <a:spcPts val="135"/>
              </a:spcBef>
              <a:spcAft>
                <a:spcPts val="0"/>
              </a:spcAft>
              <a:buSzPts val="855"/>
              <a:buNone/>
              <a:defRPr sz="675"/>
            </a:lvl8pPr>
            <a:lvl9pPr marL="3086100" lvl="8" indent="-171450" algn="l">
              <a:spcBef>
                <a:spcPts val="135"/>
              </a:spcBef>
              <a:spcAft>
                <a:spcPts val="0"/>
              </a:spcAft>
              <a:buSzPts val="855"/>
              <a:buNone/>
              <a:defRPr sz="675"/>
            </a:lvl9pPr>
          </a:lstStyle>
          <a:p>
            <a:endParaRPr/>
          </a:p>
        </p:txBody>
      </p:sp>
      <p:sp>
        <p:nvSpPr>
          <p:cNvPr id="87" name="Google Shape;87;p27"/>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27"/>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9" name="Google Shape;89;p27"/>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21676821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90"/>
        <p:cNvGrpSpPr/>
        <p:nvPr/>
      </p:nvGrpSpPr>
      <p:grpSpPr>
        <a:xfrm>
          <a:off x="0" y="0"/>
          <a:ext cx="0" cy="0"/>
          <a:chOff x="0" y="0"/>
          <a:chExt cx="0" cy="0"/>
        </a:xfrm>
      </p:grpSpPr>
      <p:sp>
        <p:nvSpPr>
          <p:cNvPr id="91" name="Google Shape;91;p28"/>
          <p:cNvSpPr txBox="1">
            <a:spLocks noGrp="1"/>
          </p:cNvSpPr>
          <p:nvPr>
            <p:ph type="title"/>
          </p:nvPr>
        </p:nvSpPr>
        <p:spPr>
          <a:xfrm>
            <a:off x="550864" y="436565"/>
            <a:ext cx="8042275" cy="1443037"/>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2" name="Google Shape;92;p28"/>
          <p:cNvSpPr txBox="1">
            <a:spLocks noGrp="1"/>
          </p:cNvSpPr>
          <p:nvPr>
            <p:ph type="body" idx="1"/>
          </p:nvPr>
        </p:nvSpPr>
        <p:spPr>
          <a:xfrm rot="5400000">
            <a:off x="2596356" y="280194"/>
            <a:ext cx="3951288" cy="7467600"/>
          </a:xfrm>
          <a:prstGeom prst="rect">
            <a:avLst/>
          </a:prstGeom>
          <a:noFill/>
          <a:ln>
            <a:noFill/>
          </a:ln>
        </p:spPr>
        <p:txBody>
          <a:bodyPr spcFirstLastPara="1" wrap="square" lIns="91425" tIns="45700" rIns="91425" bIns="45700" anchor="ctr"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93" name="Google Shape;93;p28"/>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4" name="Google Shape;94;p28"/>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5" name="Google Shape;95;p28"/>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6582592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96"/>
        <p:cNvGrpSpPr/>
        <p:nvPr/>
      </p:nvGrpSpPr>
      <p:grpSpPr>
        <a:xfrm>
          <a:off x="0" y="0"/>
          <a:ext cx="0" cy="0"/>
          <a:chOff x="0" y="0"/>
          <a:chExt cx="0" cy="0"/>
        </a:xfrm>
      </p:grpSpPr>
      <p:sp>
        <p:nvSpPr>
          <p:cNvPr id="97" name="Google Shape;97;p29"/>
          <p:cNvSpPr txBox="1">
            <a:spLocks noGrp="1"/>
          </p:cNvSpPr>
          <p:nvPr>
            <p:ph type="title"/>
          </p:nvPr>
        </p:nvSpPr>
        <p:spPr>
          <a:xfrm rot="5400000">
            <a:off x="4876300" y="2303380"/>
            <a:ext cx="5469523" cy="196332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8" name="Google Shape;98;p29"/>
          <p:cNvSpPr txBox="1">
            <a:spLocks noGrp="1"/>
          </p:cNvSpPr>
          <p:nvPr>
            <p:ph type="body" idx="1"/>
          </p:nvPr>
        </p:nvSpPr>
        <p:spPr>
          <a:xfrm rot="5400000">
            <a:off x="914399" y="475080"/>
            <a:ext cx="5181602" cy="5907840"/>
          </a:xfrm>
          <a:prstGeom prst="rect">
            <a:avLst/>
          </a:prstGeom>
          <a:noFill/>
          <a:ln>
            <a:noFill/>
          </a:ln>
        </p:spPr>
        <p:txBody>
          <a:bodyPr spcFirstLastPara="1" wrap="square" lIns="91425" tIns="45700" rIns="91425" bIns="45700" anchor="t" anchorCtr="0">
            <a:noAutofit/>
          </a:bodyPr>
          <a:lstStyle>
            <a:lvl1pPr marL="342900" lvl="0" indent="-252889" algn="l">
              <a:spcBef>
                <a:spcPts val="270"/>
              </a:spcBef>
              <a:spcAft>
                <a:spcPts val="0"/>
              </a:spcAft>
              <a:buSzPts val="1710"/>
              <a:buChar char="0"/>
              <a:defRPr/>
            </a:lvl1pPr>
            <a:lvl2pPr marL="685800" lvl="1" indent="-252889" algn="l">
              <a:spcBef>
                <a:spcPts val="270"/>
              </a:spcBef>
              <a:spcAft>
                <a:spcPts val="0"/>
              </a:spcAft>
              <a:buSzPts val="1710"/>
              <a:buChar char="0"/>
              <a:defRPr/>
            </a:lvl2pPr>
            <a:lvl3pPr marL="1028700" lvl="2" indent="-252889" algn="l">
              <a:spcBef>
                <a:spcPts val="270"/>
              </a:spcBef>
              <a:spcAft>
                <a:spcPts val="0"/>
              </a:spcAft>
              <a:buSzPts val="1710"/>
              <a:buChar char="0"/>
              <a:defRPr/>
            </a:lvl3pPr>
            <a:lvl4pPr marL="1371600" lvl="3" indent="-252889" algn="l">
              <a:spcBef>
                <a:spcPts val="270"/>
              </a:spcBef>
              <a:spcAft>
                <a:spcPts val="0"/>
              </a:spcAft>
              <a:buSzPts val="1710"/>
              <a:buChar char="0"/>
              <a:defRPr/>
            </a:lvl4pPr>
            <a:lvl5pPr marL="1714500" lvl="4" indent="-252889" algn="l">
              <a:spcBef>
                <a:spcPts val="270"/>
              </a:spcBef>
              <a:spcAft>
                <a:spcPts val="0"/>
              </a:spcAft>
              <a:buSzPts val="1710"/>
              <a:buChar char="0"/>
              <a:defRPr/>
            </a:lvl5pPr>
            <a:lvl6pPr marL="2057400" lvl="5" indent="-252889" algn="l">
              <a:spcBef>
                <a:spcPts val="270"/>
              </a:spcBef>
              <a:spcAft>
                <a:spcPts val="0"/>
              </a:spcAft>
              <a:buSzPts val="1710"/>
              <a:buChar char="0"/>
              <a:defRPr/>
            </a:lvl6pPr>
            <a:lvl7pPr marL="2400300" lvl="6" indent="-252889" algn="l">
              <a:spcBef>
                <a:spcPts val="270"/>
              </a:spcBef>
              <a:spcAft>
                <a:spcPts val="0"/>
              </a:spcAft>
              <a:buSzPts val="1710"/>
              <a:buChar char="0"/>
              <a:defRPr/>
            </a:lvl7pPr>
            <a:lvl8pPr marL="2743200" lvl="7" indent="-252888" algn="l">
              <a:spcBef>
                <a:spcPts val="270"/>
              </a:spcBef>
              <a:spcAft>
                <a:spcPts val="0"/>
              </a:spcAft>
              <a:buSzPts val="1710"/>
              <a:buChar char="0"/>
              <a:defRPr/>
            </a:lvl8pPr>
            <a:lvl9pPr marL="3086100" lvl="8" indent="-252888" algn="l">
              <a:spcBef>
                <a:spcPts val="270"/>
              </a:spcBef>
              <a:spcAft>
                <a:spcPts val="0"/>
              </a:spcAft>
              <a:buSzPts val="1710"/>
              <a:buChar char="0"/>
              <a:defRPr/>
            </a:lvl9pPr>
          </a:lstStyle>
          <a:p>
            <a:endParaRPr/>
          </a:p>
        </p:txBody>
      </p:sp>
      <p:sp>
        <p:nvSpPr>
          <p:cNvPr id="99" name="Google Shape;99;p29"/>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0" name="Google Shape;100;p29"/>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1" name="Google Shape;101;p29"/>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050">
                <a:solidFill>
                  <a:srgbClr val="7F7F7F"/>
                </a:solidFill>
                <a:latin typeface="Arial"/>
                <a:ea typeface="Arial"/>
                <a:cs typeface="Arial"/>
                <a:sym typeface="Arial"/>
              </a:defRPr>
            </a:lvl1pPr>
            <a:lvl2pPr marL="0" marR="0" lvl="1" indent="0" algn="r">
              <a:spcBef>
                <a:spcPts val="0"/>
              </a:spcBef>
              <a:buNone/>
              <a:defRPr sz="1050">
                <a:solidFill>
                  <a:srgbClr val="7F7F7F"/>
                </a:solidFill>
                <a:latin typeface="Arial"/>
                <a:ea typeface="Arial"/>
                <a:cs typeface="Arial"/>
                <a:sym typeface="Arial"/>
              </a:defRPr>
            </a:lvl2pPr>
            <a:lvl3pPr marL="0" marR="0" lvl="2" indent="0" algn="r">
              <a:spcBef>
                <a:spcPts val="0"/>
              </a:spcBef>
              <a:buNone/>
              <a:defRPr sz="1050">
                <a:solidFill>
                  <a:srgbClr val="7F7F7F"/>
                </a:solidFill>
                <a:latin typeface="Arial"/>
                <a:ea typeface="Arial"/>
                <a:cs typeface="Arial"/>
                <a:sym typeface="Arial"/>
              </a:defRPr>
            </a:lvl3pPr>
            <a:lvl4pPr marL="0" marR="0" lvl="3" indent="0" algn="r">
              <a:spcBef>
                <a:spcPts val="0"/>
              </a:spcBef>
              <a:buNone/>
              <a:defRPr sz="1050">
                <a:solidFill>
                  <a:srgbClr val="7F7F7F"/>
                </a:solidFill>
                <a:latin typeface="Arial"/>
                <a:ea typeface="Arial"/>
                <a:cs typeface="Arial"/>
                <a:sym typeface="Arial"/>
              </a:defRPr>
            </a:lvl4pPr>
            <a:lvl5pPr marL="0" marR="0" lvl="4" indent="0" algn="r">
              <a:spcBef>
                <a:spcPts val="0"/>
              </a:spcBef>
              <a:buNone/>
              <a:defRPr sz="1050">
                <a:solidFill>
                  <a:srgbClr val="7F7F7F"/>
                </a:solidFill>
                <a:latin typeface="Arial"/>
                <a:ea typeface="Arial"/>
                <a:cs typeface="Arial"/>
                <a:sym typeface="Arial"/>
              </a:defRPr>
            </a:lvl5pPr>
            <a:lvl6pPr marL="0" marR="0" lvl="5" indent="0" algn="r">
              <a:spcBef>
                <a:spcPts val="0"/>
              </a:spcBef>
              <a:buNone/>
              <a:defRPr sz="1050">
                <a:solidFill>
                  <a:srgbClr val="7F7F7F"/>
                </a:solidFill>
                <a:latin typeface="Arial"/>
                <a:ea typeface="Arial"/>
                <a:cs typeface="Arial"/>
                <a:sym typeface="Arial"/>
              </a:defRPr>
            </a:lvl6pPr>
            <a:lvl7pPr marL="0" marR="0" lvl="6" indent="0" algn="r">
              <a:spcBef>
                <a:spcPts val="0"/>
              </a:spcBef>
              <a:buNone/>
              <a:defRPr sz="1050">
                <a:solidFill>
                  <a:srgbClr val="7F7F7F"/>
                </a:solidFill>
                <a:latin typeface="Arial"/>
                <a:ea typeface="Arial"/>
                <a:cs typeface="Arial"/>
                <a:sym typeface="Arial"/>
              </a:defRPr>
            </a:lvl7pPr>
            <a:lvl8pPr marL="0" marR="0" lvl="7" indent="0" algn="r">
              <a:spcBef>
                <a:spcPts val="0"/>
              </a:spcBef>
              <a:buNone/>
              <a:defRPr sz="1050">
                <a:solidFill>
                  <a:srgbClr val="7F7F7F"/>
                </a:solidFill>
                <a:latin typeface="Arial"/>
                <a:ea typeface="Arial"/>
                <a:cs typeface="Arial"/>
                <a:sym typeface="Arial"/>
              </a:defRPr>
            </a:lvl8pPr>
            <a:lvl9pPr marL="0" marR="0" lvl="8" indent="0" algn="r">
              <a:spcBef>
                <a:spcPts val="0"/>
              </a:spcBef>
              <a:buNone/>
              <a:defRPr sz="1050">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7405261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1_line_head_no_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306281"/>
            <a:ext cx="8229600" cy="4730625"/>
          </a:xfrm>
        </p:spPr>
        <p:txBody>
          <a:bodyPr/>
          <a:lstStyle>
            <a:lvl1pPr>
              <a:lnSpc>
                <a:spcPct val="100000"/>
              </a:lnSpc>
              <a:buClr>
                <a:schemeClr val="bg2">
                  <a:lumMod val="40000"/>
                  <a:lumOff val="60000"/>
                </a:schemeClr>
              </a:buClr>
              <a:defRPr/>
            </a:lvl1pPr>
            <a:lvl2pPr>
              <a:lnSpc>
                <a:spcPct val="100000"/>
              </a:lnSpc>
              <a:buClr>
                <a:schemeClr val="bg2">
                  <a:lumMod val="40000"/>
                  <a:lumOff val="60000"/>
                </a:schemeClr>
              </a:buClr>
              <a:defRPr/>
            </a:lvl2pPr>
            <a:lvl3pPr>
              <a:lnSpc>
                <a:spcPct val="100000"/>
              </a:lnSpc>
              <a:buClr>
                <a:schemeClr val="bg2">
                  <a:lumMod val="40000"/>
                  <a:lumOff val="60000"/>
                </a:schemeClr>
              </a:buClr>
              <a:defRPr/>
            </a:lvl3pPr>
            <a:lvl4pPr>
              <a:lnSpc>
                <a:spcPct val="100000"/>
              </a:lnSpc>
              <a:buClr>
                <a:schemeClr val="bg2">
                  <a:lumMod val="40000"/>
                  <a:lumOff val="60000"/>
                </a:schemeClr>
              </a:buClr>
              <a:defRPr/>
            </a:lvl4pPr>
            <a:lvl5pPr>
              <a:lnSpc>
                <a:spcPct val="100000"/>
              </a:lnSpc>
              <a:buClr>
                <a:schemeClr val="bg2">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922904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line_head_logo">
    <p:spTree>
      <p:nvGrpSpPr>
        <p:cNvPr id="1" name=""/>
        <p:cNvGrpSpPr/>
        <p:nvPr/>
      </p:nvGrpSpPr>
      <p:grpSpPr>
        <a:xfrm>
          <a:off x="0" y="0"/>
          <a:ext cx="0" cy="0"/>
          <a:chOff x="0" y="0"/>
          <a:chExt cx="0" cy="0"/>
        </a:xfrm>
      </p:grpSpPr>
      <p:sp>
        <p:nvSpPr>
          <p:cNvPr id="2" name="Title 1"/>
          <p:cNvSpPr>
            <a:spLocks noGrp="1"/>
          </p:cNvSpPr>
          <p:nvPr>
            <p:ph type="title"/>
          </p:nvPr>
        </p:nvSpPr>
        <p:spPr>
          <a:xfrm>
            <a:off x="0" y="13369"/>
            <a:ext cx="9144000" cy="1134295"/>
          </a:xfrm>
        </p:spPr>
        <p:txBody>
          <a:bodyPr/>
          <a:lstStyle/>
          <a:p>
            <a:r>
              <a:rPr lang="en-US" dirty="0"/>
              <a:t>Click to edit Master title style</a:t>
            </a:r>
          </a:p>
        </p:txBody>
      </p:sp>
      <p:sp>
        <p:nvSpPr>
          <p:cNvPr id="3" name="Content Placeholder 2"/>
          <p:cNvSpPr>
            <a:spLocks noGrp="1"/>
          </p:cNvSpPr>
          <p:nvPr>
            <p:ph idx="1"/>
          </p:nvPr>
        </p:nvSpPr>
        <p:spPr>
          <a:xfrm>
            <a:off x="457200" y="1306281"/>
            <a:ext cx="8229600" cy="4730625"/>
          </a:xfrm>
        </p:spPr>
        <p:txBody>
          <a:bodyPr/>
          <a:lstStyle>
            <a:lvl2pPr>
              <a:buClr>
                <a:schemeClr val="bg2">
                  <a:lumMod val="40000"/>
                  <a:lumOff val="60000"/>
                </a:schemeClr>
              </a:buClr>
              <a:defRPr/>
            </a:lvl2pPr>
            <a:lvl3pPr>
              <a:buClr>
                <a:schemeClr val="bg2">
                  <a:lumMod val="40000"/>
                  <a:lumOff val="60000"/>
                </a:schemeClr>
              </a:buClr>
              <a:defRPr/>
            </a:lvl3pPr>
            <a:lvl4pPr>
              <a:buClr>
                <a:schemeClr val="bg2">
                  <a:lumMod val="40000"/>
                  <a:lumOff val="60000"/>
                </a:schemeClr>
              </a:buClr>
              <a:defRPr/>
            </a:lvl4pPr>
            <a:lvl5pPr>
              <a:buClr>
                <a:schemeClr val="bg2">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424645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1_line_head_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buClr>
                <a:schemeClr val="bg2">
                  <a:lumMod val="40000"/>
                  <a:lumOff val="60000"/>
                </a:schemeClr>
              </a:buClr>
              <a:defRPr/>
            </a:lvl1pPr>
            <a:lvl2pPr>
              <a:buClr>
                <a:schemeClr val="bg2">
                  <a:lumMod val="40000"/>
                  <a:lumOff val="60000"/>
                </a:schemeClr>
              </a:buClr>
              <a:defRPr/>
            </a:lvl2pPr>
            <a:lvl3pPr>
              <a:buClr>
                <a:schemeClr val="bg2">
                  <a:lumMod val="40000"/>
                  <a:lumOff val="60000"/>
                </a:schemeClr>
              </a:buClr>
              <a:defRPr/>
            </a:lvl3pPr>
            <a:lvl4pPr>
              <a:buClr>
                <a:schemeClr val="bg2">
                  <a:lumMod val="40000"/>
                  <a:lumOff val="60000"/>
                </a:schemeClr>
              </a:buClr>
              <a:defRPr/>
            </a:lvl4pPr>
            <a:lvl5pPr>
              <a:buClr>
                <a:schemeClr val="bg2">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6"/>
          <p:cNvSpPr>
            <a:spLocks noGrp="1"/>
          </p:cNvSpPr>
          <p:nvPr>
            <p:ph type="ftr" sz="quarter" idx="10"/>
          </p:nvPr>
        </p:nvSpPr>
        <p:spPr>
          <a:xfrm>
            <a:off x="457200" y="6403975"/>
            <a:ext cx="8229600" cy="365125"/>
          </a:xfrm>
          <a:prstGeom prst="rect">
            <a:avLst/>
          </a:prstGeom>
        </p:spPr>
        <p:txBody>
          <a:bodyPr/>
          <a:lstStyle>
            <a:lvl1pPr>
              <a:defRPr sz="1400" i="1"/>
            </a:lvl1pPr>
          </a:lstStyle>
          <a:p>
            <a:pPr>
              <a:defRPr/>
            </a:pPr>
            <a:endParaRPr lang="en-US" dirty="0"/>
          </a:p>
        </p:txBody>
      </p:sp>
    </p:spTree>
    <p:extLst>
      <p:ext uri="{BB962C8B-B14F-4D97-AF65-F5344CB8AC3E}">
        <p14:creationId xmlns:p14="http://schemas.microsoft.com/office/powerpoint/2010/main" val="24153377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2_line_head_footer_logo">
    <p:spTree>
      <p:nvGrpSpPr>
        <p:cNvPr id="1" name=""/>
        <p:cNvGrpSpPr/>
        <p:nvPr/>
      </p:nvGrpSpPr>
      <p:grpSpPr>
        <a:xfrm>
          <a:off x="0" y="0"/>
          <a:ext cx="0" cy="0"/>
          <a:chOff x="0" y="0"/>
          <a:chExt cx="0" cy="0"/>
        </a:xfrm>
      </p:grpSpPr>
      <p:sp>
        <p:nvSpPr>
          <p:cNvPr id="2" name="Title 1"/>
          <p:cNvSpPr>
            <a:spLocks noGrp="1"/>
          </p:cNvSpPr>
          <p:nvPr>
            <p:ph type="title"/>
          </p:nvPr>
        </p:nvSpPr>
        <p:spPr>
          <a:xfrm>
            <a:off x="0" y="13369"/>
            <a:ext cx="9144000" cy="1414215"/>
          </a:xfrm>
        </p:spPr>
        <p:txBody>
          <a:bodyPr/>
          <a:lstStyle/>
          <a:p>
            <a:r>
              <a:rPr lang="en-US" dirty="0"/>
              <a:t>Click to edit Master title style</a:t>
            </a:r>
          </a:p>
        </p:txBody>
      </p:sp>
      <p:sp>
        <p:nvSpPr>
          <p:cNvPr id="3" name="Content Placeholder 2"/>
          <p:cNvSpPr>
            <a:spLocks noGrp="1"/>
          </p:cNvSpPr>
          <p:nvPr>
            <p:ph idx="1"/>
          </p:nvPr>
        </p:nvSpPr>
        <p:spPr>
          <a:xfrm>
            <a:off x="457200" y="1707502"/>
            <a:ext cx="8229600" cy="3966122"/>
          </a:xfrm>
        </p:spPr>
        <p:txBody>
          <a:bodyPr/>
          <a:lstStyle>
            <a:lvl1pPr>
              <a:buClr>
                <a:schemeClr val="bg2">
                  <a:lumMod val="40000"/>
                  <a:lumOff val="60000"/>
                </a:schemeClr>
              </a:buClr>
              <a:defRPr/>
            </a:lvl1pPr>
            <a:lvl2pPr>
              <a:buClr>
                <a:schemeClr val="bg2">
                  <a:lumMod val="40000"/>
                  <a:lumOff val="60000"/>
                </a:schemeClr>
              </a:buClr>
              <a:defRPr/>
            </a:lvl2pPr>
            <a:lvl3pPr>
              <a:buClr>
                <a:schemeClr val="bg2">
                  <a:lumMod val="40000"/>
                  <a:lumOff val="60000"/>
                </a:schemeClr>
              </a:buClr>
              <a:defRPr/>
            </a:lvl3pPr>
            <a:lvl4pPr>
              <a:buClr>
                <a:schemeClr val="bg2">
                  <a:lumMod val="40000"/>
                  <a:lumOff val="60000"/>
                </a:schemeClr>
              </a:buClr>
              <a:defRPr/>
            </a:lvl4pPr>
            <a:lvl5pPr>
              <a:buClr>
                <a:schemeClr val="bg2">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6"/>
          <p:cNvSpPr>
            <a:spLocks noGrp="1"/>
          </p:cNvSpPr>
          <p:nvPr>
            <p:ph type="ftr" sz="quarter" idx="10"/>
          </p:nvPr>
        </p:nvSpPr>
        <p:spPr>
          <a:xfrm>
            <a:off x="457200" y="6403975"/>
            <a:ext cx="8229600" cy="365125"/>
          </a:xfrm>
          <a:prstGeom prst="rect">
            <a:avLst/>
          </a:prstGeom>
        </p:spPr>
        <p:txBody>
          <a:bodyPr/>
          <a:lstStyle>
            <a:lvl1pPr>
              <a:defRPr sz="1400" i="1"/>
            </a:lvl1pPr>
          </a:lstStyle>
          <a:p>
            <a:pPr>
              <a:defRPr/>
            </a:pPr>
            <a:endParaRPr lang="en-US" dirty="0"/>
          </a:p>
        </p:txBody>
      </p:sp>
    </p:spTree>
    <p:extLst>
      <p:ext uri="{BB962C8B-B14F-4D97-AF65-F5344CB8AC3E}">
        <p14:creationId xmlns:p14="http://schemas.microsoft.com/office/powerpoint/2010/main" val="38366274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2_line_head_footer">
    <p:spTree>
      <p:nvGrpSpPr>
        <p:cNvPr id="1" name=""/>
        <p:cNvGrpSpPr/>
        <p:nvPr/>
      </p:nvGrpSpPr>
      <p:grpSpPr>
        <a:xfrm>
          <a:off x="0" y="0"/>
          <a:ext cx="0" cy="0"/>
          <a:chOff x="0" y="0"/>
          <a:chExt cx="0" cy="0"/>
        </a:xfrm>
      </p:grpSpPr>
      <p:sp>
        <p:nvSpPr>
          <p:cNvPr id="2" name="Title 1"/>
          <p:cNvSpPr>
            <a:spLocks noGrp="1"/>
          </p:cNvSpPr>
          <p:nvPr>
            <p:ph type="title"/>
          </p:nvPr>
        </p:nvSpPr>
        <p:spPr>
          <a:xfrm>
            <a:off x="0" y="13369"/>
            <a:ext cx="9144000" cy="1554174"/>
          </a:xfrm>
        </p:spPr>
        <p:txBody>
          <a:bodyPr/>
          <a:lstStyle/>
          <a:p>
            <a:r>
              <a:rPr lang="en-US" dirty="0"/>
              <a:t>Click to edit Master title style</a:t>
            </a:r>
          </a:p>
        </p:txBody>
      </p:sp>
      <p:sp>
        <p:nvSpPr>
          <p:cNvPr id="3" name="Content Placeholder 2"/>
          <p:cNvSpPr>
            <a:spLocks noGrp="1"/>
          </p:cNvSpPr>
          <p:nvPr>
            <p:ph idx="1"/>
          </p:nvPr>
        </p:nvSpPr>
        <p:spPr>
          <a:xfrm>
            <a:off x="457200" y="1707502"/>
            <a:ext cx="8229600" cy="3966122"/>
          </a:xfrm>
        </p:spPr>
        <p:txBody>
          <a:bodyPr/>
          <a:lstStyle>
            <a:lvl1pPr>
              <a:buClr>
                <a:schemeClr val="bg2">
                  <a:lumMod val="40000"/>
                  <a:lumOff val="60000"/>
                </a:schemeClr>
              </a:buClr>
              <a:defRPr/>
            </a:lvl1pPr>
            <a:lvl2pPr>
              <a:buClr>
                <a:schemeClr val="bg2">
                  <a:lumMod val="40000"/>
                  <a:lumOff val="60000"/>
                </a:schemeClr>
              </a:buClr>
              <a:defRPr/>
            </a:lvl2pPr>
            <a:lvl3pPr>
              <a:buClr>
                <a:schemeClr val="bg2">
                  <a:lumMod val="40000"/>
                  <a:lumOff val="60000"/>
                </a:schemeClr>
              </a:buClr>
              <a:defRPr/>
            </a:lvl3pPr>
            <a:lvl4pPr>
              <a:buClr>
                <a:schemeClr val="bg2">
                  <a:lumMod val="40000"/>
                  <a:lumOff val="60000"/>
                </a:schemeClr>
              </a:buClr>
              <a:defRPr/>
            </a:lvl4pPr>
            <a:lvl5pPr>
              <a:buClr>
                <a:schemeClr val="bg2">
                  <a:lumMod val="40000"/>
                  <a:lumOff val="60000"/>
                </a:schemeClr>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6"/>
          <p:cNvSpPr>
            <a:spLocks noGrp="1"/>
          </p:cNvSpPr>
          <p:nvPr>
            <p:ph type="ftr" sz="quarter" idx="10"/>
          </p:nvPr>
        </p:nvSpPr>
        <p:spPr>
          <a:xfrm>
            <a:off x="457200" y="6403975"/>
            <a:ext cx="8229600" cy="365125"/>
          </a:xfrm>
          <a:prstGeom prst="rect">
            <a:avLst/>
          </a:prstGeom>
        </p:spPr>
        <p:txBody>
          <a:bodyPr/>
          <a:lstStyle>
            <a:lvl1pPr>
              <a:defRPr sz="1400" i="1"/>
            </a:lvl1pPr>
          </a:lstStyle>
          <a:p>
            <a:pPr>
              <a:defRPr/>
            </a:pPr>
            <a:endParaRPr lang="en-US"/>
          </a:p>
        </p:txBody>
      </p:sp>
    </p:spTree>
    <p:extLst>
      <p:ext uri="{BB962C8B-B14F-4D97-AF65-F5344CB8AC3E}">
        <p14:creationId xmlns:p14="http://schemas.microsoft.com/office/powerpoint/2010/main" val="42456577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graph_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6"/>
          <p:cNvSpPr>
            <a:spLocks noGrp="1"/>
          </p:cNvSpPr>
          <p:nvPr>
            <p:ph type="ftr" sz="quarter" idx="10"/>
          </p:nvPr>
        </p:nvSpPr>
        <p:spPr>
          <a:xfrm>
            <a:off x="457200" y="6403975"/>
            <a:ext cx="8229600" cy="365125"/>
          </a:xfrm>
          <a:prstGeom prst="rect">
            <a:avLst/>
          </a:prstGeom>
        </p:spPr>
        <p:txBody>
          <a:bodyPr/>
          <a:lstStyle>
            <a:lvl1pPr>
              <a:defRPr sz="1400" i="1"/>
            </a:lvl1pPr>
          </a:lstStyle>
          <a:p>
            <a:pPr>
              <a:defRPr/>
            </a:pPr>
            <a:endParaRPr lang="en-US" dirty="0"/>
          </a:p>
        </p:txBody>
      </p:sp>
    </p:spTree>
    <p:extLst>
      <p:ext uri="{BB962C8B-B14F-4D97-AF65-F5344CB8AC3E}">
        <p14:creationId xmlns:p14="http://schemas.microsoft.com/office/powerpoint/2010/main" val="4323432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ph_no_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299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ata Slide (for content heavy tables and charts)">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667495"/>
            <a:ext cx="9144000" cy="1470025"/>
          </a:xfrm>
          <a:prstGeom prst="rect">
            <a:avLst/>
          </a:prstGeom>
        </p:spPr>
        <p:txBody>
          <a:bodyPr>
            <a:normAutofit/>
          </a:bodyPr>
          <a:lstStyle>
            <a:lvl1pPr>
              <a:defRPr sz="4000"/>
            </a:lvl1pPr>
          </a:lstStyle>
          <a:p>
            <a:r>
              <a:rPr lang="en-US" dirty="0"/>
              <a:t>Click to edit Master title style</a:t>
            </a:r>
          </a:p>
        </p:txBody>
      </p:sp>
      <p:sp>
        <p:nvSpPr>
          <p:cNvPr id="4" name="Subtitle 2"/>
          <p:cNvSpPr>
            <a:spLocks noGrp="1"/>
          </p:cNvSpPr>
          <p:nvPr>
            <p:ph type="subTitle" idx="1" hasCustomPrompt="1"/>
          </p:nvPr>
        </p:nvSpPr>
        <p:spPr>
          <a:xfrm>
            <a:off x="0" y="3505200"/>
            <a:ext cx="9144000" cy="457200"/>
          </a:xfrm>
          <a:prstGeom prst="rect">
            <a:avLst/>
          </a:prstGeom>
        </p:spPr>
        <p:txBody>
          <a:bodyPr/>
          <a:lstStyle>
            <a:lvl1pPr marL="0" indent="0" algn="ctr">
              <a:buNone/>
              <a:defRPr sz="2800" b="1" baseline="0">
                <a:solidFill>
                  <a:schemeClr val="tx1"/>
                </a:solidFill>
                <a:effectLst/>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a:t>
            </a:r>
          </a:p>
        </p:txBody>
      </p:sp>
      <p:sp>
        <p:nvSpPr>
          <p:cNvPr id="5" name="Text Placeholder 8"/>
          <p:cNvSpPr>
            <a:spLocks noGrp="1"/>
          </p:cNvSpPr>
          <p:nvPr>
            <p:ph type="body" sz="quarter" idx="10" hasCustomPrompt="1"/>
          </p:nvPr>
        </p:nvSpPr>
        <p:spPr>
          <a:xfrm>
            <a:off x="0" y="4114800"/>
            <a:ext cx="9144000" cy="1295400"/>
          </a:xfrm>
          <a:prstGeom prst="rect">
            <a:avLst/>
          </a:prstGeom>
        </p:spPr>
        <p:txBody>
          <a:bodyPr/>
          <a:lstStyle>
            <a:lvl1pPr algn="ctr">
              <a:lnSpc>
                <a:spcPts val="2000"/>
              </a:lnSpc>
              <a:buNone/>
              <a:defRPr sz="2000" baseline="0">
                <a:solidFill>
                  <a:schemeClr val="tx2"/>
                </a:solidFill>
                <a:latin typeface="Arial" pitchFamily="34" charset="0"/>
                <a:cs typeface="Arial"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a:t>
            </a:r>
          </a:p>
          <a:p>
            <a:pPr lvl="0"/>
            <a:endParaRPr lang="en-US" sz="1800" dirty="0"/>
          </a:p>
          <a:p>
            <a:pPr lvl="0"/>
            <a:r>
              <a:rPr lang="en-US" sz="1800" dirty="0"/>
              <a:t>Title of Event</a:t>
            </a:r>
          </a:p>
          <a:p>
            <a:pPr lvl="0"/>
            <a:r>
              <a:rPr lang="en-US" sz="1800" dirty="0"/>
              <a:t>Date of Event</a:t>
            </a:r>
            <a:endParaRPr lang="en-US" dirty="0"/>
          </a:p>
        </p:txBody>
      </p:sp>
    </p:spTree>
    <p:extLst>
      <p:ext uri="{BB962C8B-B14F-4D97-AF65-F5344CB8AC3E}">
        <p14:creationId xmlns:p14="http://schemas.microsoft.com/office/powerpoint/2010/main" val="18038598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5551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baseline="0">
                <a:effectLst>
                  <a:outerShdw blurRad="38100" dist="38100" dir="2700000" algn="tl">
                    <a:srgbClr val="000000">
                      <a:alpha val="43137"/>
                    </a:srgbClr>
                  </a:outerShdw>
                </a:effectLst>
              </a:defRPr>
            </a:lvl1pPr>
          </a:lstStyle>
          <a:p>
            <a:r>
              <a:rPr lang="en-US" dirty="0"/>
              <a:t>Click to edit Master title style</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008527846"/>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Chart Placeholder 2"/>
          <p:cNvSpPr>
            <a:spLocks noGrp="1"/>
          </p:cNvSpPr>
          <p:nvPr>
            <p:ph type="chart"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fld id="{5DE0686E-2222-874F-A13A-6338718FEC2B}" type="slidenum">
              <a:rPr lang="en-US"/>
              <a:pPr/>
              <a:t>‹#›</a:t>
            </a:fld>
            <a:endParaRPr lang="en-US" dirty="0"/>
          </a:p>
        </p:txBody>
      </p:sp>
    </p:spTree>
    <p:extLst>
      <p:ext uri="{BB962C8B-B14F-4D97-AF65-F5344CB8AC3E}">
        <p14:creationId xmlns:p14="http://schemas.microsoft.com/office/powerpoint/2010/main" val="160044297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2_content_no_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57200" y="1278294"/>
            <a:ext cx="4038600" cy="52344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278294"/>
            <a:ext cx="4038600" cy="523447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64315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076C3D4-5A28-4ED1-9791-64FCDF5A5D31}" type="slidenum">
              <a:rPr lang="en-US" smtClean="0"/>
              <a:pPr/>
              <a:t>‹#›</a:t>
            </a:fld>
            <a:endParaRPr lang="en-US"/>
          </a:p>
        </p:txBody>
      </p:sp>
    </p:spTree>
    <p:extLst>
      <p:ext uri="{BB962C8B-B14F-4D97-AF65-F5344CB8AC3E}">
        <p14:creationId xmlns:p14="http://schemas.microsoft.com/office/powerpoint/2010/main" val="113613609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563562"/>
          </a:xfrm>
          <a:prstGeom prst="rect">
            <a:avLst/>
          </a:prstGeom>
        </p:spPr>
        <p:txBody>
          <a:bodyPr anchor="b" anchorCtr="0"/>
          <a:lstStyle>
            <a:lvl1pPr>
              <a:lnSpc>
                <a:spcPct val="100000"/>
              </a:lnSpc>
              <a:defRPr sz="3600" b="1" baseline="0">
                <a:solidFill>
                  <a:schemeClr val="bg2"/>
                </a:solidFill>
                <a:effectLst/>
                <a:latin typeface="Arial" pitchFamily="34" charset="0"/>
                <a:cs typeface="Arial" pitchFamily="34" charset="0"/>
              </a:defRPr>
            </a:lvl1pPr>
          </a:lstStyle>
          <a:p>
            <a:r>
              <a:rPr lang="en-US" dirty="0"/>
              <a:t>Headline</a:t>
            </a:r>
          </a:p>
        </p:txBody>
      </p:sp>
      <p:sp>
        <p:nvSpPr>
          <p:cNvPr id="3" name="Content Placeholder 2"/>
          <p:cNvSpPr>
            <a:spLocks noGrp="1"/>
          </p:cNvSpPr>
          <p:nvPr>
            <p:ph idx="1" hasCustomPrompt="1"/>
          </p:nvPr>
        </p:nvSpPr>
        <p:spPr>
          <a:xfrm>
            <a:off x="457200" y="1600200"/>
            <a:ext cx="8229600" cy="4724399"/>
          </a:xfrm>
          <a:prstGeom prst="rect">
            <a:avLst/>
          </a:prstGeom>
        </p:spPr>
        <p:txBody>
          <a:bodyPr/>
          <a:lstStyle>
            <a:lvl1pPr>
              <a:buClr>
                <a:schemeClr val="accent5">
                  <a:lumMod val="40000"/>
                  <a:lumOff val="60000"/>
                </a:schemeClr>
              </a:buClr>
              <a:buSzPct val="100000"/>
              <a:buFont typeface="Arial" pitchFamily="34" charset="0"/>
              <a:buChar char="•"/>
              <a:defRPr sz="2800" b="0" baseline="0">
                <a:solidFill>
                  <a:schemeClr val="bg2"/>
                </a:solidFill>
                <a:latin typeface="Arial" pitchFamily="34" charset="0"/>
                <a:cs typeface="Arial" pitchFamily="34" charset="0"/>
              </a:defRPr>
            </a:lvl1pPr>
            <a:lvl2pPr marL="569913" indent="-225425">
              <a:buClr>
                <a:schemeClr val="accent5">
                  <a:lumMod val="40000"/>
                  <a:lumOff val="60000"/>
                </a:schemeClr>
              </a:buClr>
              <a:buSzPct val="100000"/>
              <a:buFont typeface="Arial" pitchFamily="34" charset="0"/>
              <a:buChar char="•"/>
              <a:defRPr sz="2400">
                <a:solidFill>
                  <a:schemeClr val="bg2"/>
                </a:solidFill>
                <a:latin typeface="Arial" pitchFamily="34" charset="0"/>
                <a:cs typeface="Arial" pitchFamily="34" charset="0"/>
              </a:defRPr>
            </a:lvl2pPr>
            <a:lvl3pPr marL="795338" indent="-225425">
              <a:buClr>
                <a:schemeClr val="accent5">
                  <a:lumMod val="40000"/>
                  <a:lumOff val="60000"/>
                </a:schemeClr>
              </a:buClr>
              <a:buSzPct val="100000"/>
              <a:buFont typeface="Arial" pitchFamily="34" charset="0"/>
              <a:buChar char="•"/>
              <a:defRPr sz="2200">
                <a:solidFill>
                  <a:schemeClr val="bg2"/>
                </a:solidFill>
                <a:latin typeface="Arial" pitchFamily="34" charset="0"/>
                <a:cs typeface="Arial" pitchFamily="34" charset="0"/>
              </a:defRPr>
            </a:lvl3pPr>
            <a:lvl4pPr marL="1033463" indent="-238125">
              <a:buClr>
                <a:schemeClr val="accent5">
                  <a:lumMod val="40000"/>
                  <a:lumOff val="60000"/>
                </a:schemeClr>
              </a:buClr>
              <a:buSzPct val="70000"/>
              <a:buFont typeface="Arial" pitchFamily="34" charset="0"/>
              <a:buChar char="•"/>
              <a:defRPr sz="2000" baseline="0">
                <a:solidFill>
                  <a:schemeClr val="bg2"/>
                </a:solidFill>
                <a:latin typeface="Arial" pitchFamily="34" charset="0"/>
                <a:cs typeface="Arial" pitchFamily="34" charset="0"/>
              </a:defRPr>
            </a:lvl4pPr>
            <a:lvl5pPr marL="1258888" indent="-225425">
              <a:buClr>
                <a:schemeClr val="accent5">
                  <a:lumMod val="40000"/>
                  <a:lumOff val="60000"/>
                </a:schemeClr>
              </a:buClr>
              <a:buSzPct val="70000"/>
              <a:buFont typeface="Arial" pitchFamily="34" charset="0"/>
              <a:buChar char="•"/>
              <a:defRPr sz="1800">
                <a:solidFill>
                  <a:schemeClr val="bg2"/>
                </a:solidFill>
                <a:latin typeface="Arial" pitchFamily="34" charset="0"/>
                <a:cs typeface="Arial" pitchFamily="34" charset="0"/>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747588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asic Content Bad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latin typeface="Calibri" pitchFamily="34" charset="0"/>
              </a:defRPr>
            </a:lvl1pPr>
          </a:lstStyle>
          <a:p>
            <a:endParaRPr lang="en-US" dirty="0"/>
          </a:p>
        </p:txBody>
      </p:sp>
      <p:sp>
        <p:nvSpPr>
          <p:cNvPr id="3" name="Content Placeholder 2"/>
          <p:cNvSpPr>
            <a:spLocks noGrp="1"/>
          </p:cNvSpPr>
          <p:nvPr>
            <p:ph idx="1"/>
          </p:nvPr>
        </p:nvSpPr>
        <p:spPr>
          <a:xfrm>
            <a:off x="457200" y="1600201"/>
            <a:ext cx="8229600" cy="4191000"/>
          </a:xfrm>
          <a:prstGeom prst="rect">
            <a:avLst/>
          </a:prstGeom>
        </p:spPr>
        <p:txBody>
          <a:bodyPr/>
          <a:lstStyle>
            <a:lvl1pPr marL="342900" indent="-342900">
              <a:buClr>
                <a:schemeClr val="bg1"/>
              </a:buClr>
              <a:buSzPct val="70000"/>
              <a:buFont typeface="Wingdings" pitchFamily="2" charset="2"/>
              <a:buChar char="§"/>
              <a:defRPr sz="2400" b="1" baseline="0">
                <a:solidFill>
                  <a:schemeClr val="bg2"/>
                </a:solidFill>
                <a:latin typeface="Calibri" pitchFamily="34" charset="0"/>
              </a:defRPr>
            </a:lvl1pPr>
            <a:lvl2pPr marL="742950" indent="-285750">
              <a:buClr>
                <a:schemeClr val="bg1"/>
              </a:buClr>
              <a:buSzPct val="100000"/>
              <a:buFont typeface="Arial" pitchFamily="34" charset="0"/>
              <a:buChar char="•"/>
              <a:defRPr sz="2000">
                <a:solidFill>
                  <a:schemeClr val="bg2"/>
                </a:solidFill>
              </a:defRPr>
            </a:lvl2pPr>
            <a:lvl3pPr marL="1143000" indent="-228600">
              <a:buClr>
                <a:schemeClr val="bg1"/>
              </a:buClr>
              <a:buSzPct val="100000"/>
              <a:buFont typeface="Courier New" pitchFamily="49" charset="0"/>
              <a:buChar char="o"/>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endParaRPr lang="en-US" dirty="0"/>
          </a:p>
          <a:p>
            <a:pPr lvl="1"/>
            <a:endParaRPr lang="en-US" dirty="0"/>
          </a:p>
          <a:p>
            <a:pPr lvl="2"/>
            <a:endParaRPr lang="en-US" dirty="0"/>
          </a:p>
          <a:p>
            <a:pPr lvl="3"/>
            <a:endParaRPr lang="en-US" dirty="0"/>
          </a:p>
        </p:txBody>
      </p:sp>
      <p:sp>
        <p:nvSpPr>
          <p:cNvPr id="7" name="Text Placeholder 8"/>
          <p:cNvSpPr>
            <a:spLocks noGrp="1"/>
          </p:cNvSpPr>
          <p:nvPr>
            <p:ph type="body" sz="quarter" idx="10" hasCustomPrompt="1"/>
          </p:nvPr>
        </p:nvSpPr>
        <p:spPr>
          <a:xfrm>
            <a:off x="1905000" y="5791200"/>
            <a:ext cx="6781800" cy="609600"/>
          </a:xfrm>
          <a:prstGeom prst="rect">
            <a:avLst/>
          </a:prstGeom>
        </p:spPr>
        <p:txBody>
          <a:bodyPr anchor="b" anchorCtr="0"/>
          <a:lstStyle>
            <a:lvl1pPr algn="l">
              <a:lnSpc>
                <a:spcPts val="1100"/>
              </a:lnSpc>
              <a:buNone/>
              <a:defRPr sz="11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a:t>
            </a:r>
          </a:p>
        </p:txBody>
      </p:sp>
    </p:spTree>
    <p:extLst>
      <p:ext uri="{BB962C8B-B14F-4D97-AF65-F5344CB8AC3E}">
        <p14:creationId xmlns:p14="http://schemas.microsoft.com/office/powerpoint/2010/main" val="143273682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latin typeface="Calibri" pitchFamily="34" charset="0"/>
              </a:defRPr>
            </a:lvl1pPr>
          </a:lstStyle>
          <a:p>
            <a:endParaRPr lang="en-US" dirty="0"/>
          </a:p>
        </p:txBody>
      </p:sp>
      <p:sp>
        <p:nvSpPr>
          <p:cNvPr id="3" name="Content Placeholder 2"/>
          <p:cNvSpPr>
            <a:spLocks noGrp="1"/>
          </p:cNvSpPr>
          <p:nvPr>
            <p:ph idx="1"/>
          </p:nvPr>
        </p:nvSpPr>
        <p:spPr>
          <a:xfrm>
            <a:off x="457200" y="1600201"/>
            <a:ext cx="8229600" cy="4191000"/>
          </a:xfrm>
          <a:prstGeom prst="rect">
            <a:avLst/>
          </a:prstGeom>
        </p:spPr>
        <p:txBody>
          <a:bodyPr/>
          <a:lstStyle>
            <a:lvl1pPr marL="342900" indent="-342900">
              <a:buClr>
                <a:schemeClr val="bg1"/>
              </a:buClr>
              <a:buSzPct val="70000"/>
              <a:buFont typeface="Arial" pitchFamily="34" charset="0"/>
              <a:buChar char="•"/>
              <a:defRPr sz="2400" b="1" baseline="0">
                <a:solidFill>
                  <a:schemeClr val="bg2"/>
                </a:solidFill>
                <a:latin typeface="Calibri" pitchFamily="34" charset="0"/>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latin typeface="Calibri" pitchFamily="34" charset="0"/>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a:t>
            </a:r>
          </a:p>
        </p:txBody>
      </p:sp>
    </p:spTree>
    <p:extLst>
      <p:ext uri="{BB962C8B-B14F-4D97-AF65-F5344CB8AC3E}">
        <p14:creationId xmlns:p14="http://schemas.microsoft.com/office/powerpoint/2010/main" val="3177343992"/>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655625"/>
            <a:ext cx="7772400" cy="1470025"/>
          </a:xfrm>
        </p:spPr>
        <p:txBody>
          <a:bodyPr>
            <a:normAutofit/>
          </a:bodyPr>
          <a:lstStyle>
            <a:lvl1pPr>
              <a:defRPr sz="4000"/>
            </a:lvl1pPr>
          </a:lstStyle>
          <a:p>
            <a:r>
              <a:rPr lang="en-US" dirty="0"/>
              <a:t>Click to edit Master title style</a:t>
            </a:r>
          </a:p>
        </p:txBody>
      </p:sp>
      <p:sp>
        <p:nvSpPr>
          <p:cNvPr id="3" name="Subtitle 2"/>
          <p:cNvSpPr>
            <a:spLocks noGrp="1"/>
          </p:cNvSpPr>
          <p:nvPr>
            <p:ph type="subTitle" idx="1"/>
          </p:nvPr>
        </p:nvSpPr>
        <p:spPr>
          <a:xfrm>
            <a:off x="1371600" y="3886200"/>
            <a:ext cx="6400800" cy="607646"/>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32838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Badge">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a:t>Title of Presenter –Myriad Pro, 18pt</a:t>
            </a:r>
          </a:p>
          <a:p>
            <a:pPr lvl="0"/>
            <a:endParaRPr lang="en-US" sz="1800" dirty="0"/>
          </a:p>
          <a:p>
            <a:pPr lvl="0"/>
            <a:r>
              <a:rPr lang="en-US" sz="1800" dirty="0"/>
              <a:t>Title of Event</a:t>
            </a:r>
          </a:p>
          <a:p>
            <a:pPr lvl="0"/>
            <a:r>
              <a:rPr lang="en-US" sz="1800" dirty="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a:t>Title of Presentation – Myriad Pro</a:t>
            </a:r>
            <a:br>
              <a:rPr lang="en-US" dirty="0"/>
            </a:br>
            <a:r>
              <a:rPr lang="en-US" dirty="0"/>
              <a:t> Bold, Shadow 28pt</a:t>
            </a:r>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3600" b="1" baseline="0">
                <a:solidFill>
                  <a:schemeClr val="bg1"/>
                </a:solidFill>
                <a:effectLst/>
              </a:defRPr>
            </a:lvl1pPr>
          </a:lstStyle>
          <a:p>
            <a:r>
              <a:rPr lang="en-US" dirty="0"/>
              <a:t>Click to edit Master title style</a:t>
            </a:r>
          </a:p>
        </p:txBody>
      </p:sp>
      <p:sp>
        <p:nvSpPr>
          <p:cNvPr id="3" name="Content Placeholder 2"/>
          <p:cNvSpPr>
            <a:spLocks noGrp="1"/>
          </p:cNvSpPr>
          <p:nvPr>
            <p:ph idx="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8"/>
          <p:cNvSpPr>
            <a:spLocks noGrp="1"/>
          </p:cNvSpPr>
          <p:nvPr>
            <p:ph type="body" sz="quarter" idx="10"/>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lick to edit Master text styles</a:t>
            </a:r>
          </a:p>
        </p:txBody>
      </p:sp>
    </p:spTree>
    <p:extLst>
      <p:ext uri="{BB962C8B-B14F-4D97-AF65-F5344CB8AC3E}">
        <p14:creationId xmlns:p14="http://schemas.microsoft.com/office/powerpoint/2010/main" val="52059210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able Placeholder 2"/>
          <p:cNvSpPr>
            <a:spLocks noGrp="1"/>
          </p:cNvSpPr>
          <p:nvPr>
            <p:ph type="tbl" idx="1"/>
          </p:nvPr>
        </p:nvSpPr>
        <p:spPr>
          <a:xfrm>
            <a:off x="685800" y="1981200"/>
            <a:ext cx="7772400" cy="4114800"/>
          </a:xfrm>
        </p:spPr>
        <p:txBody>
          <a:bodyPr>
            <a:normAutofit/>
          </a:bodyPr>
          <a:lstStyle/>
          <a:p>
            <a:pPr lvl="0"/>
            <a:endParaRPr lang="en-US" noProof="0"/>
          </a:p>
        </p:txBody>
      </p:sp>
      <p:sp>
        <p:nvSpPr>
          <p:cNvPr id="4" name="Date Placeholder 9"/>
          <p:cNvSpPr>
            <a:spLocks noGrp="1"/>
          </p:cNvSpPr>
          <p:nvPr>
            <p:ph type="dt" sz="half" idx="10"/>
          </p:nvPr>
        </p:nvSpPr>
        <p:spPr>
          <a:xfrm>
            <a:off x="457200" y="6248400"/>
            <a:ext cx="1676400" cy="457200"/>
          </a:xfrm>
          <a:prstGeom prst="rect">
            <a:avLst/>
          </a:prstGeom>
        </p:spPr>
        <p:txBody>
          <a:bodyPr/>
          <a:lstStyle>
            <a:lvl1pPr>
              <a:defRPr>
                <a:ea typeface="Arial" charset="0"/>
              </a:defRPr>
            </a:lvl1pPr>
          </a:lstStyle>
          <a:p>
            <a:pPr>
              <a:defRPr/>
            </a:pPr>
            <a:endParaRPr lang="en-US"/>
          </a:p>
        </p:txBody>
      </p:sp>
      <p:sp>
        <p:nvSpPr>
          <p:cNvPr id="5" name="Footer Placeholder 21"/>
          <p:cNvSpPr>
            <a:spLocks noGrp="1"/>
          </p:cNvSpPr>
          <p:nvPr>
            <p:ph type="ftr" sz="quarter" idx="11"/>
          </p:nvPr>
        </p:nvSpPr>
        <p:spPr>
          <a:xfrm>
            <a:off x="3124200" y="6248400"/>
            <a:ext cx="2895600" cy="457200"/>
          </a:xfrm>
          <a:prstGeom prst="rect">
            <a:avLst/>
          </a:prstGeom>
        </p:spPr>
        <p:txBody>
          <a:bodyPr/>
          <a:lstStyle>
            <a:lvl1pPr>
              <a:defRPr/>
            </a:lvl1pPr>
          </a:lstStyle>
          <a:p>
            <a:pPr>
              <a:defRPr/>
            </a:pPr>
            <a:endParaRPr lang="en-US"/>
          </a:p>
        </p:txBody>
      </p:sp>
      <p:sp>
        <p:nvSpPr>
          <p:cNvPr id="6" name="Slide Number Placeholder 17"/>
          <p:cNvSpPr>
            <a:spLocks noGrp="1"/>
          </p:cNvSpPr>
          <p:nvPr>
            <p:ph type="sldNum" sz="quarter" idx="12"/>
          </p:nvPr>
        </p:nvSpPr>
        <p:spPr>
          <a:xfrm>
            <a:off x="6781800" y="6248400"/>
            <a:ext cx="1905000" cy="457200"/>
          </a:xfrm>
          <a:prstGeom prst="rect">
            <a:avLst/>
          </a:prstGeom>
        </p:spPr>
        <p:txBody>
          <a:bodyPr/>
          <a:lstStyle>
            <a:lvl1pPr>
              <a:defRPr/>
            </a:lvl1pPr>
          </a:lstStyle>
          <a:p>
            <a:pPr>
              <a:defRPr/>
            </a:pPr>
            <a:fld id="{D6EAA9EF-FD1D-C54A-ACB6-BF4AE450FA73}" type="slidenum">
              <a:rPr lang="en-US"/>
              <a:pPr>
                <a:defRPr/>
              </a:pPr>
              <a:t>‹#›</a:t>
            </a:fld>
            <a:endParaRPr lang="en-US"/>
          </a:p>
        </p:txBody>
      </p:sp>
    </p:spTree>
    <p:extLst>
      <p:ext uri="{BB962C8B-B14F-4D97-AF65-F5344CB8AC3E}">
        <p14:creationId xmlns:p14="http://schemas.microsoft.com/office/powerpoint/2010/main" val="1306376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ata Slide (for content heavy tables and charts)">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77340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graph_no_footer">
    <p:spTree>
      <p:nvGrpSpPr>
        <p:cNvPr id="1" name=""/>
        <p:cNvGrpSpPr/>
        <p:nvPr/>
      </p:nvGrpSpPr>
      <p:grpSpPr>
        <a:xfrm>
          <a:off x="0" y="0"/>
          <a:ext cx="0" cy="0"/>
          <a:chOff x="0" y="0"/>
          <a:chExt cx="0" cy="0"/>
        </a:xfrm>
      </p:grpSpPr>
      <p:sp>
        <p:nvSpPr>
          <p:cNvPr id="2" name="Rectangle 1"/>
          <p:cNvSpPr/>
          <p:nvPr userDrawn="1"/>
        </p:nvSpPr>
        <p:spPr>
          <a:xfrm>
            <a:off x="0" y="5600700"/>
            <a:ext cx="9144000" cy="150495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52024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ic Content Badge">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a:t>Headline – Myriad Pro, Bold, Shadow, 28pt</a:t>
            </a:r>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a:t>Section Header</a:t>
            </a:r>
            <a:br>
              <a:rPr lang="en-US" dirty="0"/>
            </a:br>
            <a:r>
              <a:rPr lang="en-US" dirty="0"/>
              <a:t>Myriad Pro, bold, shadow, 36pt </a:t>
            </a:r>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Subhead – Myriad Pro, 20pt</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2000" b="1" baseline="0">
                <a:solidFill>
                  <a:schemeClr val="tx1"/>
                </a:solidFill>
                <a:effectLst/>
              </a:defRPr>
            </a:lvl1pPr>
          </a:lstStyle>
          <a:p>
            <a:r>
              <a:rPr lang="en-US" dirty="0"/>
              <a:t>Header – Myriad Pro, bold, shadow, 20pt</a:t>
            </a:r>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a:t>First level – Myriad Pro, bold, 24pt</a:t>
            </a:r>
          </a:p>
          <a:p>
            <a:pPr lvl="1"/>
            <a:r>
              <a:rPr lang="en-US" dirty="0"/>
              <a:t>Second level – Myriad Pro, 20pt</a:t>
            </a:r>
          </a:p>
          <a:p>
            <a:pPr lvl="2"/>
            <a:r>
              <a:rPr lang="en-US" dirty="0"/>
              <a:t>Third level – Myriad Pro, 18pt	</a:t>
            </a:r>
          </a:p>
          <a:p>
            <a:pPr lvl="3"/>
            <a:r>
              <a:rPr lang="en-US" dirty="0"/>
              <a:t>Fourth level – Myriad Pro, 18pt</a:t>
            </a:r>
          </a:p>
          <a:p>
            <a:pPr lvl="4"/>
            <a:r>
              <a:rPr lang="en-US" dirty="0"/>
              <a:t>Fifth level – Myriad Pro, 18pt</a:t>
            </a:r>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Paragraph of type</a:t>
            </a:r>
          </a:p>
          <a:p>
            <a:pPr lvl="0"/>
            <a:r>
              <a:rPr lang="en-US" dirty="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a:t>*Citations and references – Myriad Pro, 11pt</a:t>
            </a:r>
          </a:p>
        </p:txBody>
      </p:sp>
    </p:spTree>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chemeClr val="tx1"/>
                </a:solidFill>
                <a:effectLst/>
              </a:defRPr>
            </a:lvl1pPr>
          </a:lstStyle>
          <a:p>
            <a:r>
              <a:rPr lang="en-US" dirty="0"/>
              <a:t>Photo Title – Myriad Pro, Bold, Shadow, 20pt</a:t>
            </a:r>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aption or credits for photo – Myriad Pro, 14pt</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cstate="email">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lvl="0"/>
            <a:r>
              <a:rPr lang="en-US" sz="1300" b="1" dirty="0">
                <a:solidFill>
                  <a:schemeClr val="tx2"/>
                </a:solidFill>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lvl="0"/>
            <a:r>
              <a:rPr lang="en-US" sz="1200" dirty="0">
                <a:solidFill>
                  <a:schemeClr val="tx2"/>
                </a:solidFill>
              </a:rPr>
              <a:t>1600 Clifton Road NE, Atlanta, GA 30333</a:t>
            </a:r>
          </a:p>
          <a:p>
            <a:pPr lvl="0"/>
            <a:r>
              <a:rPr lang="en-US" sz="1200" dirty="0">
                <a:solidFill>
                  <a:schemeClr val="tx2"/>
                </a:solidFill>
              </a:rPr>
              <a:t>Telephone, 1-800-CDC-INFO (232-4636)/TTY: 1-888-232-6348</a:t>
            </a:r>
          </a:p>
          <a:p>
            <a:pPr lvl="0"/>
            <a:r>
              <a:rPr lang="en-US" sz="1200" dirty="0">
                <a:solidFill>
                  <a:schemeClr val="tx2"/>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accent1">
                    <a:lumMod val="50000"/>
                  </a:schemeClr>
                </a:solidFill>
              </a:defRPr>
            </a:lvl1pPr>
          </a:lstStyle>
          <a:p>
            <a:r>
              <a:rPr lang="en-US" dirty="0"/>
              <a:t>Place Descriptor Here</a:t>
            </a:r>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accent1">
                    <a:lumMod val="50000"/>
                  </a:schemeClr>
                </a:solidFill>
              </a:defRPr>
            </a:lvl1pPr>
          </a:lstStyle>
          <a:p>
            <a:r>
              <a:rPr lang="en-US" dirty="0"/>
              <a:t>Place Descriptor Here</a:t>
            </a:r>
          </a:p>
        </p:txBody>
      </p:sp>
      <p:sp>
        <p:nvSpPr>
          <p:cNvPr id="7" name="Rectangle 6"/>
          <p:cNvSpPr/>
          <p:nvPr userDrawn="1"/>
        </p:nvSpPr>
        <p:spPr>
          <a:xfrm>
            <a:off x="1371600" y="5421868"/>
            <a:ext cx="5943600" cy="369332"/>
          </a:xfrm>
          <a:prstGeom prst="rect">
            <a:avLst/>
          </a:prstGeom>
        </p:spPr>
        <p:txBody>
          <a:bodyPr wrap="square">
            <a:spAutoFit/>
          </a:bodyPr>
          <a:lstStyle/>
          <a:p>
            <a:pPr lvl="0"/>
            <a:r>
              <a:rPr lang="en-US" sz="900" dirty="0">
                <a:solidFill>
                  <a:schemeClr val="tx2"/>
                </a:solidFill>
              </a:rPr>
              <a:t>The findings</a:t>
            </a:r>
            <a:r>
              <a:rPr lang="en-US" sz="900" baseline="0" dirty="0">
                <a:solidFill>
                  <a:schemeClr val="tx2"/>
                </a:solidFill>
              </a:rPr>
              <a:t> and conclusions in this report are those of the authors and do not necessarily represent the official position of the Centers for Disease Control and Prevention.</a:t>
            </a:r>
            <a:endParaRPr lang="en-US" sz="900" dirty="0">
              <a:solidFill>
                <a:schemeClr val="tx2"/>
              </a:solidFill>
            </a:endParaRP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email">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84" r:id="rId1"/>
    <p:sldLayoutId id="2147483685" r:id="rId2"/>
    <p:sldLayoutId id="2147483697" r:id="rId3"/>
    <p:sldLayoutId id="2147483693" r:id="rId4"/>
    <p:sldLayoutId id="2147483694" r:id="rId5"/>
    <p:sldLayoutId id="2147483686" r:id="rId6"/>
    <p:sldLayoutId id="2147483688" r:id="rId7"/>
    <p:sldLayoutId id="2147483689" r:id="rId8"/>
    <p:sldLayoutId id="2147483690" r:id="rId9"/>
    <p:sldLayoutId id="2147483698" r:id="rId10"/>
  </p:sldLayoutIdLst>
  <p:transition>
    <p:fade/>
  </p:transition>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pic>
        <p:nvPicPr>
          <p:cNvPr id="10" name="Google Shape;10;p12" descr="Interior-Overlay.png"/>
          <p:cNvPicPr preferRelativeResize="0"/>
          <p:nvPr/>
        </p:nvPicPr>
        <p:blipFill rotWithShape="1">
          <a:blip r:embed="rId14">
            <a:alphaModFix/>
          </a:blip>
          <a:srcRect/>
          <a:stretch/>
        </p:blipFill>
        <p:spPr>
          <a:xfrm>
            <a:off x="0" y="0"/>
            <a:ext cx="9144000" cy="6858000"/>
          </a:xfrm>
          <a:prstGeom prst="rect">
            <a:avLst/>
          </a:prstGeom>
          <a:noFill/>
          <a:ln>
            <a:noFill/>
          </a:ln>
        </p:spPr>
      </p:pic>
      <p:sp>
        <p:nvSpPr>
          <p:cNvPr id="11" name="Google Shape;11;p12"/>
          <p:cNvSpPr txBox="1">
            <a:spLocks noGrp="1"/>
          </p:cNvSpPr>
          <p:nvPr>
            <p:ph type="title"/>
          </p:nvPr>
        </p:nvSpPr>
        <p:spPr>
          <a:xfrm>
            <a:off x="550864" y="436565"/>
            <a:ext cx="8042275" cy="1443037"/>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4800" b="0" i="0" u="none" strike="noStrike" cap="none">
                <a:solidFill>
                  <a:srgbClr val="262626"/>
                </a:solidFill>
                <a:latin typeface="Cambria"/>
                <a:ea typeface="Cambria"/>
                <a:cs typeface="Cambria"/>
                <a:sym typeface="Cambria"/>
              </a:defRPr>
            </a:lvl1pPr>
            <a:lvl2pPr marR="0" lvl="1" algn="ctr" rtl="0">
              <a:spcBef>
                <a:spcPts val="0"/>
              </a:spcBef>
              <a:spcAft>
                <a:spcPts val="0"/>
              </a:spcAft>
              <a:buSzPts val="1400"/>
              <a:buNone/>
              <a:defRPr sz="4800" b="0" i="0" u="none" strike="noStrike" cap="none">
                <a:solidFill>
                  <a:srgbClr val="262626"/>
                </a:solidFill>
                <a:latin typeface="Cambria"/>
                <a:ea typeface="Cambria"/>
                <a:cs typeface="Cambria"/>
                <a:sym typeface="Cambria"/>
              </a:defRPr>
            </a:lvl2pPr>
            <a:lvl3pPr marR="0" lvl="2" algn="ctr" rtl="0">
              <a:spcBef>
                <a:spcPts val="0"/>
              </a:spcBef>
              <a:spcAft>
                <a:spcPts val="0"/>
              </a:spcAft>
              <a:buSzPts val="1400"/>
              <a:buNone/>
              <a:defRPr sz="4800" b="0" i="0" u="none" strike="noStrike" cap="none">
                <a:solidFill>
                  <a:srgbClr val="262626"/>
                </a:solidFill>
                <a:latin typeface="Cambria"/>
                <a:ea typeface="Cambria"/>
                <a:cs typeface="Cambria"/>
                <a:sym typeface="Cambria"/>
              </a:defRPr>
            </a:lvl3pPr>
            <a:lvl4pPr marR="0" lvl="3" algn="ctr" rtl="0">
              <a:spcBef>
                <a:spcPts val="0"/>
              </a:spcBef>
              <a:spcAft>
                <a:spcPts val="0"/>
              </a:spcAft>
              <a:buSzPts val="1400"/>
              <a:buNone/>
              <a:defRPr sz="4800" b="0" i="0" u="none" strike="noStrike" cap="none">
                <a:solidFill>
                  <a:srgbClr val="262626"/>
                </a:solidFill>
                <a:latin typeface="Cambria"/>
                <a:ea typeface="Cambria"/>
                <a:cs typeface="Cambria"/>
                <a:sym typeface="Cambria"/>
              </a:defRPr>
            </a:lvl4pPr>
            <a:lvl5pPr marR="0" lvl="4" algn="ctr" rtl="0">
              <a:spcBef>
                <a:spcPts val="0"/>
              </a:spcBef>
              <a:spcAft>
                <a:spcPts val="0"/>
              </a:spcAft>
              <a:buSzPts val="1400"/>
              <a:buNone/>
              <a:defRPr sz="4800" b="0" i="0" u="none" strike="noStrike" cap="none">
                <a:solidFill>
                  <a:srgbClr val="262626"/>
                </a:solidFill>
                <a:latin typeface="Cambria"/>
                <a:ea typeface="Cambria"/>
                <a:cs typeface="Cambria"/>
                <a:sym typeface="Cambria"/>
              </a:defRPr>
            </a:lvl5pPr>
            <a:lvl6pPr marR="0" lvl="5" algn="l" rtl="0">
              <a:spcBef>
                <a:spcPts val="0"/>
              </a:spcBef>
              <a:spcAft>
                <a:spcPts val="0"/>
              </a:spcAft>
              <a:buSzPts val="1400"/>
              <a:buNone/>
              <a:defRPr sz="1800" b="0" i="0" u="none" strike="noStrike" cap="none">
                <a:solidFill>
                  <a:schemeClr val="dk2"/>
                </a:solidFill>
              </a:defRPr>
            </a:lvl6pPr>
            <a:lvl7pPr marR="0" lvl="6" algn="l" rtl="0">
              <a:spcBef>
                <a:spcPts val="0"/>
              </a:spcBef>
              <a:spcAft>
                <a:spcPts val="0"/>
              </a:spcAft>
              <a:buSzPts val="1400"/>
              <a:buNone/>
              <a:defRPr sz="1800" b="0" i="0" u="none" strike="noStrike" cap="none">
                <a:solidFill>
                  <a:schemeClr val="dk2"/>
                </a:solidFill>
              </a:defRPr>
            </a:lvl7pPr>
            <a:lvl8pPr marR="0" lvl="7" algn="l" rtl="0">
              <a:spcBef>
                <a:spcPts val="0"/>
              </a:spcBef>
              <a:spcAft>
                <a:spcPts val="0"/>
              </a:spcAft>
              <a:buSzPts val="1400"/>
              <a:buNone/>
              <a:defRPr sz="1800" b="0" i="0" u="none" strike="noStrike" cap="none">
                <a:solidFill>
                  <a:schemeClr val="dk2"/>
                </a:solidFill>
              </a:defRPr>
            </a:lvl8pPr>
            <a:lvl9pPr marR="0" lvl="8" algn="l" rtl="0">
              <a:spcBef>
                <a:spcPts val="0"/>
              </a:spcBef>
              <a:spcAft>
                <a:spcPts val="0"/>
              </a:spcAft>
              <a:buSzPts val="1400"/>
              <a:buNone/>
              <a:defRPr sz="1800" b="0" i="0" u="none" strike="noStrike" cap="none">
                <a:solidFill>
                  <a:schemeClr val="dk2"/>
                </a:solidFill>
              </a:defRPr>
            </a:lvl9pPr>
          </a:lstStyle>
          <a:p>
            <a:endParaRPr/>
          </a:p>
        </p:txBody>
      </p:sp>
      <p:sp>
        <p:nvSpPr>
          <p:cNvPr id="12" name="Google Shape;12;p12"/>
          <p:cNvSpPr txBox="1">
            <a:spLocks noGrp="1"/>
          </p:cNvSpPr>
          <p:nvPr>
            <p:ph type="body" idx="1"/>
          </p:nvPr>
        </p:nvSpPr>
        <p:spPr>
          <a:xfrm>
            <a:off x="838200" y="2038350"/>
            <a:ext cx="7467600" cy="3951288"/>
          </a:xfrm>
          <a:prstGeom prst="rect">
            <a:avLst/>
          </a:prstGeom>
          <a:noFill/>
          <a:ln>
            <a:noFill/>
          </a:ln>
        </p:spPr>
        <p:txBody>
          <a:bodyPr spcFirstLastPara="1" wrap="square" lIns="91425" tIns="45700" rIns="91425" bIns="45700" anchor="t" anchorCtr="0">
            <a:noAutofit/>
          </a:bodyPr>
          <a:lstStyle>
            <a:lvl1pPr marL="457200" marR="0" lvl="0" indent="-373380" algn="l" rtl="0">
              <a:spcBef>
                <a:spcPts val="480"/>
              </a:spcBef>
              <a:spcAft>
                <a:spcPts val="0"/>
              </a:spcAft>
              <a:buClr>
                <a:schemeClr val="accent1"/>
              </a:buClr>
              <a:buSzPts val="2280"/>
              <a:buFont typeface="Arial"/>
              <a:buChar char="0"/>
              <a:defRPr sz="2400" b="0" i="0" u="none" strike="noStrike" cap="none">
                <a:solidFill>
                  <a:srgbClr val="404040"/>
                </a:solidFill>
                <a:latin typeface="Cambria"/>
                <a:ea typeface="Cambria"/>
                <a:cs typeface="Cambria"/>
                <a:sym typeface="Cambria"/>
              </a:defRPr>
            </a:lvl1pPr>
            <a:lvl2pPr marL="914400" marR="0" lvl="1" indent="-361315" algn="l" rtl="0">
              <a:spcBef>
                <a:spcPts val="440"/>
              </a:spcBef>
              <a:spcAft>
                <a:spcPts val="0"/>
              </a:spcAft>
              <a:buClr>
                <a:schemeClr val="accent1"/>
              </a:buClr>
              <a:buSzPts val="2090"/>
              <a:buFont typeface="Arial"/>
              <a:buChar char="0"/>
              <a:defRPr sz="2200" b="0" i="0" u="none" strike="noStrike" cap="none">
                <a:solidFill>
                  <a:srgbClr val="404040"/>
                </a:solidFill>
                <a:latin typeface="Cambria"/>
                <a:ea typeface="Cambria"/>
                <a:cs typeface="Cambria"/>
                <a:sym typeface="Cambria"/>
              </a:defRPr>
            </a:lvl2pPr>
            <a:lvl3pPr marL="1371600" marR="0" lvl="2" indent="-349250" algn="l" rtl="0">
              <a:spcBef>
                <a:spcPts val="400"/>
              </a:spcBef>
              <a:spcAft>
                <a:spcPts val="0"/>
              </a:spcAft>
              <a:buClr>
                <a:schemeClr val="accent1"/>
              </a:buClr>
              <a:buSzPts val="1900"/>
              <a:buFont typeface="Arial"/>
              <a:buChar char="0"/>
              <a:defRPr sz="2000" b="0" i="0" u="none" strike="noStrike" cap="none">
                <a:solidFill>
                  <a:srgbClr val="404040"/>
                </a:solidFill>
                <a:latin typeface="Cambria"/>
                <a:ea typeface="Cambria"/>
                <a:cs typeface="Cambria"/>
                <a:sym typeface="Cambria"/>
              </a:defRPr>
            </a:lvl3pPr>
            <a:lvl4pPr marL="1828800" marR="0" lvl="3" indent="-325119" algn="l" rtl="0">
              <a:spcBef>
                <a:spcPts val="320"/>
              </a:spcBef>
              <a:spcAft>
                <a:spcPts val="0"/>
              </a:spcAft>
              <a:buClr>
                <a:schemeClr val="accent1"/>
              </a:buClr>
              <a:buSzPts val="1520"/>
              <a:buFont typeface="Arial"/>
              <a:buChar char="0"/>
              <a:defRPr sz="1600" b="0" i="0" u="none" strike="noStrike" cap="none">
                <a:solidFill>
                  <a:srgbClr val="404040"/>
                </a:solidFill>
                <a:latin typeface="Cambria"/>
                <a:ea typeface="Cambria"/>
                <a:cs typeface="Cambria"/>
                <a:sym typeface="Cambria"/>
              </a:defRPr>
            </a:lvl4pPr>
            <a:lvl5pPr marL="2286000" marR="0" lvl="4" indent="-313054" algn="l" rtl="0">
              <a:spcBef>
                <a:spcPts val="280"/>
              </a:spcBef>
              <a:spcAft>
                <a:spcPts val="0"/>
              </a:spcAft>
              <a:buClr>
                <a:schemeClr val="accent1"/>
              </a:buClr>
              <a:buSzPts val="1330"/>
              <a:buFont typeface="Arial"/>
              <a:buChar char="0"/>
              <a:defRPr sz="1400" b="0" i="0" u="none" strike="noStrike" cap="none">
                <a:solidFill>
                  <a:srgbClr val="404040"/>
                </a:solidFill>
                <a:latin typeface="Cambria"/>
                <a:ea typeface="Cambria"/>
                <a:cs typeface="Cambria"/>
                <a:sym typeface="Cambria"/>
              </a:defRPr>
            </a:lvl5pPr>
            <a:lvl6pPr marL="2743200" marR="0" lvl="5" indent="-313054" algn="l" rtl="0">
              <a:spcBef>
                <a:spcPts val="280"/>
              </a:spcBef>
              <a:spcAft>
                <a:spcPts val="0"/>
              </a:spcAft>
              <a:buClr>
                <a:schemeClr val="accent1"/>
              </a:buClr>
              <a:buSzPts val="1330"/>
              <a:buFont typeface="Arial"/>
              <a:buChar char="0"/>
              <a:defRPr sz="1400" b="0" i="0" u="none" strike="noStrike" cap="none">
                <a:solidFill>
                  <a:srgbClr val="3F3F3F"/>
                </a:solidFill>
                <a:latin typeface="Cambria"/>
                <a:ea typeface="Cambria"/>
                <a:cs typeface="Cambria"/>
                <a:sym typeface="Cambria"/>
              </a:defRPr>
            </a:lvl6pPr>
            <a:lvl7pPr marL="3200400" marR="0" lvl="6" indent="-313054" algn="l" rtl="0">
              <a:spcBef>
                <a:spcPts val="280"/>
              </a:spcBef>
              <a:spcAft>
                <a:spcPts val="0"/>
              </a:spcAft>
              <a:buClr>
                <a:schemeClr val="accent1"/>
              </a:buClr>
              <a:buSzPts val="1330"/>
              <a:buFont typeface="Arial"/>
              <a:buChar char="0"/>
              <a:defRPr sz="1400" b="0" i="0" u="none" strike="noStrike" cap="none">
                <a:solidFill>
                  <a:srgbClr val="3F3F3F"/>
                </a:solidFill>
                <a:latin typeface="Cambria"/>
                <a:ea typeface="Cambria"/>
                <a:cs typeface="Cambria"/>
                <a:sym typeface="Cambria"/>
              </a:defRPr>
            </a:lvl7pPr>
            <a:lvl8pPr marL="3657600" marR="0" lvl="7" indent="-313054" algn="l" rtl="0">
              <a:spcBef>
                <a:spcPts val="280"/>
              </a:spcBef>
              <a:spcAft>
                <a:spcPts val="0"/>
              </a:spcAft>
              <a:buClr>
                <a:schemeClr val="accent1"/>
              </a:buClr>
              <a:buSzPts val="1330"/>
              <a:buFont typeface="Arial"/>
              <a:buChar char="0"/>
              <a:defRPr sz="1400" b="0" i="0" u="none" strike="noStrike" cap="none">
                <a:solidFill>
                  <a:srgbClr val="3F3F3F"/>
                </a:solidFill>
                <a:latin typeface="Cambria"/>
                <a:ea typeface="Cambria"/>
                <a:cs typeface="Cambria"/>
                <a:sym typeface="Cambria"/>
              </a:defRPr>
            </a:lvl8pPr>
            <a:lvl9pPr marL="4114800" marR="0" lvl="8" indent="-313054" algn="l" rtl="0">
              <a:spcBef>
                <a:spcPts val="280"/>
              </a:spcBef>
              <a:spcAft>
                <a:spcPts val="0"/>
              </a:spcAft>
              <a:buClr>
                <a:schemeClr val="accent1"/>
              </a:buClr>
              <a:buSzPts val="1330"/>
              <a:buFont typeface="Arial"/>
              <a:buChar char="0"/>
              <a:defRPr sz="1400" b="0" i="0" u="none" strike="noStrike" cap="none">
                <a:solidFill>
                  <a:srgbClr val="3F3F3F"/>
                </a:solidFill>
                <a:latin typeface="Cambria"/>
                <a:ea typeface="Cambria"/>
                <a:cs typeface="Cambria"/>
                <a:sym typeface="Cambria"/>
              </a:defRPr>
            </a:lvl9pPr>
          </a:lstStyle>
          <a:p>
            <a:endParaRPr/>
          </a:p>
        </p:txBody>
      </p:sp>
      <p:sp>
        <p:nvSpPr>
          <p:cNvPr id="13" name="Google Shape;13;p12"/>
          <p:cNvSpPr txBox="1">
            <a:spLocks noGrp="1"/>
          </p:cNvSpPr>
          <p:nvPr>
            <p:ph type="dt" idx="10"/>
          </p:nvPr>
        </p:nvSpPr>
        <p:spPr>
          <a:xfrm>
            <a:off x="550863" y="6148390"/>
            <a:ext cx="21336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050" b="0" i="0" u="none" strike="noStrike" cap="none">
                <a:solidFill>
                  <a:srgbClr val="7F7F7F"/>
                </a:solidFill>
                <a:latin typeface="Arial"/>
                <a:ea typeface="Arial"/>
                <a:cs typeface="Arial"/>
                <a:sym typeface="Arial"/>
              </a:defRPr>
            </a:lvl1pPr>
            <a:lvl2pPr marR="0" lvl="1"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2pPr>
            <a:lvl3pPr marR="0" lvl="2"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3pPr>
            <a:lvl4pPr marR="0" lvl="3"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4pPr>
            <a:lvl5pPr marR="0" lvl="4"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5pPr>
            <a:lvl6pPr marR="0" lvl="5"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6pPr>
            <a:lvl7pPr marR="0" lvl="6"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7pPr>
            <a:lvl8pPr marR="0" lvl="7"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8pPr>
            <a:lvl9pPr marR="0" lvl="8"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9pPr>
          </a:lstStyle>
          <a:p>
            <a:endParaRPr/>
          </a:p>
        </p:txBody>
      </p:sp>
      <p:sp>
        <p:nvSpPr>
          <p:cNvPr id="14" name="Google Shape;14;p12"/>
          <p:cNvSpPr txBox="1">
            <a:spLocks noGrp="1"/>
          </p:cNvSpPr>
          <p:nvPr>
            <p:ph type="ftr" idx="11"/>
          </p:nvPr>
        </p:nvSpPr>
        <p:spPr>
          <a:xfrm>
            <a:off x="3124200" y="6148390"/>
            <a:ext cx="28956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050" b="0" i="0" u="none" strike="noStrike" cap="none">
                <a:solidFill>
                  <a:srgbClr val="7F7F7F"/>
                </a:solidFill>
                <a:latin typeface="Arial"/>
                <a:ea typeface="Arial"/>
                <a:cs typeface="Arial"/>
                <a:sym typeface="Arial"/>
              </a:defRPr>
            </a:lvl1pPr>
            <a:lvl2pPr marR="0" lvl="1"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2pPr>
            <a:lvl3pPr marR="0" lvl="2"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3pPr>
            <a:lvl4pPr marR="0" lvl="3"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4pPr>
            <a:lvl5pPr marR="0" lvl="4"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5pPr>
            <a:lvl6pPr marR="0" lvl="5"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6pPr>
            <a:lvl7pPr marR="0" lvl="6"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7pPr>
            <a:lvl8pPr marR="0" lvl="7"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8pPr>
            <a:lvl9pPr marR="0" lvl="8" algn="l" rtl="0">
              <a:spcBef>
                <a:spcPts val="0"/>
              </a:spcBef>
              <a:spcAft>
                <a:spcPts val="0"/>
              </a:spcAft>
              <a:buSzPts val="1400"/>
              <a:buNone/>
              <a:defRPr sz="1350" b="0" i="0" u="none" strike="noStrike" cap="none">
                <a:solidFill>
                  <a:schemeClr val="dk1"/>
                </a:solidFill>
                <a:latin typeface="Cambria"/>
                <a:ea typeface="Cambria"/>
                <a:cs typeface="Cambria"/>
                <a:sym typeface="Cambria"/>
              </a:defRPr>
            </a:lvl9pPr>
          </a:lstStyle>
          <a:p>
            <a:endParaRPr/>
          </a:p>
        </p:txBody>
      </p:sp>
      <p:sp>
        <p:nvSpPr>
          <p:cNvPr id="15" name="Google Shape;15;p12"/>
          <p:cNvSpPr txBox="1">
            <a:spLocks noGrp="1"/>
          </p:cNvSpPr>
          <p:nvPr>
            <p:ph type="sldNum" idx="12"/>
          </p:nvPr>
        </p:nvSpPr>
        <p:spPr>
          <a:xfrm>
            <a:off x="6459538" y="6148390"/>
            <a:ext cx="21336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spcAft>
                <a:spcPts val="0"/>
              </a:spcAft>
              <a:buNone/>
              <a:defRPr sz="1050" b="0" i="0" u="none" strike="noStrike" cap="none">
                <a:solidFill>
                  <a:srgbClr val="7F7F7F"/>
                </a:solidFill>
                <a:latin typeface="Arial"/>
                <a:ea typeface="Arial"/>
                <a:cs typeface="Arial"/>
                <a:sym typeface="Arial"/>
              </a:defRPr>
            </a:lvl1pPr>
            <a:lvl2pPr marL="0" marR="0" lvl="1" indent="0" algn="r" rtl="0">
              <a:spcBef>
                <a:spcPts val="0"/>
              </a:spcBef>
              <a:spcAft>
                <a:spcPts val="0"/>
              </a:spcAft>
              <a:buNone/>
              <a:defRPr sz="1050" b="0" i="0" u="none" strike="noStrike" cap="none">
                <a:solidFill>
                  <a:srgbClr val="7F7F7F"/>
                </a:solidFill>
                <a:latin typeface="Arial"/>
                <a:ea typeface="Arial"/>
                <a:cs typeface="Arial"/>
                <a:sym typeface="Arial"/>
              </a:defRPr>
            </a:lvl2pPr>
            <a:lvl3pPr marL="0" marR="0" lvl="2" indent="0" algn="r" rtl="0">
              <a:spcBef>
                <a:spcPts val="0"/>
              </a:spcBef>
              <a:spcAft>
                <a:spcPts val="0"/>
              </a:spcAft>
              <a:buNone/>
              <a:defRPr sz="1050" b="0" i="0" u="none" strike="noStrike" cap="none">
                <a:solidFill>
                  <a:srgbClr val="7F7F7F"/>
                </a:solidFill>
                <a:latin typeface="Arial"/>
                <a:ea typeface="Arial"/>
                <a:cs typeface="Arial"/>
                <a:sym typeface="Arial"/>
              </a:defRPr>
            </a:lvl3pPr>
            <a:lvl4pPr marL="0" marR="0" lvl="3" indent="0" algn="r" rtl="0">
              <a:spcBef>
                <a:spcPts val="0"/>
              </a:spcBef>
              <a:spcAft>
                <a:spcPts val="0"/>
              </a:spcAft>
              <a:buNone/>
              <a:defRPr sz="1050" b="0" i="0" u="none" strike="noStrike" cap="none">
                <a:solidFill>
                  <a:srgbClr val="7F7F7F"/>
                </a:solidFill>
                <a:latin typeface="Arial"/>
                <a:ea typeface="Arial"/>
                <a:cs typeface="Arial"/>
                <a:sym typeface="Arial"/>
              </a:defRPr>
            </a:lvl4pPr>
            <a:lvl5pPr marL="0" marR="0" lvl="4" indent="0" algn="r" rtl="0">
              <a:spcBef>
                <a:spcPts val="0"/>
              </a:spcBef>
              <a:spcAft>
                <a:spcPts val="0"/>
              </a:spcAft>
              <a:buNone/>
              <a:defRPr sz="1050" b="0" i="0" u="none" strike="noStrike" cap="none">
                <a:solidFill>
                  <a:srgbClr val="7F7F7F"/>
                </a:solidFill>
                <a:latin typeface="Arial"/>
                <a:ea typeface="Arial"/>
                <a:cs typeface="Arial"/>
                <a:sym typeface="Arial"/>
              </a:defRPr>
            </a:lvl5pPr>
            <a:lvl6pPr marL="0" marR="0" lvl="5" indent="0" algn="r" rtl="0">
              <a:spcBef>
                <a:spcPts val="0"/>
              </a:spcBef>
              <a:spcAft>
                <a:spcPts val="0"/>
              </a:spcAft>
              <a:buNone/>
              <a:defRPr sz="1050" b="0" i="0" u="none" strike="noStrike" cap="none">
                <a:solidFill>
                  <a:srgbClr val="7F7F7F"/>
                </a:solidFill>
                <a:latin typeface="Arial"/>
                <a:ea typeface="Arial"/>
                <a:cs typeface="Arial"/>
                <a:sym typeface="Arial"/>
              </a:defRPr>
            </a:lvl6pPr>
            <a:lvl7pPr marL="0" marR="0" lvl="6" indent="0" algn="r" rtl="0">
              <a:spcBef>
                <a:spcPts val="0"/>
              </a:spcBef>
              <a:spcAft>
                <a:spcPts val="0"/>
              </a:spcAft>
              <a:buNone/>
              <a:defRPr sz="1050" b="0" i="0" u="none" strike="noStrike" cap="none">
                <a:solidFill>
                  <a:srgbClr val="7F7F7F"/>
                </a:solidFill>
                <a:latin typeface="Arial"/>
                <a:ea typeface="Arial"/>
                <a:cs typeface="Arial"/>
                <a:sym typeface="Arial"/>
              </a:defRPr>
            </a:lvl7pPr>
            <a:lvl8pPr marL="0" marR="0" lvl="7" indent="0" algn="r" rtl="0">
              <a:spcBef>
                <a:spcPts val="0"/>
              </a:spcBef>
              <a:spcAft>
                <a:spcPts val="0"/>
              </a:spcAft>
              <a:buNone/>
              <a:defRPr sz="1050" b="0" i="0" u="none" strike="noStrike" cap="none">
                <a:solidFill>
                  <a:srgbClr val="7F7F7F"/>
                </a:solidFill>
                <a:latin typeface="Arial"/>
                <a:ea typeface="Arial"/>
                <a:cs typeface="Arial"/>
                <a:sym typeface="Arial"/>
              </a:defRPr>
            </a:lvl8pPr>
            <a:lvl9pPr marL="0" marR="0" lvl="8" indent="0" algn="r" rtl="0">
              <a:spcBef>
                <a:spcPts val="0"/>
              </a:spcBef>
              <a:spcAft>
                <a:spcPts val="0"/>
              </a:spcAft>
              <a:buNone/>
              <a:defRPr sz="1050" b="0" i="0" u="none" strike="noStrike" cap="none">
                <a:solidFill>
                  <a:srgbClr val="7F7F7F"/>
                </a:solidFill>
                <a:latin typeface="Arial"/>
                <a:ea typeface="Arial"/>
                <a:cs typeface="Arial"/>
                <a:sym typeface="Arial"/>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4168142757"/>
      </p:ext>
    </p:extLst>
  </p:cSld>
  <p:clrMap bg1="lt1" tx1="dk1" bg2="dk2" tx2="lt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100000">
              <a:schemeClr val="bg2">
                <a:lumMod val="29000"/>
              </a:schemeClr>
            </a:gs>
            <a:gs pos="50000">
              <a:schemeClr val="bg2">
                <a:lumMod val="78000"/>
              </a:schemeClr>
            </a:gs>
            <a:gs pos="0">
              <a:schemeClr val="bg2">
                <a:lumMod val="85000"/>
                <a:lumOff val="15000"/>
              </a:schemeClr>
            </a:gs>
          </a:gsLst>
          <a:lin ang="5400000" scaled="0"/>
          <a:tileRect/>
        </a:gra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0" y="13370"/>
            <a:ext cx="9144000" cy="98500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Text Placeholder 2"/>
          <p:cNvSpPr>
            <a:spLocks noGrp="1"/>
          </p:cNvSpPr>
          <p:nvPr>
            <p:ph type="body" idx="1"/>
          </p:nvPr>
        </p:nvSpPr>
        <p:spPr bwMode="auto">
          <a:xfrm>
            <a:off x="457200" y="1306281"/>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1062540"/>
      </p:ext>
    </p:extLst>
  </p:cSld>
  <p:clrMap bg1="dk1" tx1="lt1" bg2="dk2" tx2="lt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42" r:id="rId12"/>
    <p:sldLayoutId id="2147483743" r:id="rId13"/>
    <p:sldLayoutId id="2147483744" r:id="rId14"/>
    <p:sldLayoutId id="2147483745" r:id="rId15"/>
    <p:sldLayoutId id="2147483746" r:id="rId16"/>
    <p:sldLayoutId id="2147483747" r:id="rId17"/>
    <p:sldLayoutId id="2147483748" r:id="rId18"/>
    <p:sldLayoutId id="2147483749" r:id="rId19"/>
    <p:sldLayoutId id="2147483750" r:id="rId20"/>
    <p:sldLayoutId id="2147483751" r:id="rId21"/>
  </p:sldLayoutIdLst>
  <p:hf sldNum="0" hdr="0" ftr="0" dt="0"/>
  <p:txStyles>
    <p:titleStyle>
      <a:lvl1pPr algn="ctr" defTabSz="457200" rtl="0" eaLnBrk="1" fontAlgn="base" hangingPunct="1">
        <a:lnSpc>
          <a:spcPct val="100000"/>
        </a:lnSpc>
        <a:spcBef>
          <a:spcPct val="0"/>
        </a:spcBef>
        <a:spcAft>
          <a:spcPct val="0"/>
        </a:spcAft>
        <a:defRPr sz="3600" b="1" kern="1200">
          <a:solidFill>
            <a:schemeClr val="tx1"/>
          </a:solidFill>
          <a:latin typeface="Arial"/>
          <a:ea typeface="ＭＳ Ｐゴシック" charset="-128"/>
          <a:cs typeface="Arial"/>
        </a:defRPr>
      </a:lvl1pPr>
      <a:lvl2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2pPr>
      <a:lvl3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3pPr>
      <a:lvl4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4pPr>
      <a:lvl5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5pPr>
      <a:lvl6pPr marL="4572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6pPr>
      <a:lvl7pPr marL="9144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7pPr>
      <a:lvl8pPr marL="13716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8pPr>
      <a:lvl9pPr marL="18288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9pPr>
    </p:titleStyle>
    <p:bodyStyle>
      <a:lvl1pPr marL="233363" indent="-233363" algn="l" defTabSz="457200" rtl="0" eaLnBrk="1" fontAlgn="base" hangingPunct="1">
        <a:lnSpc>
          <a:spcPct val="90000"/>
        </a:lnSpc>
        <a:spcBef>
          <a:spcPts val="1350"/>
        </a:spcBef>
        <a:spcAft>
          <a:spcPct val="0"/>
        </a:spcAft>
        <a:buClr>
          <a:schemeClr val="bg2">
            <a:lumMod val="40000"/>
            <a:lumOff val="60000"/>
          </a:schemeClr>
        </a:buClr>
        <a:buSzPct val="85000"/>
        <a:buFont typeface="Arial" charset="0"/>
        <a:buChar char="•"/>
        <a:defRPr sz="2800" kern="1200">
          <a:solidFill>
            <a:schemeClr val="tx1"/>
          </a:solidFill>
          <a:latin typeface="Arial"/>
          <a:ea typeface="ＭＳ Ｐゴシック" charset="-128"/>
          <a:cs typeface="Arial"/>
        </a:defRPr>
      </a:lvl1pPr>
      <a:lvl2pPr marL="457200" indent="-223838" algn="l" defTabSz="457200" rtl="0" eaLnBrk="1" fontAlgn="base" hangingPunct="1">
        <a:lnSpc>
          <a:spcPct val="90000"/>
        </a:lnSpc>
        <a:spcBef>
          <a:spcPts val="1350"/>
        </a:spcBef>
        <a:spcAft>
          <a:spcPct val="0"/>
        </a:spcAft>
        <a:buClr>
          <a:schemeClr val="bg2">
            <a:lumMod val="40000"/>
            <a:lumOff val="60000"/>
          </a:schemeClr>
        </a:buClr>
        <a:buSzPct val="85000"/>
        <a:buFont typeface="Arial" charset="0"/>
        <a:buChar char="•"/>
        <a:defRPr sz="2400" kern="1200">
          <a:solidFill>
            <a:schemeClr val="tx1"/>
          </a:solidFill>
          <a:latin typeface="Arial"/>
          <a:ea typeface="ＭＳ Ｐゴシック" charset="-128"/>
          <a:cs typeface="Arial"/>
        </a:defRPr>
      </a:lvl2pPr>
      <a:lvl3pPr marL="690563" indent="-233363" algn="l" defTabSz="457200" rtl="0" eaLnBrk="1" fontAlgn="base" hangingPunct="1">
        <a:lnSpc>
          <a:spcPct val="90000"/>
        </a:lnSpc>
        <a:spcBef>
          <a:spcPts val="1350"/>
        </a:spcBef>
        <a:spcAft>
          <a:spcPct val="0"/>
        </a:spcAft>
        <a:buClr>
          <a:schemeClr val="bg2">
            <a:lumMod val="40000"/>
            <a:lumOff val="60000"/>
          </a:schemeClr>
        </a:buClr>
        <a:buSzPct val="85000"/>
        <a:buFont typeface="Arial" charset="0"/>
        <a:buChar char="•"/>
        <a:defRPr sz="2200" kern="1200">
          <a:solidFill>
            <a:schemeClr val="tx1"/>
          </a:solidFill>
          <a:latin typeface="Arial"/>
          <a:ea typeface="ＭＳ Ｐゴシック" charset="-128"/>
          <a:cs typeface="Arial"/>
        </a:defRPr>
      </a:lvl3pPr>
      <a:lvl4pPr marL="914400" indent="-223838" algn="l" defTabSz="457200" rtl="0" eaLnBrk="1" fontAlgn="base" hangingPunct="1">
        <a:lnSpc>
          <a:spcPct val="90000"/>
        </a:lnSpc>
        <a:spcBef>
          <a:spcPts val="1350"/>
        </a:spcBef>
        <a:spcAft>
          <a:spcPct val="0"/>
        </a:spcAft>
        <a:buClr>
          <a:schemeClr val="bg2">
            <a:lumMod val="40000"/>
            <a:lumOff val="60000"/>
          </a:schemeClr>
        </a:buClr>
        <a:buSzPct val="85000"/>
        <a:buFont typeface="Arial" charset="0"/>
        <a:buChar char="•"/>
        <a:defRPr sz="2000" kern="1200">
          <a:solidFill>
            <a:schemeClr val="tx1"/>
          </a:solidFill>
          <a:latin typeface="Arial"/>
          <a:ea typeface="ＭＳ Ｐゴシック" charset="-128"/>
          <a:cs typeface="Arial"/>
        </a:defRPr>
      </a:lvl4pPr>
      <a:lvl5pPr marL="1147763" indent="-233363" algn="l" defTabSz="457200" rtl="0" eaLnBrk="1" fontAlgn="base" hangingPunct="1">
        <a:lnSpc>
          <a:spcPct val="90000"/>
        </a:lnSpc>
        <a:spcBef>
          <a:spcPts val="1350"/>
        </a:spcBef>
        <a:spcAft>
          <a:spcPct val="0"/>
        </a:spcAft>
        <a:buClr>
          <a:schemeClr val="bg2">
            <a:lumMod val="40000"/>
            <a:lumOff val="60000"/>
          </a:schemeClr>
        </a:buClr>
        <a:buSzPct val="85000"/>
        <a:buFont typeface="Arial" charset="0"/>
        <a:buChar char="•"/>
        <a:defRPr kern="1200">
          <a:solidFill>
            <a:schemeClr val="tx1"/>
          </a:solidFill>
          <a:latin typeface="Arial"/>
          <a:ea typeface="ＭＳ Ｐゴシック" charset="-128"/>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file:///E:\CDC%20Work\tapper_EIS_slides_get_to_zero\respond.png" TargetMode="External"/><Relationship Id="rId3" Type="http://schemas.openxmlformats.org/officeDocument/2006/relationships/image" Target="../media/image20.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file:///E:\CDC%20Work\tapper_EIS_slides_get_to_zero\prevent.png" TargetMode="External"/><Relationship Id="rId5" Type="http://schemas.openxmlformats.org/officeDocument/2006/relationships/image" Target="../media/image21.png"/><Relationship Id="rId4" Type="http://schemas.openxmlformats.org/officeDocument/2006/relationships/image" Target="file:///E:\CDC%20Work\tapper_EIS_slides_get_to_zero\detect.png"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file:///E:\CDC%20Work\tapper_EIS_slides_get_to_zero\THURSDAY\12-biosafety.png" TargetMode="External"/><Relationship Id="rId13" Type="http://schemas.openxmlformats.org/officeDocument/2006/relationships/image" Target="../media/image28.png"/><Relationship Id="rId18" Type="http://schemas.openxmlformats.org/officeDocument/2006/relationships/image" Target="file:///E:\CDC%20Work\tapper_EIS_slides_get_to_zero\THURSDAY\12-workforce.png" TargetMode="External"/><Relationship Id="rId3" Type="http://schemas.openxmlformats.org/officeDocument/2006/relationships/image" Target="../media/image23.png"/><Relationship Id="rId21" Type="http://schemas.openxmlformats.org/officeDocument/2006/relationships/image" Target="../media/image32.png"/><Relationship Id="rId7" Type="http://schemas.openxmlformats.org/officeDocument/2006/relationships/image" Target="../media/image25.png"/><Relationship Id="rId12" Type="http://schemas.openxmlformats.org/officeDocument/2006/relationships/image" Target="file:///E:\CDC%20Work\tapper_EIS_slides_get_to_zero\THURSDAY\12-laboratory.png" TargetMode="External"/><Relationship Id="rId17" Type="http://schemas.openxmlformats.org/officeDocument/2006/relationships/image" Target="../media/image30.png"/><Relationship Id="rId2" Type="http://schemas.openxmlformats.org/officeDocument/2006/relationships/notesSlide" Target="../notesSlides/notesSlide5.xml"/><Relationship Id="rId16" Type="http://schemas.openxmlformats.org/officeDocument/2006/relationships/image" Target="file:///E:\CDC%20Work\tapper_EIS_slides_get_to_zero\THURSDAY\12-hgsa.png" TargetMode="External"/><Relationship Id="rId20" Type="http://schemas.openxmlformats.org/officeDocument/2006/relationships/image" Target="file:///E:\CDC%20Work\tapper_EIS_slides_get_to_zero\THURSDAY\12-emergency.png" TargetMode="External"/><Relationship Id="rId1" Type="http://schemas.openxmlformats.org/officeDocument/2006/relationships/slideLayout" Target="../slideLayouts/slideLayout10.xml"/><Relationship Id="rId6" Type="http://schemas.openxmlformats.org/officeDocument/2006/relationships/image" Target="file:///E:\CDC%20Work\tapper_EIS_slides_get_to_zero\THURSDAY\12-zoonotic.png" TargetMode="External"/><Relationship Id="rId11" Type="http://schemas.openxmlformats.org/officeDocument/2006/relationships/image" Target="../media/image27.png"/><Relationship Id="rId24" Type="http://schemas.openxmlformats.org/officeDocument/2006/relationships/image" Target="file:///E:\CDC%20Work\tapper_EIS_slides_get_to_zero\THURSDAY\12-countermeasures.png" TargetMode="External"/><Relationship Id="rId5" Type="http://schemas.openxmlformats.org/officeDocument/2006/relationships/image" Target="../media/image24.png"/><Relationship Id="rId15" Type="http://schemas.openxmlformats.org/officeDocument/2006/relationships/image" Target="../media/image29.png"/><Relationship Id="rId23" Type="http://schemas.openxmlformats.org/officeDocument/2006/relationships/image" Target="../media/image33.png"/><Relationship Id="rId10" Type="http://schemas.openxmlformats.org/officeDocument/2006/relationships/image" Target="file:///E:\CDC%20Work\tapper_EIS_slides_get_to_zero\THURSDAY\12-immunization.png" TargetMode="External"/><Relationship Id="rId19" Type="http://schemas.openxmlformats.org/officeDocument/2006/relationships/image" Target="../media/image31.png"/><Relationship Id="rId4" Type="http://schemas.openxmlformats.org/officeDocument/2006/relationships/image" Target="file:///E:\CDC%20Work\tapper_EIS_slides_get_to_zero\THURSDAY\12-antimicrobial.png" TargetMode="External"/><Relationship Id="rId9" Type="http://schemas.openxmlformats.org/officeDocument/2006/relationships/image" Target="../media/image26.png"/><Relationship Id="rId14" Type="http://schemas.openxmlformats.org/officeDocument/2006/relationships/image" Target="file:///E:\CDC%20Work\tapper_EIS_slides_get_to_zero\THURSDAY\12-surveillance.png" TargetMode="External"/><Relationship Id="rId22" Type="http://schemas.openxmlformats.org/officeDocument/2006/relationships/image" Target="file:///E:\CDC%20Work\tapper_EIS_slides_get_to_zero\THURSDAY\12-law.png"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file:///E:\CDC%20Work\tapper_EIS_slides_get_to_zero\emergency.png" TargetMode="External"/><Relationship Id="rId3" Type="http://schemas.openxmlformats.org/officeDocument/2006/relationships/image" Target="../media/image34.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file:///E:\CDC%20Work\tapper_EIS_slides_get_to_zero\surveillance.png" TargetMode="External"/><Relationship Id="rId5" Type="http://schemas.openxmlformats.org/officeDocument/2006/relationships/image" Target="../media/image35.png"/><Relationship Id="rId10" Type="http://schemas.openxmlformats.org/officeDocument/2006/relationships/image" Target="file:///E:\CDC%20Work\tapper_EIS_slides_get_to_zero\workforce.png" TargetMode="External"/><Relationship Id="rId4" Type="http://schemas.openxmlformats.org/officeDocument/2006/relationships/image" Target="file:///E:\CDC%20Work\tapper_EIS_slides_get_to_zero\lab.png" TargetMode="External"/><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5.emf"/><Relationship Id="rId4" Type="http://schemas.openxmlformats.org/officeDocument/2006/relationships/oleObject" Target="../embeddings/oleObject1.bin"/></Relationships>
</file>

<file path=ppt/slides/_rels/slide26.xml.rels><?xml version="1.0" encoding="UTF-8" standalone="yes"?>
<Relationships xmlns="http://schemas.openxmlformats.org/package/2006/relationships"><Relationship Id="rId26" Type="http://schemas.openxmlformats.org/officeDocument/2006/relationships/tags" Target="../tags/tag27.xml"/><Relationship Id="rId21" Type="http://schemas.openxmlformats.org/officeDocument/2006/relationships/tags" Target="../tags/tag22.xml"/><Relationship Id="rId42" Type="http://schemas.openxmlformats.org/officeDocument/2006/relationships/tags" Target="../tags/tag43.xml"/><Relationship Id="rId47" Type="http://schemas.openxmlformats.org/officeDocument/2006/relationships/tags" Target="../tags/tag48.xml"/><Relationship Id="rId63" Type="http://schemas.openxmlformats.org/officeDocument/2006/relationships/tags" Target="../tags/tag64.xml"/><Relationship Id="rId68" Type="http://schemas.openxmlformats.org/officeDocument/2006/relationships/tags" Target="../tags/tag69.xml"/><Relationship Id="rId16" Type="http://schemas.openxmlformats.org/officeDocument/2006/relationships/tags" Target="../tags/tag1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tags" Target="../tags/tag33.xml"/><Relationship Id="rId37" Type="http://schemas.openxmlformats.org/officeDocument/2006/relationships/tags" Target="../tags/tag38.xml"/><Relationship Id="rId40" Type="http://schemas.openxmlformats.org/officeDocument/2006/relationships/tags" Target="../tags/tag41.xml"/><Relationship Id="rId45" Type="http://schemas.openxmlformats.org/officeDocument/2006/relationships/tags" Target="../tags/tag46.xml"/><Relationship Id="rId53" Type="http://schemas.openxmlformats.org/officeDocument/2006/relationships/tags" Target="../tags/tag54.xml"/><Relationship Id="rId58" Type="http://schemas.openxmlformats.org/officeDocument/2006/relationships/tags" Target="../tags/tag59.xml"/><Relationship Id="rId66" Type="http://schemas.openxmlformats.org/officeDocument/2006/relationships/tags" Target="../tags/tag67.xml"/><Relationship Id="rId74" Type="http://schemas.openxmlformats.org/officeDocument/2006/relationships/tags" Target="../tags/tag75.xml"/><Relationship Id="rId5" Type="http://schemas.openxmlformats.org/officeDocument/2006/relationships/tags" Target="../tags/tag6.xml"/><Relationship Id="rId61" Type="http://schemas.openxmlformats.org/officeDocument/2006/relationships/tags" Target="../tags/tag62.xml"/><Relationship Id="rId19" Type="http://schemas.openxmlformats.org/officeDocument/2006/relationships/tags" Target="../tags/tag2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 Id="rId35" Type="http://schemas.openxmlformats.org/officeDocument/2006/relationships/tags" Target="../tags/tag36.xml"/><Relationship Id="rId43" Type="http://schemas.openxmlformats.org/officeDocument/2006/relationships/tags" Target="../tags/tag44.xml"/><Relationship Id="rId48" Type="http://schemas.openxmlformats.org/officeDocument/2006/relationships/tags" Target="../tags/tag49.xml"/><Relationship Id="rId56" Type="http://schemas.openxmlformats.org/officeDocument/2006/relationships/tags" Target="../tags/tag57.xml"/><Relationship Id="rId64" Type="http://schemas.openxmlformats.org/officeDocument/2006/relationships/tags" Target="../tags/tag65.xml"/><Relationship Id="rId69" Type="http://schemas.openxmlformats.org/officeDocument/2006/relationships/tags" Target="../tags/tag70.xml"/><Relationship Id="rId77" Type="http://schemas.openxmlformats.org/officeDocument/2006/relationships/image" Target="../media/image46.jpeg"/><Relationship Id="rId8" Type="http://schemas.openxmlformats.org/officeDocument/2006/relationships/tags" Target="../tags/tag9.xml"/><Relationship Id="rId51" Type="http://schemas.openxmlformats.org/officeDocument/2006/relationships/tags" Target="../tags/tag52.xml"/><Relationship Id="rId72" Type="http://schemas.openxmlformats.org/officeDocument/2006/relationships/tags" Target="../tags/tag73.xml"/><Relationship Id="rId3" Type="http://schemas.openxmlformats.org/officeDocument/2006/relationships/tags" Target="../tags/tag4.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tags" Target="../tags/tag34.xml"/><Relationship Id="rId38" Type="http://schemas.openxmlformats.org/officeDocument/2006/relationships/tags" Target="../tags/tag39.xml"/><Relationship Id="rId46" Type="http://schemas.openxmlformats.org/officeDocument/2006/relationships/tags" Target="../tags/tag47.xml"/><Relationship Id="rId59" Type="http://schemas.openxmlformats.org/officeDocument/2006/relationships/tags" Target="../tags/tag60.xml"/><Relationship Id="rId67" Type="http://schemas.openxmlformats.org/officeDocument/2006/relationships/tags" Target="../tags/tag68.xml"/><Relationship Id="rId20" Type="http://schemas.openxmlformats.org/officeDocument/2006/relationships/tags" Target="../tags/tag21.xml"/><Relationship Id="rId41" Type="http://schemas.openxmlformats.org/officeDocument/2006/relationships/tags" Target="../tags/tag42.xml"/><Relationship Id="rId54" Type="http://schemas.openxmlformats.org/officeDocument/2006/relationships/tags" Target="../tags/tag55.xml"/><Relationship Id="rId62" Type="http://schemas.openxmlformats.org/officeDocument/2006/relationships/tags" Target="../tags/tag63.xml"/><Relationship Id="rId70" Type="http://schemas.openxmlformats.org/officeDocument/2006/relationships/tags" Target="../tags/tag71.xml"/><Relationship Id="rId75"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tags" Target="../tags/tag7.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36" Type="http://schemas.openxmlformats.org/officeDocument/2006/relationships/tags" Target="../tags/tag37.xml"/><Relationship Id="rId49" Type="http://schemas.openxmlformats.org/officeDocument/2006/relationships/tags" Target="../tags/tag50.xml"/><Relationship Id="rId57" Type="http://schemas.openxmlformats.org/officeDocument/2006/relationships/tags" Target="../tags/tag58.xml"/><Relationship Id="rId10" Type="http://schemas.openxmlformats.org/officeDocument/2006/relationships/tags" Target="../tags/tag11.xml"/><Relationship Id="rId31" Type="http://schemas.openxmlformats.org/officeDocument/2006/relationships/tags" Target="../tags/tag32.xml"/><Relationship Id="rId44" Type="http://schemas.openxmlformats.org/officeDocument/2006/relationships/tags" Target="../tags/tag45.xml"/><Relationship Id="rId52" Type="http://schemas.openxmlformats.org/officeDocument/2006/relationships/tags" Target="../tags/tag53.xml"/><Relationship Id="rId60" Type="http://schemas.openxmlformats.org/officeDocument/2006/relationships/tags" Target="../tags/tag61.xml"/><Relationship Id="rId65" Type="http://schemas.openxmlformats.org/officeDocument/2006/relationships/tags" Target="../tags/tag66.xml"/><Relationship Id="rId73" Type="http://schemas.openxmlformats.org/officeDocument/2006/relationships/tags" Target="../tags/tag74.xml"/><Relationship Id="rId4" Type="http://schemas.openxmlformats.org/officeDocument/2006/relationships/tags" Target="../tags/tag5.xml"/><Relationship Id="rId9" Type="http://schemas.openxmlformats.org/officeDocument/2006/relationships/tags" Target="../tags/tag10.xml"/><Relationship Id="rId13" Type="http://schemas.openxmlformats.org/officeDocument/2006/relationships/tags" Target="../tags/tag14.xml"/><Relationship Id="rId18" Type="http://schemas.openxmlformats.org/officeDocument/2006/relationships/tags" Target="../tags/tag19.xml"/><Relationship Id="rId39" Type="http://schemas.openxmlformats.org/officeDocument/2006/relationships/tags" Target="../tags/tag40.xml"/><Relationship Id="rId34" Type="http://schemas.openxmlformats.org/officeDocument/2006/relationships/tags" Target="../tags/tag35.xml"/><Relationship Id="rId50" Type="http://schemas.openxmlformats.org/officeDocument/2006/relationships/tags" Target="../tags/tag51.xml"/><Relationship Id="rId55" Type="http://schemas.openxmlformats.org/officeDocument/2006/relationships/tags" Target="../tags/tag56.xml"/><Relationship Id="rId76" Type="http://schemas.openxmlformats.org/officeDocument/2006/relationships/notesSlide" Target="../notesSlides/notesSlide13.xml"/><Relationship Id="rId7" Type="http://schemas.openxmlformats.org/officeDocument/2006/relationships/tags" Target="../tags/tag8.xml"/><Relationship Id="rId71" Type="http://schemas.openxmlformats.org/officeDocument/2006/relationships/tags" Target="../tags/tag72.xml"/><Relationship Id="rId2" Type="http://schemas.openxmlformats.org/officeDocument/2006/relationships/tags" Target="../tags/tag3.xml"/><Relationship Id="rId29" Type="http://schemas.openxmlformats.org/officeDocument/2006/relationships/tags" Target="../tags/tag3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hyperlink" Target="mailto:husman@cdc.gov" TargetMode="Externa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533400" y="2691384"/>
            <a:ext cx="8229600" cy="1271016"/>
          </a:xfrm>
        </p:spPr>
        <p:txBody>
          <a:bodyPr/>
          <a:lstStyle/>
          <a:p>
            <a:r>
              <a:rPr lang="en-US" sz="2800" dirty="0"/>
              <a:t>Dr. Mary A. Boyd </a:t>
            </a:r>
          </a:p>
          <a:p>
            <a:r>
              <a:rPr lang="en-US" sz="2800" dirty="0"/>
              <a:t>Country Director </a:t>
            </a:r>
          </a:p>
          <a:p>
            <a:r>
              <a:rPr lang="en-US" sz="2800" dirty="0"/>
              <a:t>U.S. Centers for Disease Control &amp; Prevention, Nigeria</a:t>
            </a:r>
          </a:p>
          <a:p>
            <a:endParaRPr lang="en-US" sz="2800" dirty="0"/>
          </a:p>
        </p:txBody>
      </p:sp>
      <p:sp>
        <p:nvSpPr>
          <p:cNvPr id="3" name="Text Placeholder 2"/>
          <p:cNvSpPr>
            <a:spLocks noGrp="1"/>
          </p:cNvSpPr>
          <p:nvPr>
            <p:ph type="body" sz="quarter" idx="10"/>
          </p:nvPr>
        </p:nvSpPr>
        <p:spPr>
          <a:xfrm>
            <a:off x="723900" y="4655820"/>
            <a:ext cx="7696200" cy="1770888"/>
          </a:xfrm>
        </p:spPr>
        <p:txBody>
          <a:bodyPr/>
          <a:lstStyle/>
          <a:p>
            <a:endParaRPr lang="en-US" sz="2400" b="1" dirty="0"/>
          </a:p>
          <a:p>
            <a:endParaRPr lang="en-US" sz="2400" b="1" dirty="0"/>
          </a:p>
          <a:p>
            <a:r>
              <a:rPr lang="en-US" sz="3200" b="1" dirty="0"/>
              <a:t>Nigeria Health Commissioners’ Forum </a:t>
            </a:r>
          </a:p>
          <a:p>
            <a:r>
              <a:rPr lang="en-US" sz="2400" b="1" dirty="0"/>
              <a:t>Sept 3</a:t>
            </a:r>
            <a:r>
              <a:rPr lang="en-US" sz="2400" b="1" baseline="30000" dirty="0"/>
              <a:t>rd</a:t>
            </a:r>
            <a:r>
              <a:rPr lang="en-US" sz="2400" b="1" dirty="0"/>
              <a:t>, 2021</a:t>
            </a:r>
          </a:p>
        </p:txBody>
      </p:sp>
      <p:sp>
        <p:nvSpPr>
          <p:cNvPr id="4" name="Title 3"/>
          <p:cNvSpPr>
            <a:spLocks noGrp="1"/>
          </p:cNvSpPr>
          <p:nvPr>
            <p:ph type="title"/>
          </p:nvPr>
        </p:nvSpPr>
        <p:spPr>
          <a:xfrm>
            <a:off x="228600" y="1014984"/>
            <a:ext cx="8686800" cy="1271016"/>
          </a:xfrm>
          <a:solidFill>
            <a:schemeClr val="accent2"/>
          </a:solidFill>
        </p:spPr>
        <p:txBody>
          <a:bodyPr/>
          <a:lstStyle/>
          <a:p>
            <a:br>
              <a:rPr lang="en-US" sz="3200" dirty="0">
                <a:solidFill>
                  <a:schemeClr val="bg2"/>
                </a:solidFill>
              </a:rPr>
            </a:br>
            <a:r>
              <a:rPr lang="en-US" sz="3200" dirty="0">
                <a:solidFill>
                  <a:schemeClr val="bg2"/>
                </a:solidFill>
              </a:rPr>
              <a:t>Introduction to U.S. CDC Nigeria </a:t>
            </a:r>
            <a:br>
              <a:rPr lang="en-US" sz="3200" dirty="0">
                <a:solidFill>
                  <a:schemeClr val="bg2"/>
                </a:solidFill>
              </a:rPr>
            </a:br>
            <a:r>
              <a:rPr lang="en-US" sz="3200" dirty="0">
                <a:solidFill>
                  <a:schemeClr val="bg2"/>
                </a:solidFill>
              </a:rPr>
              <a:t>Programs and Impact</a:t>
            </a:r>
          </a:p>
        </p:txBody>
      </p:sp>
      <p:sp>
        <p:nvSpPr>
          <p:cNvPr id="5" name="Text Placeholder 4"/>
          <p:cNvSpPr>
            <a:spLocks noGrp="1"/>
          </p:cNvSpPr>
          <p:nvPr>
            <p:ph type="body" sz="quarter" idx="11"/>
          </p:nvPr>
        </p:nvSpPr>
        <p:spPr/>
        <p:txBody>
          <a:bodyPr/>
          <a:lstStyle/>
          <a:p>
            <a:r>
              <a:rPr lang="en-US" dirty="0"/>
              <a:t>Center for Global Health</a:t>
            </a:r>
          </a:p>
        </p:txBody>
      </p:sp>
      <p:sp>
        <p:nvSpPr>
          <p:cNvPr id="6" name="Text Placeholder 5"/>
          <p:cNvSpPr>
            <a:spLocks noGrp="1"/>
          </p:cNvSpPr>
          <p:nvPr>
            <p:ph type="body" sz="quarter" idx="12"/>
          </p:nvPr>
        </p:nvSpPr>
        <p:spPr/>
        <p:txBody>
          <a:bodyPr/>
          <a:lstStyle/>
          <a:p>
            <a:r>
              <a:rPr lang="en-US"/>
              <a:t>CDC Nigeria</a:t>
            </a:r>
            <a:endParaRPr lang="en-US" dirty="0"/>
          </a:p>
        </p:txBody>
      </p:sp>
    </p:spTree>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16C06B-C283-448B-912C-7481CB88A6FE}"/>
              </a:ext>
            </a:extLst>
          </p:cNvPr>
          <p:cNvSpPr>
            <a:spLocks noGrp="1"/>
          </p:cNvSpPr>
          <p:nvPr>
            <p:ph type="title"/>
          </p:nvPr>
        </p:nvSpPr>
        <p:spPr/>
        <p:txBody>
          <a:bodyPr/>
          <a:lstStyle/>
          <a:p>
            <a:r>
              <a:rPr kumimoji="0" lang="en-US" sz="3600" b="1" i="0" u="none" strike="noStrike" kern="1200" cap="none" spc="0" normalizeH="0" baseline="0" noProof="0" dirty="0">
                <a:ln>
                  <a:noFill/>
                </a:ln>
                <a:solidFill>
                  <a:srgbClr val="FFC000"/>
                </a:solidFill>
                <a:effectLst/>
                <a:uLnTx/>
                <a:uFillTx/>
                <a:latin typeface="Myriad Web Pro"/>
                <a:ea typeface="+mj-ea"/>
                <a:cs typeface="+mj-cs"/>
              </a:rPr>
              <a:t>U.S. CDC NG COVID-19 Response Impact</a:t>
            </a:r>
            <a:br>
              <a:rPr kumimoji="0" lang="en-US" sz="3600" b="1" i="0" u="none" strike="noStrike" kern="1200" cap="none" spc="0" normalizeH="0" baseline="0" noProof="0" dirty="0">
                <a:ln>
                  <a:noFill/>
                </a:ln>
                <a:solidFill>
                  <a:srgbClr val="FFC000"/>
                </a:solidFill>
                <a:effectLst/>
                <a:uLnTx/>
                <a:uFillTx/>
                <a:latin typeface="Myriad Web Pro"/>
                <a:ea typeface="+mj-ea"/>
                <a:cs typeface="+mj-cs"/>
              </a:rPr>
            </a:br>
            <a:endParaRPr lang="en-US" dirty="0"/>
          </a:p>
        </p:txBody>
      </p:sp>
      <p:sp>
        <p:nvSpPr>
          <p:cNvPr id="3" name="Content Placeholder 2">
            <a:extLst>
              <a:ext uri="{FF2B5EF4-FFF2-40B4-BE49-F238E27FC236}">
                <a16:creationId xmlns:a16="http://schemas.microsoft.com/office/drawing/2014/main" id="{991602E3-C0B9-458A-AA9A-172931F8C3EA}"/>
              </a:ext>
            </a:extLst>
          </p:cNvPr>
          <p:cNvSpPr>
            <a:spLocks noGrp="1"/>
          </p:cNvSpPr>
          <p:nvPr>
            <p:ph idx="1"/>
          </p:nvPr>
        </p:nvSpPr>
        <p:spPr>
          <a:xfrm>
            <a:off x="609600" y="1214779"/>
            <a:ext cx="6477000" cy="4191000"/>
          </a:xfrm>
        </p:spPr>
        <p:txBody>
          <a:bodyPr/>
          <a:lstStyle/>
          <a:p>
            <a:r>
              <a:rPr lang="en-US" dirty="0"/>
              <a:t>Training</a:t>
            </a:r>
          </a:p>
          <a:p>
            <a:pPr lvl="1"/>
            <a:r>
              <a:rPr lang="en-US" dirty="0"/>
              <a:t>COVID-19 Case Management CoP</a:t>
            </a:r>
          </a:p>
          <a:p>
            <a:pPr lvl="1"/>
            <a:r>
              <a:rPr lang="en-US" dirty="0"/>
              <a:t>COVID-19 Response Community of Practice for Nigeria and the West Africa Region</a:t>
            </a:r>
          </a:p>
          <a:p>
            <a:pPr lvl="1"/>
            <a:r>
              <a:rPr lang="en-US" dirty="0"/>
              <a:t>RRT, IPC</a:t>
            </a:r>
          </a:p>
          <a:p>
            <a:pPr marL="457200" lvl="1" indent="0">
              <a:buNone/>
            </a:pPr>
            <a:endParaRPr lang="en-US" dirty="0"/>
          </a:p>
          <a:p>
            <a:endParaRPr lang="en-US" dirty="0"/>
          </a:p>
        </p:txBody>
      </p:sp>
      <p:sp>
        <p:nvSpPr>
          <p:cNvPr id="4" name="Text Placeholder 3">
            <a:extLst>
              <a:ext uri="{FF2B5EF4-FFF2-40B4-BE49-F238E27FC236}">
                <a16:creationId xmlns:a16="http://schemas.microsoft.com/office/drawing/2014/main" id="{FC1EB153-C60A-4E45-8FA9-4AAFFF483751}"/>
              </a:ext>
            </a:extLst>
          </p:cNvPr>
          <p:cNvSpPr>
            <a:spLocks noGrp="1"/>
          </p:cNvSpPr>
          <p:nvPr>
            <p:ph type="body" sz="quarter" idx="10"/>
          </p:nvPr>
        </p:nvSpPr>
        <p:spPr/>
        <p:txBody>
          <a:bodyPr/>
          <a:lstStyle/>
          <a:p>
            <a:endParaRPr lang="en-US"/>
          </a:p>
        </p:txBody>
      </p:sp>
      <p:pic>
        <p:nvPicPr>
          <p:cNvPr id="5" name="Picture 4">
            <a:extLst>
              <a:ext uri="{FF2B5EF4-FFF2-40B4-BE49-F238E27FC236}">
                <a16:creationId xmlns:a16="http://schemas.microsoft.com/office/drawing/2014/main" id="{675DA1A4-29F2-4816-8FA6-C25FAD3B78E3}"/>
              </a:ext>
            </a:extLst>
          </p:cNvPr>
          <p:cNvPicPr>
            <a:picLocks noChangeAspect="1"/>
          </p:cNvPicPr>
          <p:nvPr/>
        </p:nvPicPr>
        <p:blipFill>
          <a:blip r:embed="rId2"/>
          <a:stretch>
            <a:fillRect/>
          </a:stretch>
        </p:blipFill>
        <p:spPr>
          <a:xfrm>
            <a:off x="3970020" y="3429000"/>
            <a:ext cx="4749437" cy="2971800"/>
          </a:xfrm>
          <a:prstGeom prst="rect">
            <a:avLst/>
          </a:prstGeom>
        </p:spPr>
      </p:pic>
    </p:spTree>
    <p:extLst>
      <p:ext uri="{BB962C8B-B14F-4D97-AF65-F5344CB8AC3E}">
        <p14:creationId xmlns:p14="http://schemas.microsoft.com/office/powerpoint/2010/main" val="261210161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D4CB8-E16C-47F1-985D-3E7F7F918F22}"/>
              </a:ext>
            </a:extLst>
          </p:cNvPr>
          <p:cNvSpPr>
            <a:spLocks noGrp="1"/>
          </p:cNvSpPr>
          <p:nvPr>
            <p:ph type="title"/>
          </p:nvPr>
        </p:nvSpPr>
        <p:spPr/>
        <p:txBody>
          <a:bodyPr/>
          <a:lstStyle/>
          <a:p>
            <a:r>
              <a:rPr lang="en-US" dirty="0"/>
              <a:t>Division of Global HIV/TB</a:t>
            </a:r>
          </a:p>
        </p:txBody>
      </p:sp>
      <p:sp>
        <p:nvSpPr>
          <p:cNvPr id="9" name="Text Placeholder 8">
            <a:extLst>
              <a:ext uri="{FF2B5EF4-FFF2-40B4-BE49-F238E27FC236}">
                <a16:creationId xmlns:a16="http://schemas.microsoft.com/office/drawing/2014/main" id="{5E9BAC7A-5CEA-4A06-B3B5-E2D5A0CDED74}"/>
              </a:ext>
            </a:extLst>
          </p:cNvPr>
          <p:cNvSpPr>
            <a:spLocks noGrp="1"/>
          </p:cNvSpPr>
          <p:nvPr>
            <p:ph type="body" idx="1"/>
          </p:nvPr>
        </p:nvSpPr>
        <p:spPr/>
        <p:txBody>
          <a:bodyPr/>
          <a:lstStyle/>
          <a:p>
            <a:r>
              <a:rPr lang="en-US" dirty="0"/>
              <a:t>Dr. Mary A. Boyd</a:t>
            </a:r>
          </a:p>
        </p:txBody>
      </p:sp>
    </p:spTree>
    <p:extLst>
      <p:ext uri="{BB962C8B-B14F-4D97-AF65-F5344CB8AC3E}">
        <p14:creationId xmlns:p14="http://schemas.microsoft.com/office/powerpoint/2010/main" val="3459020231"/>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C1D8EFE-9970-4BD7-AF10-5B77F2FDBE0B}"/>
              </a:ext>
            </a:extLst>
          </p:cNvPr>
          <p:cNvPicPr>
            <a:picLocks noChangeAspect="1"/>
          </p:cNvPicPr>
          <p:nvPr/>
        </p:nvPicPr>
        <p:blipFill>
          <a:blip r:embed="rId2"/>
          <a:stretch>
            <a:fillRect/>
          </a:stretch>
        </p:blipFill>
        <p:spPr>
          <a:xfrm>
            <a:off x="0" y="4495800"/>
            <a:ext cx="9144000" cy="1352830"/>
          </a:xfrm>
          <a:prstGeom prst="rect">
            <a:avLst/>
          </a:prstGeom>
        </p:spPr>
      </p:pic>
      <p:pic>
        <p:nvPicPr>
          <p:cNvPr id="2050" name="Picture 2" descr="PEPFAR Now Reaches Over 14 Million People Globally with Lifesaving HIV  Treatment | HIV.gov">
            <a:extLst>
              <a:ext uri="{FF2B5EF4-FFF2-40B4-BE49-F238E27FC236}">
                <a16:creationId xmlns:a16="http://schemas.microsoft.com/office/drawing/2014/main" id="{32E7D085-E193-4E2B-ACFE-118B90CD58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6700" y="638175"/>
            <a:ext cx="5143500" cy="38576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1BF8D71-5569-4FE6-AF87-666863A17626}"/>
              </a:ext>
            </a:extLst>
          </p:cNvPr>
          <p:cNvSpPr txBox="1"/>
          <p:nvPr/>
        </p:nvSpPr>
        <p:spPr>
          <a:xfrm>
            <a:off x="5410200" y="638175"/>
            <a:ext cx="3733800" cy="4585871"/>
          </a:xfrm>
          <a:prstGeom prst="rect">
            <a:avLst/>
          </a:prstGeom>
          <a:noFill/>
        </p:spPr>
        <p:txBody>
          <a:bodyPr wrap="square" rtlCol="0">
            <a:spAutoFit/>
          </a:bodyPr>
          <a:lstStyle/>
          <a:p>
            <a:r>
              <a:rPr lang="en-US" sz="2400" b="1" dirty="0"/>
              <a:t>DGHT Implementing Partners</a:t>
            </a:r>
          </a:p>
          <a:p>
            <a:endParaRPr lang="en-US" sz="1600" dirty="0"/>
          </a:p>
          <a:p>
            <a:pPr marL="0" algn="l" rtl="0" eaLnBrk="1" fontAlgn="b" latinLnBrk="0" hangingPunct="1">
              <a:spcBef>
                <a:spcPts val="0"/>
              </a:spcBef>
              <a:spcAft>
                <a:spcPts val="0"/>
              </a:spcAft>
            </a:pPr>
            <a:r>
              <a:rPr lang="en-US" sz="1600" b="0" i="0" u="none" strike="noStrike" kern="1200" dirty="0">
                <a:solidFill>
                  <a:schemeClr val="bg2"/>
                </a:solidFill>
                <a:effectLst/>
                <a:latin typeface="Arial" panose="020B0604020202020204" pitchFamily="34" charset="0"/>
              </a:rPr>
              <a:t>University of Maryland</a:t>
            </a:r>
          </a:p>
          <a:p>
            <a:pPr marL="0" algn="l" rtl="0" eaLnBrk="1" fontAlgn="b" latinLnBrk="0" hangingPunct="1">
              <a:spcBef>
                <a:spcPts val="0"/>
              </a:spcBef>
              <a:spcAft>
                <a:spcPts val="0"/>
              </a:spcAft>
            </a:pPr>
            <a:endParaRPr lang="en-US" sz="1600" b="0" i="0" u="none" strike="noStrike" kern="1200" dirty="0">
              <a:solidFill>
                <a:schemeClr val="bg2"/>
              </a:solidFill>
              <a:effectLst/>
              <a:latin typeface="Arial" panose="020B0604020202020204" pitchFamily="34" charset="0"/>
            </a:endParaRPr>
          </a:p>
          <a:p>
            <a:pPr marL="0" algn="l" rtl="0" eaLnBrk="1" fontAlgn="b" latinLnBrk="0" hangingPunct="1">
              <a:spcBef>
                <a:spcPts val="0"/>
              </a:spcBef>
              <a:spcAft>
                <a:spcPts val="0"/>
              </a:spcAft>
            </a:pPr>
            <a:r>
              <a:rPr lang="en-US" sz="1600" b="0" i="0" u="none" strike="noStrike" kern="1200" dirty="0">
                <a:solidFill>
                  <a:schemeClr val="bg2"/>
                </a:solidFill>
                <a:effectLst/>
                <a:latin typeface="Arial" panose="020B0604020202020204" pitchFamily="34" charset="0"/>
              </a:rPr>
              <a:t>Institute of Human Virology</a:t>
            </a:r>
          </a:p>
          <a:p>
            <a:pPr marL="0" algn="l" rtl="0" eaLnBrk="1" fontAlgn="b" latinLnBrk="0" hangingPunct="1">
              <a:spcBef>
                <a:spcPts val="0"/>
              </a:spcBef>
              <a:spcAft>
                <a:spcPts val="0"/>
              </a:spcAft>
            </a:pPr>
            <a:endParaRPr lang="en-US" sz="2000" b="0" i="0" u="none" strike="noStrike" dirty="0">
              <a:solidFill>
                <a:schemeClr val="bg2"/>
              </a:solidFill>
              <a:effectLst/>
              <a:latin typeface="Arial" panose="020B0604020202020204" pitchFamily="34" charset="0"/>
            </a:endParaRPr>
          </a:p>
          <a:p>
            <a:pPr marL="0" algn="l" rtl="0" eaLnBrk="1" fontAlgn="b" latinLnBrk="0" hangingPunct="1">
              <a:spcBef>
                <a:spcPts val="0"/>
              </a:spcBef>
              <a:spcAft>
                <a:spcPts val="0"/>
              </a:spcAft>
            </a:pPr>
            <a:r>
              <a:rPr lang="en-US" sz="1600" b="0" i="0" u="none" strike="noStrike" kern="1200" dirty="0">
                <a:solidFill>
                  <a:schemeClr val="bg2"/>
                </a:solidFill>
                <a:effectLst/>
                <a:latin typeface="Arial" panose="020B0604020202020204" pitchFamily="34" charset="0"/>
              </a:rPr>
              <a:t>APIN Public Health Initiatives</a:t>
            </a:r>
          </a:p>
          <a:p>
            <a:pPr marL="0" algn="l" rtl="0" eaLnBrk="1" fontAlgn="b" latinLnBrk="0" hangingPunct="1">
              <a:spcBef>
                <a:spcPts val="0"/>
              </a:spcBef>
              <a:spcAft>
                <a:spcPts val="0"/>
              </a:spcAft>
            </a:pPr>
            <a:endParaRPr lang="en-US" sz="1600" dirty="0">
              <a:solidFill>
                <a:schemeClr val="bg2"/>
              </a:solidFill>
              <a:latin typeface="Arial" panose="020B0604020202020204" pitchFamily="34" charset="0"/>
            </a:endParaRPr>
          </a:p>
          <a:p>
            <a:pPr marL="0" algn="l" rtl="0" eaLnBrk="1" fontAlgn="b" latinLnBrk="0" hangingPunct="1">
              <a:spcBef>
                <a:spcPts val="0"/>
              </a:spcBef>
              <a:spcAft>
                <a:spcPts val="0"/>
              </a:spcAft>
            </a:pPr>
            <a:r>
              <a:rPr lang="en-US" sz="1600" b="0" i="0" u="none" strike="noStrike" kern="1200" dirty="0">
                <a:solidFill>
                  <a:schemeClr val="bg2"/>
                </a:solidFill>
                <a:effectLst/>
                <a:latin typeface="Arial" panose="020B0604020202020204" pitchFamily="34" charset="0"/>
              </a:rPr>
              <a:t>Catholic Caritas Foundation of Nigeria</a:t>
            </a:r>
            <a:endParaRPr lang="en-US" sz="2000" b="0" i="0" u="none" strike="noStrike" dirty="0">
              <a:solidFill>
                <a:schemeClr val="bg2"/>
              </a:solidFill>
              <a:effectLst/>
              <a:latin typeface="Arial" panose="020B0604020202020204" pitchFamily="34" charset="0"/>
            </a:endParaRPr>
          </a:p>
          <a:p>
            <a:pPr marL="0" algn="l" rtl="0" eaLnBrk="1" fontAlgn="b" latinLnBrk="0" hangingPunct="1">
              <a:spcBef>
                <a:spcPts val="0"/>
              </a:spcBef>
              <a:spcAft>
                <a:spcPts val="0"/>
              </a:spcAft>
            </a:pPr>
            <a:endParaRPr lang="en-US" sz="1600" b="0" i="0" u="none" strike="noStrike" kern="1200" dirty="0">
              <a:solidFill>
                <a:schemeClr val="bg2"/>
              </a:solidFill>
              <a:effectLst/>
              <a:latin typeface="Arial" panose="020B0604020202020204" pitchFamily="34" charset="0"/>
            </a:endParaRPr>
          </a:p>
          <a:p>
            <a:pPr marL="0" algn="l" rtl="0" eaLnBrk="1" fontAlgn="b" latinLnBrk="0" hangingPunct="1">
              <a:spcBef>
                <a:spcPts val="0"/>
              </a:spcBef>
              <a:spcAft>
                <a:spcPts val="0"/>
              </a:spcAft>
            </a:pPr>
            <a:r>
              <a:rPr lang="en-US" sz="1600" b="0" i="0" u="none" strike="noStrike" kern="1200" dirty="0">
                <a:solidFill>
                  <a:schemeClr val="bg2"/>
                </a:solidFill>
                <a:effectLst/>
                <a:latin typeface="Arial" panose="020B0604020202020204" pitchFamily="34" charset="0"/>
              </a:rPr>
              <a:t>Centre for Integrated Health Programs</a:t>
            </a:r>
          </a:p>
          <a:p>
            <a:pPr marL="0" algn="l" rtl="0" eaLnBrk="1" fontAlgn="b" latinLnBrk="0" hangingPunct="1">
              <a:spcBef>
                <a:spcPts val="0"/>
              </a:spcBef>
              <a:spcAft>
                <a:spcPts val="0"/>
              </a:spcAft>
            </a:pPr>
            <a:endParaRPr lang="en-US" sz="1600" dirty="0">
              <a:solidFill>
                <a:schemeClr val="bg2"/>
              </a:solidFill>
              <a:latin typeface="Arial" panose="020B0604020202020204" pitchFamily="34" charset="0"/>
            </a:endParaRPr>
          </a:p>
          <a:p>
            <a:pPr marL="0" algn="l" rtl="0" eaLnBrk="1" fontAlgn="b" latinLnBrk="0" hangingPunct="1">
              <a:spcBef>
                <a:spcPts val="0"/>
              </a:spcBef>
              <a:spcAft>
                <a:spcPts val="0"/>
              </a:spcAft>
            </a:pPr>
            <a:r>
              <a:rPr lang="en-US" sz="1600" b="0" i="0" u="none" strike="noStrike" kern="1200" dirty="0">
                <a:solidFill>
                  <a:schemeClr val="bg2"/>
                </a:solidFill>
                <a:effectLst/>
                <a:latin typeface="Arial" panose="020B0604020202020204" pitchFamily="34" charset="0"/>
              </a:rPr>
              <a:t>ICAP, Global Health </a:t>
            </a:r>
          </a:p>
          <a:p>
            <a:pPr marL="0" algn="l" rtl="0" eaLnBrk="1" fontAlgn="b" latinLnBrk="0" hangingPunct="1">
              <a:spcBef>
                <a:spcPts val="0"/>
              </a:spcBef>
              <a:spcAft>
                <a:spcPts val="0"/>
              </a:spcAft>
            </a:pPr>
            <a:endParaRPr lang="en-US" sz="1600" dirty="0">
              <a:solidFill>
                <a:schemeClr val="bg2"/>
              </a:solidFill>
              <a:latin typeface="Arial" panose="020B0604020202020204" pitchFamily="34" charset="0"/>
            </a:endParaRPr>
          </a:p>
          <a:p>
            <a:pPr marL="0" algn="l" rtl="0" eaLnBrk="1" fontAlgn="b" latinLnBrk="0" hangingPunct="1">
              <a:spcBef>
                <a:spcPts val="0"/>
              </a:spcBef>
              <a:spcAft>
                <a:spcPts val="0"/>
              </a:spcAft>
            </a:pPr>
            <a:endParaRPr lang="en-US" sz="1600" dirty="0"/>
          </a:p>
          <a:p>
            <a:endParaRPr lang="en-US" sz="1600" dirty="0"/>
          </a:p>
        </p:txBody>
      </p:sp>
    </p:spTree>
    <p:extLst>
      <p:ext uri="{BB962C8B-B14F-4D97-AF65-F5344CB8AC3E}">
        <p14:creationId xmlns:p14="http://schemas.microsoft.com/office/powerpoint/2010/main" val="152943342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D4CB8-E16C-47F1-985D-3E7F7F918F22}"/>
              </a:ext>
            </a:extLst>
          </p:cNvPr>
          <p:cNvSpPr>
            <a:spLocks noGrp="1"/>
          </p:cNvSpPr>
          <p:nvPr>
            <p:ph type="title"/>
          </p:nvPr>
        </p:nvSpPr>
        <p:spPr/>
        <p:txBody>
          <a:bodyPr/>
          <a:lstStyle/>
          <a:p>
            <a:r>
              <a:rPr lang="en-US" dirty="0"/>
              <a:t>Division of Global Health Protection</a:t>
            </a:r>
          </a:p>
        </p:txBody>
      </p:sp>
      <p:sp>
        <p:nvSpPr>
          <p:cNvPr id="9" name="Text Placeholder 8">
            <a:extLst>
              <a:ext uri="{FF2B5EF4-FFF2-40B4-BE49-F238E27FC236}">
                <a16:creationId xmlns:a16="http://schemas.microsoft.com/office/drawing/2014/main" id="{5E9BAC7A-5CEA-4A06-B3B5-E2D5A0CDED74}"/>
              </a:ext>
            </a:extLst>
          </p:cNvPr>
          <p:cNvSpPr>
            <a:spLocks noGrp="1"/>
          </p:cNvSpPr>
          <p:nvPr>
            <p:ph type="body" idx="1"/>
          </p:nvPr>
        </p:nvSpPr>
        <p:spPr/>
        <p:txBody>
          <a:bodyPr/>
          <a:lstStyle/>
          <a:p>
            <a:r>
              <a:rPr lang="en-US" dirty="0"/>
              <a:t>Dr. Farah Husain</a:t>
            </a:r>
          </a:p>
        </p:txBody>
      </p:sp>
    </p:spTree>
    <p:extLst>
      <p:ext uri="{BB962C8B-B14F-4D97-AF65-F5344CB8AC3E}">
        <p14:creationId xmlns:p14="http://schemas.microsoft.com/office/powerpoint/2010/main" val="264352552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idx="4294967295"/>
          </p:nvPr>
        </p:nvSpPr>
        <p:spPr>
          <a:xfrm>
            <a:off x="-10886" y="373720"/>
            <a:ext cx="9144000" cy="1054100"/>
          </a:xfrm>
          <a:prstGeom prst="rect">
            <a:avLst/>
          </a:prstGeom>
        </p:spPr>
        <p:txBody>
          <a:bodyPr lIns="0" tIns="0" rIns="0" bIns="0"/>
          <a:lstStyle/>
          <a:p>
            <a:r>
              <a:rPr lang="en-US" dirty="0"/>
              <a:t>GHSA: Prevent, Detect, Respond</a:t>
            </a:r>
          </a:p>
        </p:txBody>
      </p:sp>
      <p:grpSp>
        <p:nvGrpSpPr>
          <p:cNvPr id="3" name="Group 2"/>
          <p:cNvGrpSpPr/>
          <p:nvPr/>
        </p:nvGrpSpPr>
        <p:grpSpPr>
          <a:xfrm>
            <a:off x="208073" y="1194962"/>
            <a:ext cx="8800000" cy="5158643"/>
            <a:chOff x="-742950" y="1203201"/>
            <a:chExt cx="8800000" cy="5158643"/>
          </a:xfrm>
        </p:grpSpPr>
        <p:sp>
          <p:nvSpPr>
            <p:cNvPr id="5" name="Rounded Rectangle 4"/>
            <p:cNvSpPr/>
            <p:nvPr/>
          </p:nvSpPr>
          <p:spPr>
            <a:xfrm>
              <a:off x="-742950" y="1446945"/>
              <a:ext cx="8229599" cy="1142999"/>
            </a:xfrm>
            <a:prstGeom prst="roundRect">
              <a:avLst>
                <a:gd name="adj" fmla="val 43049"/>
              </a:avLst>
            </a:prstGeom>
            <a:solidFill>
              <a:srgbClr val="3ED6FF">
                <a:alpha val="2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2103120" tIns="0" rIns="274320" bIns="0" rtlCol="0" anchor="ctr"/>
            <a:lstStyle/>
            <a:p>
              <a:pPr marL="0" marR="0" lvl="0" indent="0" algn="l" defTabSz="457200" rtl="0" eaLnBrk="1" fontAlgn="base" latinLnBrk="0" hangingPunct="1">
                <a:lnSpc>
                  <a:spcPts val="3100"/>
                </a:lnSpc>
                <a:spcBef>
                  <a:spcPct val="0"/>
                </a:spcBef>
                <a:spcAft>
                  <a:spcPct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Arial"/>
                  <a:ea typeface="ＭＳ Ｐゴシック" charset="-128"/>
                  <a:cs typeface="Arial"/>
                </a:rPr>
                <a:t>Prevent avoidable</a:t>
              </a:r>
            </a:p>
            <a:p>
              <a:pPr marL="0" marR="0" lvl="0" indent="0" algn="l" defTabSz="457200" rtl="0" eaLnBrk="1" fontAlgn="base" latinLnBrk="0" hangingPunct="1">
                <a:lnSpc>
                  <a:spcPts val="3100"/>
                </a:lnSpc>
                <a:spcBef>
                  <a:spcPct val="0"/>
                </a:spcBef>
                <a:spcAft>
                  <a:spcPct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Arial"/>
                  <a:ea typeface="ＭＳ Ｐゴシック" charset="-128"/>
                  <a:cs typeface="Arial"/>
                </a:rPr>
                <a:t>catastrophes</a:t>
              </a:r>
            </a:p>
          </p:txBody>
        </p:sp>
        <p:pic>
          <p:nvPicPr>
            <p:cNvPr id="6" name="Picture 5"/>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6381749" y="1203201"/>
              <a:ext cx="1624868" cy="1624868"/>
            </a:xfrm>
            <a:prstGeom prst="rect">
              <a:avLst/>
            </a:prstGeom>
          </p:spPr>
        </p:pic>
        <p:sp>
          <p:nvSpPr>
            <p:cNvPr id="13" name="Rounded Rectangle 12"/>
            <p:cNvSpPr/>
            <p:nvPr/>
          </p:nvSpPr>
          <p:spPr>
            <a:xfrm>
              <a:off x="-742950" y="3211022"/>
              <a:ext cx="8381999" cy="1142999"/>
            </a:xfrm>
            <a:prstGeom prst="roundRect">
              <a:avLst>
                <a:gd name="adj" fmla="val 43049"/>
              </a:avLst>
            </a:prstGeom>
            <a:solidFill>
              <a:srgbClr val="83E739">
                <a:alpha val="2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2103120" tIns="0" rIns="274320" bIns="0" rtlCol="0" anchor="ctr"/>
            <a:lstStyle/>
            <a:p>
              <a:pPr marL="0" marR="0" lvl="0" indent="0" algn="l" defTabSz="457200" rtl="0" eaLnBrk="1" fontAlgn="base" latinLnBrk="0" hangingPunct="1">
                <a:lnSpc>
                  <a:spcPts val="3100"/>
                </a:lnSpc>
                <a:spcBef>
                  <a:spcPct val="0"/>
                </a:spcBef>
                <a:spcAft>
                  <a:spcPct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Arial"/>
                  <a:ea typeface="ＭＳ Ｐゴシック" charset="-128"/>
                  <a:cs typeface="Arial"/>
                </a:rPr>
                <a:t>Detect threats early</a:t>
              </a:r>
            </a:p>
          </p:txBody>
        </p:sp>
        <p:pic>
          <p:nvPicPr>
            <p:cNvPr id="14" name="Picture 13"/>
            <p:cNvPicPr>
              <a:picLocks noChangeAspect="1"/>
            </p:cNvPicPr>
            <p:nvPr/>
          </p:nvPicPr>
          <p:blipFill>
            <a:blip r:embed="rId5" r:link="rId6" cstate="print">
              <a:extLst>
                <a:ext uri="{28A0092B-C50C-407E-A947-70E740481C1C}">
                  <a14:useLocalDpi xmlns:a14="http://schemas.microsoft.com/office/drawing/2010/main" val="0"/>
                </a:ext>
              </a:extLst>
            </a:blip>
            <a:stretch>
              <a:fillRect/>
            </a:stretch>
          </p:blipFill>
          <p:spPr>
            <a:xfrm>
              <a:off x="6381749" y="2970088"/>
              <a:ext cx="1624868" cy="1624868"/>
            </a:xfrm>
            <a:prstGeom prst="rect">
              <a:avLst/>
            </a:prstGeom>
          </p:spPr>
        </p:pic>
        <p:sp>
          <p:nvSpPr>
            <p:cNvPr id="15" name="Rounded Rectangle 14"/>
            <p:cNvSpPr/>
            <p:nvPr/>
          </p:nvSpPr>
          <p:spPr>
            <a:xfrm>
              <a:off x="-742950" y="4977910"/>
              <a:ext cx="8565783" cy="1142999"/>
            </a:xfrm>
            <a:prstGeom prst="roundRect">
              <a:avLst>
                <a:gd name="adj" fmla="val 43049"/>
              </a:avLst>
            </a:prstGeom>
            <a:solidFill>
              <a:srgbClr val="E40AFF">
                <a:alpha val="2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2103120" tIns="0" rIns="274320" bIns="0" rtlCol="0" anchor="ctr"/>
            <a:lstStyle/>
            <a:p>
              <a:pPr marL="0" marR="0" lvl="0" indent="0" algn="l" defTabSz="457200" rtl="0" eaLnBrk="1" fontAlgn="base" latinLnBrk="0" hangingPunct="1">
                <a:lnSpc>
                  <a:spcPts val="3100"/>
                </a:lnSpc>
                <a:spcBef>
                  <a:spcPct val="0"/>
                </a:spcBef>
                <a:spcAft>
                  <a:spcPct val="0"/>
                </a:spcAft>
                <a:buClrTx/>
                <a:buSzTx/>
                <a:buFontTx/>
                <a:buNone/>
                <a:tabLst/>
                <a:defRPr/>
              </a:pPr>
              <a:r>
                <a:rPr kumimoji="0" lang="en-US" sz="3000" b="1" i="0" u="none" strike="noStrike" kern="1200" cap="none" spc="0" normalizeH="0" baseline="0" noProof="0" dirty="0">
                  <a:ln>
                    <a:noFill/>
                  </a:ln>
                  <a:solidFill>
                    <a:prstClr val="white"/>
                  </a:solidFill>
                  <a:effectLst/>
                  <a:uLnTx/>
                  <a:uFillTx/>
                  <a:latin typeface="Arial"/>
                  <a:ea typeface="ＭＳ Ｐゴシック" charset="-128"/>
                  <a:cs typeface="Arial"/>
                </a:rPr>
                <a:t>Respond rapidly</a:t>
              </a:r>
              <a:br>
                <a:rPr kumimoji="0" lang="en-US" sz="3000" b="1" i="0" u="none" strike="noStrike" kern="1200" cap="none" spc="0" normalizeH="0" baseline="0" noProof="0" dirty="0">
                  <a:ln>
                    <a:noFill/>
                  </a:ln>
                  <a:solidFill>
                    <a:prstClr val="white"/>
                  </a:solidFill>
                  <a:effectLst/>
                  <a:uLnTx/>
                  <a:uFillTx/>
                  <a:latin typeface="Arial"/>
                  <a:ea typeface="ＭＳ Ｐゴシック" charset="-128"/>
                  <a:cs typeface="Arial"/>
                </a:rPr>
              </a:br>
              <a:r>
                <a:rPr kumimoji="0" lang="en-US" sz="3000" b="1" i="0" u="none" strike="noStrike" kern="1200" cap="none" spc="0" normalizeH="0" baseline="0" noProof="0" dirty="0">
                  <a:ln>
                    <a:noFill/>
                  </a:ln>
                  <a:solidFill>
                    <a:prstClr val="white"/>
                  </a:solidFill>
                  <a:effectLst/>
                  <a:uLnTx/>
                  <a:uFillTx/>
                  <a:latin typeface="Arial"/>
                  <a:ea typeface="ＭＳ Ｐゴシック" charset="-128"/>
                  <a:cs typeface="Arial"/>
                </a:rPr>
                <a:t>and effectively</a:t>
              </a:r>
            </a:p>
          </p:txBody>
        </p:sp>
        <p:pic>
          <p:nvPicPr>
            <p:cNvPr id="16" name="Picture 15"/>
            <p:cNvPicPr>
              <a:picLocks noChangeAspect="1"/>
            </p:cNvPicPr>
            <p:nvPr/>
          </p:nvPicPr>
          <p:blipFill>
            <a:blip r:embed="rId7" r:link="rId8" cstate="print">
              <a:extLst>
                <a:ext uri="{28A0092B-C50C-407E-A947-70E740481C1C}">
                  <a14:useLocalDpi xmlns:a14="http://schemas.microsoft.com/office/drawing/2010/main" val="0"/>
                </a:ext>
              </a:extLst>
            </a:blip>
            <a:stretch>
              <a:fillRect/>
            </a:stretch>
          </p:blipFill>
          <p:spPr>
            <a:xfrm>
              <a:off x="6432182" y="4736976"/>
              <a:ext cx="1624868" cy="1624868"/>
            </a:xfrm>
            <a:prstGeom prst="rect">
              <a:avLst/>
            </a:prstGeom>
          </p:spPr>
        </p:pic>
      </p:grpSp>
    </p:spTree>
    <p:extLst>
      <p:ext uri="{BB962C8B-B14F-4D97-AF65-F5344CB8AC3E}">
        <p14:creationId xmlns:p14="http://schemas.microsoft.com/office/powerpoint/2010/main" val="546074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
          <p:cNvSpPr txBox="1">
            <a:spLocks/>
          </p:cNvSpPr>
          <p:nvPr/>
        </p:nvSpPr>
        <p:spPr bwMode="auto">
          <a:xfrm>
            <a:off x="0" y="13369"/>
            <a:ext cx="9144000" cy="105343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57200" rtl="0" eaLnBrk="1" fontAlgn="base" hangingPunct="1">
              <a:lnSpc>
                <a:spcPct val="100000"/>
              </a:lnSpc>
              <a:spcBef>
                <a:spcPct val="0"/>
              </a:spcBef>
              <a:spcAft>
                <a:spcPct val="0"/>
              </a:spcAft>
              <a:defRPr sz="3600" b="1" kern="1200">
                <a:solidFill>
                  <a:schemeClr val="tx1"/>
                </a:solidFill>
                <a:latin typeface="Arial"/>
                <a:ea typeface="ＭＳ Ｐゴシック" charset="-128"/>
                <a:cs typeface="Arial"/>
              </a:defRPr>
            </a:lvl1pPr>
            <a:lvl2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2pPr>
            <a:lvl3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3pPr>
            <a:lvl4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4pPr>
            <a:lvl5pPr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5pPr>
            <a:lvl6pPr marL="4572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6pPr>
            <a:lvl7pPr marL="9144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7pPr>
            <a:lvl8pPr marL="13716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8pPr>
            <a:lvl9pPr marL="1828800" algn="ctr" defTabSz="457200" rtl="0" eaLnBrk="1" fontAlgn="base" hangingPunct="1">
              <a:lnSpc>
                <a:spcPct val="90000"/>
              </a:lnSpc>
              <a:spcBef>
                <a:spcPct val="0"/>
              </a:spcBef>
              <a:spcAft>
                <a:spcPct val="0"/>
              </a:spcAft>
              <a:defRPr sz="3600" b="1">
                <a:solidFill>
                  <a:schemeClr val="tx1"/>
                </a:solidFill>
                <a:latin typeface="Arial" charset="0"/>
                <a:ea typeface="ＭＳ Ｐゴシック"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4400" b="0" i="0" u="none" strike="noStrike" kern="1200" cap="none" spc="0" normalizeH="0" baseline="0" noProof="0" dirty="0">
                <a:ln>
                  <a:noFill/>
                </a:ln>
                <a:effectLst/>
                <a:uLnTx/>
                <a:uFillTx/>
                <a:latin typeface="+mj-lt"/>
                <a:ea typeface="ＭＳ Ｐゴシック" charset="-128"/>
                <a:cs typeface="Arial"/>
              </a:rPr>
              <a:t>Action Packages to Achieve Targets</a:t>
            </a:r>
          </a:p>
        </p:txBody>
      </p:sp>
      <p:grpSp>
        <p:nvGrpSpPr>
          <p:cNvPr id="2" name="Group 1"/>
          <p:cNvGrpSpPr/>
          <p:nvPr/>
        </p:nvGrpSpPr>
        <p:grpSpPr>
          <a:xfrm>
            <a:off x="262958" y="849366"/>
            <a:ext cx="8717190" cy="5830948"/>
            <a:chOff x="262958" y="849366"/>
            <a:chExt cx="8717190" cy="5830948"/>
          </a:xfrm>
        </p:grpSpPr>
        <p:grpSp>
          <p:nvGrpSpPr>
            <p:cNvPr id="4" name="Group 3"/>
            <p:cNvGrpSpPr/>
            <p:nvPr/>
          </p:nvGrpSpPr>
          <p:grpSpPr>
            <a:xfrm>
              <a:off x="262958" y="849366"/>
              <a:ext cx="2432428" cy="1389221"/>
              <a:chOff x="234572" y="849366"/>
              <a:chExt cx="2432428" cy="1389221"/>
            </a:xfrm>
          </p:grpSpPr>
          <p:sp>
            <p:nvSpPr>
              <p:cNvPr id="6" name="TextBox 5"/>
              <p:cNvSpPr txBox="1"/>
              <p:nvPr/>
            </p:nvSpPr>
            <p:spPr>
              <a:xfrm>
                <a:off x="234572" y="1992366"/>
                <a:ext cx="2432428"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Antimicrobial Resistance</a:t>
                </a:r>
              </a:p>
            </p:txBody>
          </p:sp>
          <p:pic>
            <p:nvPicPr>
              <p:cNvPr id="3" name="Picture 2"/>
              <p:cNvPicPr>
                <a:picLocks noChangeAspect="1"/>
              </p:cNvPicPr>
              <p:nvPr/>
            </p:nvPicPr>
            <p:blipFill>
              <a:blip r:embed="rId3" r:link="rId4">
                <a:extLst>
                  <a:ext uri="{28A0092B-C50C-407E-A947-70E740481C1C}">
                    <a14:useLocalDpi xmlns:a14="http://schemas.microsoft.com/office/drawing/2010/main" val="0"/>
                  </a:ext>
                </a:extLst>
              </a:blip>
              <a:stretch>
                <a:fillRect/>
              </a:stretch>
            </p:blipFill>
            <p:spPr>
              <a:xfrm>
                <a:off x="879286" y="849366"/>
                <a:ext cx="1143000" cy="1143000"/>
              </a:xfrm>
              <a:prstGeom prst="rect">
                <a:avLst/>
              </a:prstGeom>
            </p:spPr>
          </p:pic>
        </p:grpSp>
        <p:grpSp>
          <p:nvGrpSpPr>
            <p:cNvPr id="40" name="Group 39"/>
            <p:cNvGrpSpPr/>
            <p:nvPr/>
          </p:nvGrpSpPr>
          <p:grpSpPr>
            <a:xfrm>
              <a:off x="533891" y="2329942"/>
              <a:ext cx="1890562" cy="1389221"/>
              <a:chOff x="505505" y="2511202"/>
              <a:chExt cx="1890562" cy="1389221"/>
            </a:xfrm>
          </p:grpSpPr>
          <p:sp>
            <p:nvSpPr>
              <p:cNvPr id="34" name="TextBox 33"/>
              <p:cNvSpPr txBox="1"/>
              <p:nvPr/>
            </p:nvSpPr>
            <p:spPr>
              <a:xfrm>
                <a:off x="505505" y="3654202"/>
                <a:ext cx="1890562"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Zoonotic Diseases</a:t>
                </a:r>
              </a:p>
            </p:txBody>
          </p:sp>
          <p:pic>
            <p:nvPicPr>
              <p:cNvPr id="35" name="Picture 34"/>
              <p:cNvPicPr>
                <a:picLocks noChangeAspect="1"/>
              </p:cNvPicPr>
              <p:nvPr/>
            </p:nvPicPr>
            <p:blipFill>
              <a:blip r:embed="rId5" r:link="rId6">
                <a:extLst>
                  <a:ext uri="{28A0092B-C50C-407E-A947-70E740481C1C}">
                    <a14:useLocalDpi xmlns:a14="http://schemas.microsoft.com/office/drawing/2010/main" val="0"/>
                  </a:ext>
                </a:extLst>
              </a:blip>
              <a:stretch>
                <a:fillRect/>
              </a:stretch>
            </p:blipFill>
            <p:spPr>
              <a:xfrm>
                <a:off x="879286" y="2511202"/>
                <a:ext cx="1143000" cy="1143000"/>
              </a:xfrm>
              <a:prstGeom prst="rect">
                <a:avLst/>
              </a:prstGeom>
            </p:spPr>
          </p:pic>
        </p:grpSp>
        <p:grpSp>
          <p:nvGrpSpPr>
            <p:cNvPr id="41" name="Group 40"/>
            <p:cNvGrpSpPr/>
            <p:nvPr/>
          </p:nvGrpSpPr>
          <p:grpSpPr>
            <a:xfrm>
              <a:off x="389958" y="3810518"/>
              <a:ext cx="2178428" cy="1389221"/>
              <a:chOff x="361572" y="4159943"/>
              <a:chExt cx="2178428" cy="1389221"/>
            </a:xfrm>
          </p:grpSpPr>
          <p:sp>
            <p:nvSpPr>
              <p:cNvPr id="36" name="TextBox 35"/>
              <p:cNvSpPr txBox="1"/>
              <p:nvPr/>
            </p:nvSpPr>
            <p:spPr>
              <a:xfrm>
                <a:off x="361572" y="5302943"/>
                <a:ext cx="2178428"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Biosafety/Biosecurity</a:t>
                </a:r>
              </a:p>
            </p:txBody>
          </p:sp>
          <p:pic>
            <p:nvPicPr>
              <p:cNvPr id="37" name="Picture 36"/>
              <p:cNvPicPr>
                <a:picLocks noChangeAspect="1"/>
              </p:cNvPicPr>
              <p:nvPr/>
            </p:nvPicPr>
            <p:blipFill>
              <a:blip r:embed="rId7" r:link="rId8">
                <a:extLst>
                  <a:ext uri="{28A0092B-C50C-407E-A947-70E740481C1C}">
                    <a14:useLocalDpi xmlns:a14="http://schemas.microsoft.com/office/drawing/2010/main" val="0"/>
                  </a:ext>
                </a:extLst>
              </a:blip>
              <a:stretch>
                <a:fillRect/>
              </a:stretch>
            </p:blipFill>
            <p:spPr>
              <a:xfrm>
                <a:off x="890492" y="4159943"/>
                <a:ext cx="1120588" cy="1143000"/>
              </a:xfrm>
              <a:prstGeom prst="rect">
                <a:avLst/>
              </a:prstGeom>
            </p:spPr>
          </p:pic>
        </p:grpSp>
        <p:grpSp>
          <p:nvGrpSpPr>
            <p:cNvPr id="42" name="Group 41"/>
            <p:cNvGrpSpPr/>
            <p:nvPr/>
          </p:nvGrpSpPr>
          <p:grpSpPr>
            <a:xfrm>
              <a:off x="745558" y="5291093"/>
              <a:ext cx="1467228" cy="1389221"/>
              <a:chOff x="717172" y="5821779"/>
              <a:chExt cx="1467228" cy="1389221"/>
            </a:xfrm>
          </p:grpSpPr>
          <p:sp>
            <p:nvSpPr>
              <p:cNvPr id="38" name="TextBox 37"/>
              <p:cNvSpPr txBox="1"/>
              <p:nvPr/>
            </p:nvSpPr>
            <p:spPr>
              <a:xfrm>
                <a:off x="717172" y="6964779"/>
                <a:ext cx="1467228"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Immunization</a:t>
                </a:r>
              </a:p>
            </p:txBody>
          </p:sp>
          <p:pic>
            <p:nvPicPr>
              <p:cNvPr id="39" name="Picture 38"/>
              <p:cNvPicPr>
                <a:picLocks noChangeAspect="1"/>
              </p:cNvPicPr>
              <p:nvPr/>
            </p:nvPicPr>
            <p:blipFill>
              <a:blip r:embed="rId9" r:link="rId10">
                <a:extLst>
                  <a:ext uri="{28A0092B-C50C-407E-A947-70E740481C1C}">
                    <a14:useLocalDpi xmlns:a14="http://schemas.microsoft.com/office/drawing/2010/main" val="0"/>
                  </a:ext>
                </a:extLst>
              </a:blip>
              <a:stretch>
                <a:fillRect/>
              </a:stretch>
            </p:blipFill>
            <p:spPr>
              <a:xfrm>
                <a:off x="879286" y="5821779"/>
                <a:ext cx="1143000" cy="1143000"/>
              </a:xfrm>
              <a:prstGeom prst="rect">
                <a:avLst/>
              </a:prstGeom>
            </p:spPr>
          </p:pic>
        </p:grpSp>
        <p:grpSp>
          <p:nvGrpSpPr>
            <p:cNvPr id="43" name="Group 42"/>
            <p:cNvGrpSpPr/>
            <p:nvPr/>
          </p:nvGrpSpPr>
          <p:grpSpPr>
            <a:xfrm>
              <a:off x="3251200" y="849366"/>
              <a:ext cx="2641600" cy="1389221"/>
              <a:chOff x="129986" y="849366"/>
              <a:chExt cx="2641600" cy="1389221"/>
            </a:xfrm>
          </p:grpSpPr>
          <p:sp>
            <p:nvSpPr>
              <p:cNvPr id="44" name="TextBox 43"/>
              <p:cNvSpPr txBox="1"/>
              <p:nvPr/>
            </p:nvSpPr>
            <p:spPr>
              <a:xfrm>
                <a:off x="129986" y="1992366"/>
                <a:ext cx="2641600"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National Laboratory Systems</a:t>
                </a:r>
              </a:p>
            </p:txBody>
          </p:sp>
          <p:pic>
            <p:nvPicPr>
              <p:cNvPr id="45" name="Picture 44"/>
              <p:cNvPicPr>
                <a:picLocks noChangeAspect="1"/>
              </p:cNvPicPr>
              <p:nvPr/>
            </p:nvPicPr>
            <p:blipFill>
              <a:blip r:embed="rId11" r:link="rId12">
                <a:extLst>
                  <a:ext uri="{28A0092B-C50C-407E-A947-70E740481C1C}">
                    <a14:useLocalDpi xmlns:a14="http://schemas.microsoft.com/office/drawing/2010/main" val="0"/>
                  </a:ext>
                </a:extLst>
              </a:blip>
              <a:stretch>
                <a:fillRect/>
              </a:stretch>
            </p:blipFill>
            <p:spPr>
              <a:xfrm>
                <a:off x="879286" y="849366"/>
                <a:ext cx="1143000" cy="1143000"/>
              </a:xfrm>
              <a:prstGeom prst="rect">
                <a:avLst/>
              </a:prstGeom>
            </p:spPr>
          </p:pic>
        </p:grpSp>
        <p:grpSp>
          <p:nvGrpSpPr>
            <p:cNvPr id="46" name="Group 45"/>
            <p:cNvGrpSpPr/>
            <p:nvPr/>
          </p:nvGrpSpPr>
          <p:grpSpPr>
            <a:xfrm>
              <a:off x="3626719" y="2329942"/>
              <a:ext cx="1890562" cy="1389221"/>
              <a:chOff x="505505" y="2511202"/>
              <a:chExt cx="1890562" cy="1389221"/>
            </a:xfrm>
          </p:grpSpPr>
          <p:sp>
            <p:nvSpPr>
              <p:cNvPr id="47" name="TextBox 46"/>
              <p:cNvSpPr txBox="1"/>
              <p:nvPr/>
            </p:nvSpPr>
            <p:spPr>
              <a:xfrm>
                <a:off x="505505" y="3654202"/>
                <a:ext cx="1890562"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Surveillance</a:t>
                </a:r>
              </a:p>
            </p:txBody>
          </p:sp>
          <p:pic>
            <p:nvPicPr>
              <p:cNvPr id="48" name="Picture 47"/>
              <p:cNvPicPr>
                <a:picLocks noChangeAspect="1"/>
              </p:cNvPicPr>
              <p:nvPr/>
            </p:nvPicPr>
            <p:blipFill>
              <a:blip r:embed="rId13" r:link="rId14">
                <a:extLst>
                  <a:ext uri="{28A0092B-C50C-407E-A947-70E740481C1C}">
                    <a14:useLocalDpi xmlns:a14="http://schemas.microsoft.com/office/drawing/2010/main" val="0"/>
                  </a:ext>
                </a:extLst>
              </a:blip>
              <a:stretch>
                <a:fillRect/>
              </a:stretch>
            </p:blipFill>
            <p:spPr>
              <a:xfrm>
                <a:off x="879286" y="2511202"/>
                <a:ext cx="1143000" cy="1143000"/>
              </a:xfrm>
              <a:prstGeom prst="rect">
                <a:avLst/>
              </a:prstGeom>
            </p:spPr>
          </p:pic>
        </p:grpSp>
        <p:grpSp>
          <p:nvGrpSpPr>
            <p:cNvPr id="49" name="Group 48"/>
            <p:cNvGrpSpPr/>
            <p:nvPr/>
          </p:nvGrpSpPr>
          <p:grpSpPr>
            <a:xfrm>
              <a:off x="3482786" y="3821724"/>
              <a:ext cx="2178428" cy="1378015"/>
              <a:chOff x="361572" y="4171149"/>
              <a:chExt cx="2178428" cy="1378015"/>
            </a:xfrm>
          </p:grpSpPr>
          <p:sp>
            <p:nvSpPr>
              <p:cNvPr id="50" name="TextBox 49"/>
              <p:cNvSpPr txBox="1"/>
              <p:nvPr/>
            </p:nvSpPr>
            <p:spPr>
              <a:xfrm>
                <a:off x="361572" y="5302943"/>
                <a:ext cx="2178428"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Reporting</a:t>
                </a:r>
              </a:p>
            </p:txBody>
          </p:sp>
          <p:pic>
            <p:nvPicPr>
              <p:cNvPr id="51" name="Picture 50"/>
              <p:cNvPicPr>
                <a:picLocks noChangeAspect="1"/>
              </p:cNvPicPr>
              <p:nvPr/>
            </p:nvPicPr>
            <p:blipFill>
              <a:blip r:embed="rId15" r:link="rId16">
                <a:extLst>
                  <a:ext uri="{28A0092B-C50C-407E-A947-70E740481C1C}">
                    <a14:useLocalDpi xmlns:a14="http://schemas.microsoft.com/office/drawing/2010/main" val="0"/>
                  </a:ext>
                </a:extLst>
              </a:blip>
              <a:stretch>
                <a:fillRect/>
              </a:stretch>
            </p:blipFill>
            <p:spPr>
              <a:xfrm>
                <a:off x="890492" y="4171149"/>
                <a:ext cx="1120588" cy="1120588"/>
              </a:xfrm>
              <a:prstGeom prst="rect">
                <a:avLst/>
              </a:prstGeom>
            </p:spPr>
          </p:pic>
        </p:grpSp>
        <p:grpSp>
          <p:nvGrpSpPr>
            <p:cNvPr id="52" name="Group 51"/>
            <p:cNvGrpSpPr/>
            <p:nvPr/>
          </p:nvGrpSpPr>
          <p:grpSpPr>
            <a:xfrm>
              <a:off x="3482786" y="5291093"/>
              <a:ext cx="2178428" cy="1389221"/>
              <a:chOff x="361572" y="5821779"/>
              <a:chExt cx="2178428" cy="1389221"/>
            </a:xfrm>
          </p:grpSpPr>
          <p:sp>
            <p:nvSpPr>
              <p:cNvPr id="53" name="TextBox 52"/>
              <p:cNvSpPr txBox="1"/>
              <p:nvPr/>
            </p:nvSpPr>
            <p:spPr>
              <a:xfrm>
                <a:off x="361572" y="6964779"/>
                <a:ext cx="2178428" cy="246221"/>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Workforce Development</a:t>
                </a:r>
              </a:p>
            </p:txBody>
          </p:sp>
          <p:pic>
            <p:nvPicPr>
              <p:cNvPr id="54" name="Picture 53"/>
              <p:cNvPicPr>
                <a:picLocks noChangeAspect="1"/>
              </p:cNvPicPr>
              <p:nvPr/>
            </p:nvPicPr>
            <p:blipFill>
              <a:blip r:embed="rId17" r:link="rId18">
                <a:extLst>
                  <a:ext uri="{28A0092B-C50C-407E-A947-70E740481C1C}">
                    <a14:useLocalDpi xmlns:a14="http://schemas.microsoft.com/office/drawing/2010/main" val="0"/>
                  </a:ext>
                </a:extLst>
              </a:blip>
              <a:stretch>
                <a:fillRect/>
              </a:stretch>
            </p:blipFill>
            <p:spPr>
              <a:xfrm>
                <a:off x="879286" y="5821779"/>
                <a:ext cx="1143000" cy="1143000"/>
              </a:xfrm>
              <a:prstGeom prst="rect">
                <a:avLst/>
              </a:prstGeom>
            </p:spPr>
          </p:pic>
        </p:grpSp>
        <p:grpSp>
          <p:nvGrpSpPr>
            <p:cNvPr id="55" name="Group 54"/>
            <p:cNvGrpSpPr/>
            <p:nvPr/>
          </p:nvGrpSpPr>
          <p:grpSpPr>
            <a:xfrm>
              <a:off x="6547720" y="894057"/>
              <a:ext cx="2432428" cy="1726679"/>
              <a:chOff x="234572" y="894057"/>
              <a:chExt cx="2432428" cy="1726679"/>
            </a:xfrm>
          </p:grpSpPr>
          <p:sp>
            <p:nvSpPr>
              <p:cNvPr id="56" name="TextBox 55"/>
              <p:cNvSpPr txBox="1"/>
              <p:nvPr/>
            </p:nvSpPr>
            <p:spPr>
              <a:xfrm>
                <a:off x="234572" y="2128293"/>
                <a:ext cx="243242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EEECE1"/>
                    </a:solidFill>
                    <a:effectLst/>
                    <a:uLnTx/>
                    <a:uFillTx/>
                    <a:latin typeface="Arial" charset="0"/>
                    <a:ea typeface="ＭＳ Ｐゴシック" charset="-128"/>
                  </a:rPr>
                  <a:t>Emergency Operations Centers</a:t>
                </a:r>
              </a:p>
            </p:txBody>
          </p:sp>
          <p:pic>
            <p:nvPicPr>
              <p:cNvPr id="57" name="Picture 56"/>
              <p:cNvPicPr>
                <a:picLocks noChangeAspect="1"/>
              </p:cNvPicPr>
              <p:nvPr/>
            </p:nvPicPr>
            <p:blipFill>
              <a:blip r:embed="rId19" r:link="rId20">
                <a:extLst>
                  <a:ext uri="{28A0092B-C50C-407E-A947-70E740481C1C}">
                    <a14:useLocalDpi xmlns:a14="http://schemas.microsoft.com/office/drawing/2010/main" val="0"/>
                  </a:ext>
                </a:extLst>
              </a:blip>
              <a:stretch>
                <a:fillRect/>
              </a:stretch>
            </p:blipFill>
            <p:spPr>
              <a:xfrm>
                <a:off x="879286" y="894057"/>
                <a:ext cx="1143000" cy="1127760"/>
              </a:xfrm>
              <a:prstGeom prst="rect">
                <a:avLst/>
              </a:prstGeom>
            </p:spPr>
          </p:pic>
        </p:grpSp>
        <p:grpSp>
          <p:nvGrpSpPr>
            <p:cNvPr id="58" name="Group 57"/>
            <p:cNvGrpSpPr/>
            <p:nvPr/>
          </p:nvGrpSpPr>
          <p:grpSpPr>
            <a:xfrm>
              <a:off x="6674720" y="2885412"/>
              <a:ext cx="2178428" cy="1676921"/>
              <a:chOff x="361572" y="2701702"/>
              <a:chExt cx="2178428" cy="1676921"/>
            </a:xfrm>
          </p:grpSpPr>
          <p:sp>
            <p:nvSpPr>
              <p:cNvPr id="59" name="TextBox 58"/>
              <p:cNvSpPr txBox="1"/>
              <p:nvPr/>
            </p:nvSpPr>
            <p:spPr>
              <a:xfrm>
                <a:off x="361572" y="3886180"/>
                <a:ext cx="217842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Public Health and Law Enforcement</a:t>
                </a:r>
              </a:p>
            </p:txBody>
          </p:sp>
          <p:pic>
            <p:nvPicPr>
              <p:cNvPr id="60" name="Picture 59"/>
              <p:cNvPicPr>
                <a:picLocks noChangeAspect="1"/>
              </p:cNvPicPr>
              <p:nvPr/>
            </p:nvPicPr>
            <p:blipFill>
              <a:blip r:embed="rId21" r:link="rId22">
                <a:extLst>
                  <a:ext uri="{28A0092B-C50C-407E-A947-70E740481C1C}">
                    <a14:useLocalDpi xmlns:a14="http://schemas.microsoft.com/office/drawing/2010/main" val="0"/>
                  </a:ext>
                </a:extLst>
              </a:blip>
              <a:stretch>
                <a:fillRect/>
              </a:stretch>
            </p:blipFill>
            <p:spPr>
              <a:xfrm>
                <a:off x="879286" y="2701702"/>
                <a:ext cx="1143000" cy="1127760"/>
              </a:xfrm>
              <a:prstGeom prst="rect">
                <a:avLst/>
              </a:prstGeom>
            </p:spPr>
          </p:pic>
        </p:grpSp>
        <p:grpSp>
          <p:nvGrpSpPr>
            <p:cNvPr id="61" name="Group 60"/>
            <p:cNvGrpSpPr/>
            <p:nvPr/>
          </p:nvGrpSpPr>
          <p:grpSpPr>
            <a:xfrm>
              <a:off x="6674720" y="4895041"/>
              <a:ext cx="2178428" cy="1721773"/>
              <a:chOff x="361572" y="4073613"/>
              <a:chExt cx="2178428" cy="1721773"/>
            </a:xfrm>
          </p:grpSpPr>
          <p:sp>
            <p:nvSpPr>
              <p:cNvPr id="62" name="TextBox 61"/>
              <p:cNvSpPr txBox="1"/>
              <p:nvPr/>
            </p:nvSpPr>
            <p:spPr>
              <a:xfrm>
                <a:off x="361572" y="5302943"/>
                <a:ext cx="2178428" cy="492443"/>
              </a:xfrm>
              <a:prstGeom prst="rect">
                <a:avLst/>
              </a:prstGeom>
              <a:noFill/>
            </p:spPr>
            <p:txBody>
              <a:bodyPr wrap="square" lIns="0" tIns="0" rIns="0" bIns="0" rtlCol="0">
                <a:spAutoFit/>
              </a:body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Medical Countermeasures</a:t>
                </a:r>
                <a:endParaRPr kumimoji="0" lang="en-US" sz="1600" b="0" i="0" u="none" strike="noStrike" kern="1200" cap="none" spc="0" normalizeH="0" baseline="0" noProof="0" dirty="0">
                  <a:ln>
                    <a:noFill/>
                  </a:ln>
                  <a:solidFill>
                    <a:srgbClr val="EEECE1"/>
                  </a:solidFill>
                  <a:effectLst/>
                  <a:uLnTx/>
                  <a:uFillTx/>
                  <a:latin typeface="Arial" charset="0"/>
                  <a:ea typeface="ＭＳ Ｐゴシック" charset="-128"/>
                </a:endParaRPr>
              </a:p>
            </p:txBody>
          </p:sp>
          <p:pic>
            <p:nvPicPr>
              <p:cNvPr id="63" name="Picture 62"/>
              <p:cNvPicPr>
                <a:picLocks noChangeAspect="1"/>
              </p:cNvPicPr>
              <p:nvPr/>
            </p:nvPicPr>
            <p:blipFill>
              <a:blip r:embed="rId23" r:link="rId24">
                <a:extLst>
                  <a:ext uri="{28A0092B-C50C-407E-A947-70E740481C1C}">
                    <a14:useLocalDpi xmlns:a14="http://schemas.microsoft.com/office/drawing/2010/main" val="0"/>
                  </a:ext>
                </a:extLst>
              </a:blip>
              <a:stretch>
                <a:fillRect/>
              </a:stretch>
            </p:blipFill>
            <p:spPr>
              <a:xfrm>
                <a:off x="890492" y="4073613"/>
                <a:ext cx="1120588" cy="1120588"/>
              </a:xfrm>
              <a:prstGeom prst="rect">
                <a:avLst/>
              </a:prstGeom>
            </p:spPr>
          </p:pic>
        </p:grpSp>
      </p:grpSp>
    </p:spTree>
    <p:extLst>
      <p:ext uri="{BB962C8B-B14F-4D97-AF65-F5344CB8AC3E}">
        <p14:creationId xmlns:p14="http://schemas.microsoft.com/office/powerpoint/2010/main" val="508220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542809"/>
            <a:ext cx="9144000" cy="985838"/>
          </a:xfrm>
          <a:prstGeom prst="rect">
            <a:avLst/>
          </a:prstGeom>
        </p:spPr>
        <p:txBody>
          <a:bodyPr/>
          <a:lstStyle/>
          <a:p>
            <a:r>
              <a:rPr lang="en-US" dirty="0"/>
              <a:t>GHSA Action Packages in Nigeria</a:t>
            </a:r>
          </a:p>
        </p:txBody>
      </p:sp>
      <p:grpSp>
        <p:nvGrpSpPr>
          <p:cNvPr id="21" name="Group 20"/>
          <p:cNvGrpSpPr/>
          <p:nvPr/>
        </p:nvGrpSpPr>
        <p:grpSpPr>
          <a:xfrm>
            <a:off x="346358" y="1802093"/>
            <a:ext cx="4076700" cy="2132074"/>
            <a:chOff x="94106" y="854540"/>
            <a:chExt cx="4439794" cy="2321961"/>
          </a:xfrm>
        </p:grpSpPr>
        <p:sp>
          <p:nvSpPr>
            <p:cNvPr id="22" name="Rounded Rectangle 21"/>
            <p:cNvSpPr/>
            <p:nvPr/>
          </p:nvSpPr>
          <p:spPr>
            <a:xfrm>
              <a:off x="295275" y="854540"/>
              <a:ext cx="4238625" cy="2321961"/>
            </a:xfrm>
            <a:prstGeom prst="roundRect">
              <a:avLst>
                <a:gd name="adj" fmla="val 19228"/>
              </a:avLst>
            </a:prstGeom>
            <a:solidFill>
              <a:srgbClr val="0070C0">
                <a:alpha val="4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1463040" tIns="0" rIns="0" bIns="0" rtlCol="0" anchor="t" anchorCtr="0"/>
            <a:lstStyle/>
            <a:p>
              <a:pPr marL="0" marR="0" lvl="0" indent="0" algn="l" defTabSz="457200" rtl="0" eaLnBrk="1" fontAlgn="base" latinLnBrk="0" hangingPunct="1">
                <a:lnSpc>
                  <a:spcPts val="2800"/>
                </a:lnSpc>
                <a:spcBef>
                  <a:spcPct val="0"/>
                </a:spcBef>
                <a:spcAft>
                  <a:spcPct val="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a:ea typeface="ＭＳ Ｐゴシック" charset="-128"/>
                  <a:cs typeface="Arial" panose="020B0604020202020204" pitchFamily="34" charset="0"/>
                </a:rPr>
                <a:t>Laboratory</a:t>
              </a:r>
            </a:p>
          </p:txBody>
        </p:sp>
        <p:pic>
          <p:nvPicPr>
            <p:cNvPr id="23" name="Picture 22"/>
            <p:cNvPicPr>
              <a:picLocks noChangeAspect="1"/>
            </p:cNvPicPr>
            <p:nvPr/>
          </p:nvPicPr>
          <p:blipFill>
            <a:blip r:embed="rId3" r:link="rId4" cstate="print">
              <a:extLst>
                <a:ext uri="{28A0092B-C50C-407E-A947-70E740481C1C}">
                  <a14:useLocalDpi xmlns:a14="http://schemas.microsoft.com/office/drawing/2010/main" val="0"/>
                </a:ext>
              </a:extLst>
            </a:blip>
            <a:stretch>
              <a:fillRect/>
            </a:stretch>
          </p:blipFill>
          <p:spPr>
            <a:xfrm>
              <a:off x="94106" y="944690"/>
              <a:ext cx="1554480" cy="1562063"/>
            </a:xfrm>
            <a:prstGeom prst="rect">
              <a:avLst/>
            </a:prstGeom>
          </p:spPr>
        </p:pic>
        <p:sp>
          <p:nvSpPr>
            <p:cNvPr id="24" name="TextBox 23"/>
            <p:cNvSpPr txBox="1"/>
            <p:nvPr/>
          </p:nvSpPr>
          <p:spPr>
            <a:xfrm>
              <a:off x="1648586" y="1287213"/>
              <a:ext cx="2818639" cy="1548568"/>
            </a:xfrm>
            <a:prstGeom prst="rect">
              <a:avLst/>
            </a:prstGeom>
            <a:noFill/>
          </p:spPr>
          <p:txBody>
            <a:bodyPr wrap="square" rtlCol="0">
              <a:spAutoFit/>
            </a:bodyPr>
            <a:lstStyle/>
            <a:p>
              <a:pPr marL="171450" marR="0" lvl="1" indent="-171450" algn="l" defTabSz="800100" rtl="0" eaLnBrk="1" fontAlgn="base"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Support to the National Reference Laboratory and the public health lab network in capacity and infrastructure development</a:t>
              </a:r>
            </a:p>
          </p:txBody>
        </p:sp>
      </p:grpSp>
      <p:grpSp>
        <p:nvGrpSpPr>
          <p:cNvPr id="25" name="Group 24"/>
          <p:cNvGrpSpPr/>
          <p:nvPr/>
        </p:nvGrpSpPr>
        <p:grpSpPr>
          <a:xfrm>
            <a:off x="4748900" y="1548492"/>
            <a:ext cx="4073027" cy="2394629"/>
            <a:chOff x="4589334" y="944689"/>
            <a:chExt cx="4435794" cy="2607908"/>
          </a:xfrm>
        </p:grpSpPr>
        <p:sp>
          <p:nvSpPr>
            <p:cNvPr id="26" name="Rounded Rectangle 25"/>
            <p:cNvSpPr/>
            <p:nvPr/>
          </p:nvSpPr>
          <p:spPr>
            <a:xfrm>
              <a:off x="4782312" y="1220877"/>
              <a:ext cx="4242816" cy="2331720"/>
            </a:xfrm>
            <a:prstGeom prst="roundRect">
              <a:avLst>
                <a:gd name="adj" fmla="val 19228"/>
              </a:avLst>
            </a:prstGeom>
            <a:solidFill>
              <a:srgbClr val="0070C0">
                <a:alpha val="4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1463040" tIns="0" rIns="0" bIns="0" rtlCol="0" anchor="t" anchorCtr="0"/>
            <a:lstStyle/>
            <a:p>
              <a:pPr marL="0" marR="0" lvl="0" indent="0" algn="l" defTabSz="457200" rtl="0" eaLnBrk="1" fontAlgn="base" latinLnBrk="0" hangingPunct="1">
                <a:lnSpc>
                  <a:spcPts val="2800"/>
                </a:lnSpc>
                <a:spcBef>
                  <a:spcPct val="0"/>
                </a:spcBef>
                <a:spcAft>
                  <a:spcPct val="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a:ea typeface="ＭＳ Ｐゴシック" charset="-128"/>
                  <a:cs typeface="Arial" panose="020B0604020202020204" pitchFamily="34" charset="0"/>
                </a:rPr>
                <a:t>Surveillance</a:t>
              </a:r>
            </a:p>
          </p:txBody>
        </p:sp>
        <p:pic>
          <p:nvPicPr>
            <p:cNvPr id="27" name="Picture 26"/>
            <p:cNvPicPr>
              <a:picLocks noChangeAspect="1"/>
            </p:cNvPicPr>
            <p:nvPr/>
          </p:nvPicPr>
          <p:blipFill>
            <a:blip r:embed="rId5" r:link="rId6" cstate="print">
              <a:extLst>
                <a:ext uri="{28A0092B-C50C-407E-A947-70E740481C1C}">
                  <a14:useLocalDpi xmlns:a14="http://schemas.microsoft.com/office/drawing/2010/main" val="0"/>
                </a:ext>
              </a:extLst>
            </a:blip>
            <a:stretch>
              <a:fillRect/>
            </a:stretch>
          </p:blipFill>
          <p:spPr>
            <a:xfrm>
              <a:off x="4589334" y="944689"/>
              <a:ext cx="1554480" cy="1562062"/>
            </a:xfrm>
            <a:prstGeom prst="rect">
              <a:avLst/>
            </a:prstGeom>
          </p:spPr>
        </p:pic>
        <p:sp>
          <p:nvSpPr>
            <p:cNvPr id="28" name="TextBox 27"/>
            <p:cNvSpPr txBox="1"/>
            <p:nvPr/>
          </p:nvSpPr>
          <p:spPr>
            <a:xfrm>
              <a:off x="6143814" y="1744772"/>
              <a:ext cx="2790636" cy="1065900"/>
            </a:xfrm>
            <a:prstGeom prst="rect">
              <a:avLst/>
            </a:prstGeom>
            <a:noFill/>
          </p:spPr>
          <p:txBody>
            <a:bodyPr wrap="square" rtlCol="0">
              <a:spAutoFit/>
            </a:bodyPr>
            <a:lstStyle/>
            <a:p>
              <a:pPr marL="171450" marR="0" lvl="1" indent="-171450" algn="l" defTabSz="800100" rtl="0" eaLnBrk="1" fontAlgn="base"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Capacity to analyze and link data for functional real-time bio surveillance systems</a:t>
              </a:r>
            </a:p>
          </p:txBody>
        </p:sp>
      </p:grpSp>
      <p:grpSp>
        <p:nvGrpSpPr>
          <p:cNvPr id="29" name="Group 28"/>
          <p:cNvGrpSpPr/>
          <p:nvPr/>
        </p:nvGrpSpPr>
        <p:grpSpPr>
          <a:xfrm>
            <a:off x="254000" y="4091519"/>
            <a:ext cx="4076700" cy="2391807"/>
            <a:chOff x="94106" y="3901231"/>
            <a:chExt cx="4439794" cy="2604835"/>
          </a:xfrm>
        </p:grpSpPr>
        <p:sp>
          <p:nvSpPr>
            <p:cNvPr id="30" name="Rounded Rectangle 29"/>
            <p:cNvSpPr/>
            <p:nvPr/>
          </p:nvSpPr>
          <p:spPr>
            <a:xfrm>
              <a:off x="295275" y="4173628"/>
              <a:ext cx="4238625" cy="2332438"/>
            </a:xfrm>
            <a:prstGeom prst="roundRect">
              <a:avLst>
                <a:gd name="adj" fmla="val 19228"/>
              </a:avLst>
            </a:prstGeom>
            <a:solidFill>
              <a:srgbClr val="0070C0">
                <a:alpha val="4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1463040" tIns="0" rIns="0" bIns="0" rtlCol="0" anchor="t" anchorCtr="0"/>
            <a:lstStyle/>
            <a:p>
              <a:pPr marL="0" marR="0" lvl="0" indent="0" algn="l" defTabSz="457200" rtl="0" eaLnBrk="1" fontAlgn="base" latinLnBrk="0" hangingPunct="1">
                <a:lnSpc>
                  <a:spcPts val="2800"/>
                </a:lnSpc>
                <a:spcBef>
                  <a:spcPct val="0"/>
                </a:spcBef>
                <a:spcAft>
                  <a:spcPct val="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a:ea typeface="ＭＳ Ｐゴシック" charset="-128"/>
                  <a:cs typeface="Arial" panose="020B0604020202020204" pitchFamily="34" charset="0"/>
                </a:rPr>
                <a:t>Emergency Operations</a:t>
              </a:r>
            </a:p>
          </p:txBody>
        </p:sp>
        <p:pic>
          <p:nvPicPr>
            <p:cNvPr id="31" name="Picture 30"/>
            <p:cNvPicPr>
              <a:picLocks noChangeAspect="1"/>
            </p:cNvPicPr>
            <p:nvPr/>
          </p:nvPicPr>
          <p:blipFill>
            <a:blip r:embed="rId7" r:link="rId8" cstate="print">
              <a:extLst>
                <a:ext uri="{28A0092B-C50C-407E-A947-70E740481C1C}">
                  <a14:useLocalDpi xmlns:a14="http://schemas.microsoft.com/office/drawing/2010/main" val="0"/>
                </a:ext>
              </a:extLst>
            </a:blip>
            <a:stretch>
              <a:fillRect/>
            </a:stretch>
          </p:blipFill>
          <p:spPr>
            <a:xfrm>
              <a:off x="94106" y="3901231"/>
              <a:ext cx="1554480" cy="1554480"/>
            </a:xfrm>
            <a:prstGeom prst="rect">
              <a:avLst/>
            </a:prstGeom>
          </p:spPr>
        </p:pic>
        <p:sp>
          <p:nvSpPr>
            <p:cNvPr id="32" name="TextBox 31"/>
            <p:cNvSpPr txBox="1"/>
            <p:nvPr/>
          </p:nvSpPr>
          <p:spPr>
            <a:xfrm>
              <a:off x="1648586" y="5059472"/>
              <a:ext cx="2818639" cy="1347460"/>
            </a:xfrm>
            <a:prstGeom prst="rect">
              <a:avLst/>
            </a:prstGeom>
            <a:noFill/>
          </p:spPr>
          <p:txBody>
            <a:bodyPr wrap="square" rtlCol="0">
              <a:spAutoFit/>
            </a:bodyPr>
            <a:lstStyle/>
            <a:p>
              <a:pPr marL="171450" marR="0" lvl="1" indent="-171450" algn="l" defTabSz="800100" rtl="0" eaLnBrk="1" fontAlgn="base"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EOC activation when needed</a:t>
              </a:r>
            </a:p>
            <a:p>
              <a:pPr marL="171450" marR="0" lvl="1" indent="-171450" algn="l" defTabSz="800100" rtl="0" eaLnBrk="1" fontAlgn="base"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Functional IMS use for preparedness and response</a:t>
              </a:r>
            </a:p>
          </p:txBody>
        </p:sp>
      </p:grpSp>
      <p:grpSp>
        <p:nvGrpSpPr>
          <p:cNvPr id="33" name="Group 32"/>
          <p:cNvGrpSpPr/>
          <p:nvPr/>
        </p:nvGrpSpPr>
        <p:grpSpPr>
          <a:xfrm>
            <a:off x="4748900" y="4092178"/>
            <a:ext cx="4073027" cy="2522380"/>
            <a:chOff x="4589334" y="3901230"/>
            <a:chExt cx="4435794" cy="2747037"/>
          </a:xfrm>
        </p:grpSpPr>
        <p:sp>
          <p:nvSpPr>
            <p:cNvPr id="34" name="Rounded Rectangle 33"/>
            <p:cNvSpPr/>
            <p:nvPr/>
          </p:nvSpPr>
          <p:spPr>
            <a:xfrm>
              <a:off x="4782312" y="4173627"/>
              <a:ext cx="4242816" cy="2331720"/>
            </a:xfrm>
            <a:prstGeom prst="roundRect">
              <a:avLst>
                <a:gd name="adj" fmla="val 19228"/>
              </a:avLst>
            </a:prstGeom>
            <a:solidFill>
              <a:srgbClr val="0070C0">
                <a:alpha val="40000"/>
              </a:srgbClr>
            </a:solidFill>
            <a:ln>
              <a:noFill/>
            </a:ln>
            <a:effectLst/>
          </p:spPr>
          <p:style>
            <a:lnRef idx="2">
              <a:schemeClr val="dk1">
                <a:shade val="50000"/>
              </a:schemeClr>
            </a:lnRef>
            <a:fillRef idx="1">
              <a:schemeClr val="dk1"/>
            </a:fillRef>
            <a:effectRef idx="0">
              <a:schemeClr val="dk1"/>
            </a:effectRef>
            <a:fontRef idx="minor">
              <a:schemeClr val="lt1"/>
            </a:fontRef>
          </p:style>
          <p:txBody>
            <a:bodyPr lIns="1463040" tIns="0" rIns="0" bIns="0" rtlCol="0" anchor="t" anchorCtr="0"/>
            <a:lstStyle/>
            <a:p>
              <a:pPr marL="0" marR="0" lvl="0" indent="0" algn="l" defTabSz="457200" rtl="0" eaLnBrk="1" fontAlgn="base" latinLnBrk="0" hangingPunct="1">
                <a:lnSpc>
                  <a:spcPts val="2800"/>
                </a:lnSpc>
                <a:spcBef>
                  <a:spcPct val="0"/>
                </a:spcBef>
                <a:spcAft>
                  <a:spcPct val="0"/>
                </a:spcAft>
                <a:buClrTx/>
                <a:buSzTx/>
                <a:buFontTx/>
                <a:buNone/>
                <a:tabLst/>
                <a:defRPr/>
              </a:pPr>
              <a:r>
                <a:rPr kumimoji="0" lang="en-US" sz="2600" b="1" i="0" u="none" strike="noStrike" kern="1200" cap="none" spc="0" normalizeH="0" baseline="0" noProof="0" dirty="0">
                  <a:ln>
                    <a:noFill/>
                  </a:ln>
                  <a:solidFill>
                    <a:prstClr val="white"/>
                  </a:solidFill>
                  <a:effectLst/>
                  <a:uLnTx/>
                  <a:uFillTx/>
                  <a:latin typeface="Calibri"/>
                  <a:ea typeface="ＭＳ Ｐゴシック" charset="-128"/>
                  <a:cs typeface="Arial" panose="020B0604020202020204" pitchFamily="34" charset="0"/>
                </a:rPr>
                <a:t>Workforce Development</a:t>
              </a:r>
            </a:p>
          </p:txBody>
        </p:sp>
        <p:pic>
          <p:nvPicPr>
            <p:cNvPr id="35" name="Picture 34"/>
            <p:cNvPicPr>
              <a:picLocks noChangeAspect="1"/>
            </p:cNvPicPr>
            <p:nvPr/>
          </p:nvPicPr>
          <p:blipFill>
            <a:blip r:embed="rId9" r:link="rId10" cstate="print">
              <a:extLst>
                <a:ext uri="{28A0092B-C50C-407E-A947-70E740481C1C}">
                  <a14:useLocalDpi xmlns:a14="http://schemas.microsoft.com/office/drawing/2010/main" val="0"/>
                </a:ext>
              </a:extLst>
            </a:blip>
            <a:stretch>
              <a:fillRect/>
            </a:stretch>
          </p:blipFill>
          <p:spPr>
            <a:xfrm>
              <a:off x="4589334" y="3901230"/>
              <a:ext cx="1554480" cy="1554480"/>
            </a:xfrm>
            <a:prstGeom prst="rect">
              <a:avLst/>
            </a:prstGeom>
          </p:spPr>
        </p:pic>
        <p:sp>
          <p:nvSpPr>
            <p:cNvPr id="36" name="TextBox 35"/>
            <p:cNvSpPr txBox="1"/>
            <p:nvPr/>
          </p:nvSpPr>
          <p:spPr>
            <a:xfrm>
              <a:off x="6143814" y="5059472"/>
              <a:ext cx="2790636" cy="1588795"/>
            </a:xfrm>
            <a:prstGeom prst="rect">
              <a:avLst/>
            </a:prstGeom>
            <a:noFill/>
          </p:spPr>
          <p:txBody>
            <a:bodyPr wrap="square" rtlCol="0">
              <a:spAutoFit/>
            </a:bodyPr>
            <a:lstStyle/>
            <a:p>
              <a:pPr marL="171450" marR="0" lvl="1" indent="-171450" algn="l" defTabSz="800100" rtl="0" eaLnBrk="1" fontAlgn="base"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National public health workforce training</a:t>
              </a:r>
            </a:p>
            <a:p>
              <a:pPr marL="171450" marR="0" lvl="1" indent="-171450" algn="l" defTabSz="800100" rtl="0" eaLnBrk="1" fontAlgn="base" latinLnBrk="0" hangingPunct="1">
                <a:lnSpc>
                  <a:spcPct val="90000"/>
                </a:lnSpc>
                <a:spcBef>
                  <a:spcPct val="0"/>
                </a:spcBef>
                <a:spcAft>
                  <a:spcPct val="15000"/>
                </a:spcAft>
                <a:buClrTx/>
                <a:buSzTx/>
                <a:buFontTx/>
                <a:buChar char="••"/>
                <a:tabLst/>
                <a:defRPr/>
              </a:pPr>
              <a:r>
                <a:rPr kumimoji="0" lang="en-US" sz="1600" b="0" i="0" u="none" strike="noStrike" kern="1200" cap="none" spc="0" normalizeH="0" baseline="0" noProof="0" dirty="0">
                  <a:ln>
                    <a:noFill/>
                  </a:ln>
                  <a:solidFill>
                    <a:prstClr val="white"/>
                  </a:solidFill>
                  <a:effectLst/>
                  <a:uLnTx/>
                  <a:uFillTx/>
                  <a:latin typeface="Arial" charset="0"/>
                  <a:ea typeface="ＭＳ Ｐゴシック" charset="-128"/>
                </a:rPr>
                <a:t>Implementation of the three tiers of the field epidemiology training program</a:t>
              </a:r>
            </a:p>
          </p:txBody>
        </p:sp>
      </p:grpSp>
    </p:spTree>
    <p:extLst>
      <p:ext uri="{BB962C8B-B14F-4D97-AF65-F5344CB8AC3E}">
        <p14:creationId xmlns:p14="http://schemas.microsoft.com/office/powerpoint/2010/main" val="3694605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450850"/>
            <a:ext cx="9144000" cy="1135063"/>
          </a:xfrm>
          <a:prstGeom prst="rect">
            <a:avLst/>
          </a:prstGeom>
        </p:spPr>
        <p:txBody>
          <a:bodyPr/>
          <a:lstStyle/>
          <a:p>
            <a:r>
              <a:rPr lang="en-US" dirty="0"/>
              <a:t>CDC/DGHP</a:t>
            </a:r>
            <a:br>
              <a:rPr lang="en-US" dirty="0"/>
            </a:br>
            <a:r>
              <a:rPr lang="en-US" dirty="0"/>
              <a:t>Implementing Partners and Activities</a:t>
            </a:r>
          </a:p>
        </p:txBody>
      </p:sp>
      <p:sp>
        <p:nvSpPr>
          <p:cNvPr id="3" name="Content Placeholder 2"/>
          <p:cNvSpPr>
            <a:spLocks noGrp="1"/>
          </p:cNvSpPr>
          <p:nvPr>
            <p:ph idx="4294967295"/>
          </p:nvPr>
        </p:nvSpPr>
        <p:spPr>
          <a:xfrm>
            <a:off x="0" y="2209800"/>
            <a:ext cx="8229600" cy="4729162"/>
          </a:xfrm>
          <a:prstGeom prst="rect">
            <a:avLst/>
          </a:prstGeom>
        </p:spPr>
        <p:txBody>
          <a:bodyPr/>
          <a:lstStyle/>
          <a:p>
            <a:r>
              <a:rPr lang="en-US" sz="2000" dirty="0"/>
              <a:t>Nigeria Center for Disease Control</a:t>
            </a:r>
          </a:p>
          <a:p>
            <a:pPr lvl="1"/>
            <a:r>
              <a:rPr lang="en-US" sz="1800" dirty="0"/>
              <a:t>Technical assistance and funding for:</a:t>
            </a:r>
          </a:p>
          <a:p>
            <a:pPr lvl="2"/>
            <a:r>
              <a:rPr lang="en-US" sz="1800" dirty="0"/>
              <a:t>Center of Excellence Program </a:t>
            </a:r>
          </a:p>
          <a:p>
            <a:pPr lvl="2"/>
            <a:r>
              <a:rPr lang="en-US" sz="1800" dirty="0"/>
              <a:t>Field Epidemiology Training Program (basic, intermediate, advanced)</a:t>
            </a:r>
          </a:p>
          <a:p>
            <a:pPr lvl="2"/>
            <a:r>
              <a:rPr lang="en-US" sz="1800" dirty="0"/>
              <a:t>Surgical Site Infection and Acute Febrile Illness  research studies</a:t>
            </a:r>
          </a:p>
          <a:p>
            <a:pPr lvl="2"/>
            <a:r>
              <a:rPr lang="en-US" sz="1800" dirty="0"/>
              <a:t>Public Health Emergency Management Program</a:t>
            </a:r>
          </a:p>
          <a:p>
            <a:pPr lvl="2"/>
            <a:r>
              <a:rPr lang="en-US" sz="1800" dirty="0"/>
              <a:t>Monkey pox human surveillance and animal ecology </a:t>
            </a:r>
          </a:p>
          <a:p>
            <a:pPr lvl="2"/>
            <a:r>
              <a:rPr lang="en-US" sz="1800" dirty="0"/>
              <a:t>Laboratory diagnosis capacity</a:t>
            </a:r>
          </a:p>
          <a:p>
            <a:pPr lvl="2"/>
            <a:r>
              <a:rPr lang="en-US" sz="1800" dirty="0"/>
              <a:t>Infection prevention and control policy development and implementation</a:t>
            </a:r>
          </a:p>
          <a:p>
            <a:pPr lvl="2"/>
            <a:r>
              <a:rPr lang="en-US" sz="1800" dirty="0"/>
              <a:t>Event based surveillance</a:t>
            </a:r>
          </a:p>
          <a:p>
            <a:pPr lvl="2"/>
            <a:r>
              <a:rPr lang="en-US" sz="1800" dirty="0"/>
              <a:t>Medical counter measures readiness and deployment plan</a:t>
            </a:r>
          </a:p>
          <a:p>
            <a:pPr lvl="2"/>
            <a:endParaRPr lang="en-US" sz="1800" dirty="0"/>
          </a:p>
          <a:p>
            <a:pPr lvl="2"/>
            <a:endParaRPr lang="en-US" sz="2000" dirty="0"/>
          </a:p>
          <a:p>
            <a:pPr lvl="1"/>
            <a:endParaRPr lang="en-US" sz="2000" dirty="0"/>
          </a:p>
          <a:p>
            <a:pPr marL="0" indent="0">
              <a:buNone/>
            </a:pPr>
            <a:endParaRPr lang="en-US" sz="2400" dirty="0"/>
          </a:p>
        </p:txBody>
      </p:sp>
    </p:spTree>
    <p:extLst>
      <p:ext uri="{BB962C8B-B14F-4D97-AF65-F5344CB8AC3E}">
        <p14:creationId xmlns:p14="http://schemas.microsoft.com/office/powerpoint/2010/main" val="31735404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 y="838200"/>
            <a:ext cx="9144000" cy="1135063"/>
          </a:xfrm>
          <a:prstGeom prst="rect">
            <a:avLst/>
          </a:prstGeom>
        </p:spPr>
        <p:txBody>
          <a:bodyPr/>
          <a:lstStyle/>
          <a:p>
            <a:r>
              <a:rPr lang="en-US" dirty="0"/>
              <a:t>CDC/DGHP</a:t>
            </a:r>
            <a:br>
              <a:rPr lang="en-US" dirty="0"/>
            </a:br>
            <a:r>
              <a:rPr lang="en-US" dirty="0"/>
              <a:t>Implementing Partners and Activities</a:t>
            </a:r>
          </a:p>
        </p:txBody>
      </p:sp>
      <p:sp>
        <p:nvSpPr>
          <p:cNvPr id="3" name="Content Placeholder 2"/>
          <p:cNvSpPr>
            <a:spLocks noGrp="1"/>
          </p:cNvSpPr>
          <p:nvPr>
            <p:ph idx="4294967295"/>
          </p:nvPr>
        </p:nvSpPr>
        <p:spPr>
          <a:xfrm>
            <a:off x="381000" y="2819400"/>
            <a:ext cx="8229600" cy="3200400"/>
          </a:xfrm>
          <a:prstGeom prst="rect">
            <a:avLst/>
          </a:prstGeom>
        </p:spPr>
        <p:txBody>
          <a:bodyPr numCol="2"/>
          <a:lstStyle/>
          <a:p>
            <a:r>
              <a:rPr lang="en-US" sz="2000" dirty="0"/>
              <a:t>African Field Epidemiology Network</a:t>
            </a:r>
          </a:p>
          <a:p>
            <a:r>
              <a:rPr lang="en-US" sz="2000" dirty="0"/>
              <a:t>Pro Health International</a:t>
            </a:r>
          </a:p>
          <a:p>
            <a:r>
              <a:rPr lang="en-US" sz="2000" dirty="0"/>
              <a:t>Research Triangle Institute</a:t>
            </a:r>
          </a:p>
          <a:p>
            <a:r>
              <a:rPr lang="en-US" sz="2000" dirty="0"/>
              <a:t>Georgetown University</a:t>
            </a:r>
          </a:p>
          <a:p>
            <a:r>
              <a:rPr lang="en-US" sz="2000" dirty="0"/>
              <a:t>Institute of Human Virology</a:t>
            </a:r>
          </a:p>
          <a:p>
            <a:endParaRPr lang="en-US" sz="2000" dirty="0"/>
          </a:p>
          <a:p>
            <a:endParaRPr lang="en-US" sz="2000" dirty="0"/>
          </a:p>
          <a:p>
            <a:pPr lvl="2"/>
            <a:endParaRPr lang="en-US" sz="1600" dirty="0"/>
          </a:p>
        </p:txBody>
      </p:sp>
    </p:spTree>
    <p:extLst>
      <p:ext uri="{BB962C8B-B14F-4D97-AF65-F5344CB8AC3E}">
        <p14:creationId xmlns:p14="http://schemas.microsoft.com/office/powerpoint/2010/main" val="32429705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7561D-F0E4-42C9-B27A-E47490C48BF1}"/>
              </a:ext>
            </a:extLst>
          </p:cNvPr>
          <p:cNvSpPr>
            <a:spLocks noGrp="1"/>
          </p:cNvSpPr>
          <p:nvPr>
            <p:ph type="title"/>
          </p:nvPr>
        </p:nvSpPr>
        <p:spPr/>
        <p:txBody>
          <a:bodyPr/>
          <a:lstStyle/>
          <a:p>
            <a:r>
              <a:rPr lang="en-US" sz="4400" b="0" dirty="0"/>
              <a:t>CDC/DGHP Impact</a:t>
            </a:r>
          </a:p>
        </p:txBody>
      </p:sp>
      <p:sp>
        <p:nvSpPr>
          <p:cNvPr id="3" name="Content Placeholder 2">
            <a:extLst>
              <a:ext uri="{FF2B5EF4-FFF2-40B4-BE49-F238E27FC236}">
                <a16:creationId xmlns:a16="http://schemas.microsoft.com/office/drawing/2014/main" id="{6F106022-9B7E-436F-8D96-9AE12EB29394}"/>
              </a:ext>
            </a:extLst>
          </p:cNvPr>
          <p:cNvSpPr>
            <a:spLocks noGrp="1"/>
          </p:cNvSpPr>
          <p:nvPr>
            <p:ph idx="1"/>
          </p:nvPr>
        </p:nvSpPr>
        <p:spPr/>
        <p:txBody>
          <a:bodyPr/>
          <a:lstStyle/>
          <a:p>
            <a:r>
              <a:rPr lang="en-US" sz="2400" b="0" dirty="0"/>
              <a:t>Establishment of an NPHI Center of Excellence program for the Nigeria Center for Disease Control</a:t>
            </a:r>
          </a:p>
          <a:p>
            <a:r>
              <a:rPr lang="en-US" b="0" dirty="0"/>
              <a:t>The development of NCDC's 5-year National Action Plan for Health Security (NAPHS) strengthened the IHR core capacities by adopting strategies, establishing priorities, and implementing activities intended to close identified gaps to prevent, detect, and detect and respond to public health threats</a:t>
            </a:r>
          </a:p>
          <a:p>
            <a:r>
              <a:rPr lang="en-US" b="0" dirty="0"/>
              <a:t>All 774 local government areas in Nigeria now use an electronic case-based reporting system to detect and track emerging disease threats in real-time</a:t>
            </a:r>
          </a:p>
          <a:p>
            <a:endParaRPr lang="en-US" b="0" dirty="0"/>
          </a:p>
          <a:p>
            <a:endParaRPr lang="en-US" b="0" dirty="0"/>
          </a:p>
          <a:p>
            <a:endParaRPr lang="en-US" b="0" dirty="0"/>
          </a:p>
          <a:p>
            <a:endParaRPr lang="en-US" b="0" dirty="0"/>
          </a:p>
          <a:p>
            <a:endParaRPr lang="en-US" b="0" dirty="0"/>
          </a:p>
          <a:p>
            <a:endParaRPr lang="en-US" b="0" dirty="0"/>
          </a:p>
        </p:txBody>
      </p:sp>
      <p:sp>
        <p:nvSpPr>
          <p:cNvPr id="4" name="Text Placeholder 3">
            <a:extLst>
              <a:ext uri="{FF2B5EF4-FFF2-40B4-BE49-F238E27FC236}">
                <a16:creationId xmlns:a16="http://schemas.microsoft.com/office/drawing/2014/main" id="{D46903AB-240E-4870-B0E9-13C936A8CB7B}"/>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84835216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A013D20-0988-4E29-AFAB-E6281F9CEA0E}"/>
              </a:ext>
            </a:extLst>
          </p:cNvPr>
          <p:cNvSpPr txBox="1"/>
          <p:nvPr/>
        </p:nvSpPr>
        <p:spPr>
          <a:xfrm>
            <a:off x="838200" y="381000"/>
            <a:ext cx="7239000" cy="769441"/>
          </a:xfrm>
          <a:prstGeom prst="rect">
            <a:avLst/>
          </a:prstGeom>
          <a:noFill/>
        </p:spPr>
        <p:txBody>
          <a:bodyPr wrap="square" rtlCol="0">
            <a:spAutoFit/>
          </a:bodyPr>
          <a:lstStyle/>
          <a:p>
            <a:pPr algn="ctr"/>
            <a:r>
              <a:rPr lang="en-US" sz="4400" b="1" dirty="0">
                <a:solidFill>
                  <a:schemeClr val="tx2"/>
                </a:solidFill>
              </a:rPr>
              <a:t>Establishment </a:t>
            </a:r>
          </a:p>
        </p:txBody>
      </p:sp>
      <p:sp>
        <p:nvSpPr>
          <p:cNvPr id="8" name="TextBox 7">
            <a:extLst>
              <a:ext uri="{FF2B5EF4-FFF2-40B4-BE49-F238E27FC236}">
                <a16:creationId xmlns:a16="http://schemas.microsoft.com/office/drawing/2014/main" id="{AD581C51-18A9-4F96-B70E-08CB67557557}"/>
              </a:ext>
            </a:extLst>
          </p:cNvPr>
          <p:cNvSpPr txBox="1"/>
          <p:nvPr/>
        </p:nvSpPr>
        <p:spPr>
          <a:xfrm>
            <a:off x="381000" y="1968684"/>
            <a:ext cx="7391400" cy="4524315"/>
          </a:xfrm>
          <a:prstGeom prst="rect">
            <a:avLst/>
          </a:prstGeom>
          <a:noFill/>
        </p:spPr>
        <p:txBody>
          <a:bodyPr wrap="square" rtlCol="0">
            <a:spAutoFit/>
          </a:bodyPr>
          <a:lstStyle/>
          <a:p>
            <a:pPr marL="342900" indent="-342900">
              <a:buFont typeface="Wingdings" panose="05000000000000000000" pitchFamily="2" charset="2"/>
              <a:buChar char="q"/>
            </a:pPr>
            <a:r>
              <a:rPr lang="en-US" sz="2400" dirty="0">
                <a:solidFill>
                  <a:schemeClr val="tx2"/>
                </a:solidFill>
              </a:rPr>
              <a:t>Established in Nigeria in 2001. CDC works with federal and state ministries of health to address </a:t>
            </a:r>
            <a:r>
              <a:rPr lang="en-US" sz="2400" b="1" dirty="0"/>
              <a:t>HIV, tuberculosis, malaria, global health security and immunization for vaccine-preventable diseases as well as on strengthening laboratory, surveillance, and workforce capacity</a:t>
            </a:r>
            <a:r>
              <a:rPr lang="en-US" sz="2400" b="1" dirty="0">
                <a:solidFill>
                  <a:schemeClr val="tx2"/>
                </a:solidFill>
              </a:rPr>
              <a:t> </a:t>
            </a:r>
            <a:r>
              <a:rPr lang="en-US" sz="2400" dirty="0">
                <a:solidFill>
                  <a:schemeClr val="tx2"/>
                </a:solidFill>
              </a:rPr>
              <a:t>to respond to disease outbreaks.</a:t>
            </a:r>
          </a:p>
          <a:p>
            <a:endParaRPr lang="en-US" sz="2400" dirty="0">
              <a:solidFill>
                <a:schemeClr val="tx2"/>
              </a:solidFill>
            </a:endParaRPr>
          </a:p>
          <a:p>
            <a:pPr marL="342900" indent="-342900">
              <a:buFont typeface="Wingdings" panose="05000000000000000000" pitchFamily="2" charset="2"/>
              <a:buChar char="q"/>
            </a:pPr>
            <a:r>
              <a:rPr lang="en-US" sz="2400" dirty="0">
                <a:solidFill>
                  <a:schemeClr val="tx2"/>
                </a:solidFill>
              </a:rPr>
              <a:t>We work directly with </a:t>
            </a:r>
            <a:r>
              <a:rPr lang="en-US" sz="2400" b="1" dirty="0"/>
              <a:t>federal/national and states governments and implementing partners </a:t>
            </a:r>
            <a:r>
              <a:rPr lang="en-US" sz="2400" dirty="0">
                <a:solidFill>
                  <a:schemeClr val="tx2"/>
                </a:solidFill>
              </a:rPr>
              <a:t>across the 36 states of Nigeria</a:t>
            </a:r>
          </a:p>
        </p:txBody>
      </p:sp>
      <p:pic>
        <p:nvPicPr>
          <p:cNvPr id="2" name="Picture 1">
            <a:extLst>
              <a:ext uri="{FF2B5EF4-FFF2-40B4-BE49-F238E27FC236}">
                <a16:creationId xmlns:a16="http://schemas.microsoft.com/office/drawing/2014/main" id="{7C89741D-A800-40FB-BE28-27CA55973C6B}"/>
              </a:ext>
            </a:extLst>
          </p:cNvPr>
          <p:cNvPicPr>
            <a:picLocks noChangeAspect="1"/>
          </p:cNvPicPr>
          <p:nvPr/>
        </p:nvPicPr>
        <p:blipFill>
          <a:blip r:embed="rId2"/>
          <a:stretch>
            <a:fillRect/>
          </a:stretch>
        </p:blipFill>
        <p:spPr>
          <a:xfrm>
            <a:off x="7203722" y="343991"/>
            <a:ext cx="1612900" cy="1612900"/>
          </a:xfrm>
          <a:prstGeom prst="rect">
            <a:avLst/>
          </a:prstGeom>
        </p:spPr>
      </p:pic>
    </p:spTree>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F5439-F84D-4BCA-A5CA-E1A9A24CD20E}"/>
              </a:ext>
            </a:extLst>
          </p:cNvPr>
          <p:cNvSpPr>
            <a:spLocks noGrp="1"/>
          </p:cNvSpPr>
          <p:nvPr>
            <p:ph type="title"/>
          </p:nvPr>
        </p:nvSpPr>
        <p:spPr/>
        <p:txBody>
          <a:bodyPr/>
          <a:lstStyle/>
          <a:p>
            <a:r>
              <a:rPr kumimoji="0" lang="en-US" sz="4400" b="0" i="0" u="none" strike="noStrike" kern="1200" cap="none" spc="0" normalizeH="0" baseline="0" noProof="0" dirty="0">
                <a:ln>
                  <a:noFill/>
                </a:ln>
                <a:solidFill>
                  <a:srgbClr val="FFC000"/>
                </a:solidFill>
                <a:effectLst/>
                <a:uLnTx/>
                <a:uFillTx/>
                <a:latin typeface="Myriad Web Pro"/>
                <a:ea typeface="+mj-ea"/>
                <a:cs typeface="+mj-cs"/>
              </a:rPr>
              <a:t>CDC/DGHP Impact</a:t>
            </a:r>
            <a:endParaRPr lang="en-US" dirty="0"/>
          </a:p>
        </p:txBody>
      </p:sp>
      <p:sp>
        <p:nvSpPr>
          <p:cNvPr id="3" name="Content Placeholder 2">
            <a:extLst>
              <a:ext uri="{FF2B5EF4-FFF2-40B4-BE49-F238E27FC236}">
                <a16:creationId xmlns:a16="http://schemas.microsoft.com/office/drawing/2014/main" id="{FB031E9C-D7A5-4CD4-8422-89D9196C3BA0}"/>
              </a:ext>
            </a:extLst>
          </p:cNvPr>
          <p:cNvSpPr>
            <a:spLocks noGrp="1"/>
          </p:cNvSpPr>
          <p:nvPr>
            <p:ph idx="1"/>
          </p:nvPr>
        </p:nvSpPr>
        <p:spPr/>
        <p:txBody>
          <a:bodyPr/>
          <a:lstStyle/>
          <a:p>
            <a:r>
              <a:rPr lang="en-US" sz="2400" b="0" dirty="0"/>
              <a:t>Developing  a National Public Health Emergency Contingency Plan for points of entry.</a:t>
            </a:r>
          </a:p>
          <a:p>
            <a:r>
              <a:rPr lang="en-US" sz="2400" b="0" dirty="0"/>
              <a:t>Strengthening diagnostic capacity for genomic sequencing.</a:t>
            </a:r>
          </a:p>
          <a:p>
            <a:r>
              <a:rPr lang="en-US" sz="2400" b="0" dirty="0"/>
              <a:t>The establishment of 36 sub-national public health EOCs across the 6 geo-political zones in Nigeria, all of which are linked to the National EOC.</a:t>
            </a:r>
          </a:p>
          <a:p>
            <a:r>
              <a:rPr lang="en-US" sz="2400" b="0" dirty="0"/>
              <a:t>The development of a Public Health Emergency Management Professional Development Program</a:t>
            </a:r>
          </a:p>
          <a:p>
            <a:r>
              <a:rPr lang="en-US" sz="2400" b="0" dirty="0"/>
              <a:t>Development of core laboratory diagnostic capacity to test for Monkey Pox, Yellow Fever, and Cerebrospinal Meningitis</a:t>
            </a:r>
          </a:p>
          <a:p>
            <a:endParaRPr lang="en-US" b="0" dirty="0"/>
          </a:p>
          <a:p>
            <a:endParaRPr lang="en-US" b="0" dirty="0"/>
          </a:p>
          <a:p>
            <a:endParaRPr lang="en-US" b="0" dirty="0"/>
          </a:p>
        </p:txBody>
      </p:sp>
      <p:sp>
        <p:nvSpPr>
          <p:cNvPr id="4" name="Text Placeholder 3">
            <a:extLst>
              <a:ext uri="{FF2B5EF4-FFF2-40B4-BE49-F238E27FC236}">
                <a16:creationId xmlns:a16="http://schemas.microsoft.com/office/drawing/2014/main" id="{030123CC-DD01-458C-B309-6EC62475C9D0}"/>
              </a:ext>
            </a:extLst>
          </p:cNvPr>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463192624"/>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D4CB8-E16C-47F1-985D-3E7F7F918F22}"/>
              </a:ext>
            </a:extLst>
          </p:cNvPr>
          <p:cNvSpPr>
            <a:spLocks noGrp="1"/>
          </p:cNvSpPr>
          <p:nvPr>
            <p:ph type="title"/>
          </p:nvPr>
        </p:nvSpPr>
        <p:spPr/>
        <p:txBody>
          <a:bodyPr/>
          <a:lstStyle/>
          <a:p>
            <a:r>
              <a:rPr lang="en-US" dirty="0"/>
              <a:t>Division of Parasitic Diseases and Malaria</a:t>
            </a:r>
          </a:p>
        </p:txBody>
      </p:sp>
      <p:sp>
        <p:nvSpPr>
          <p:cNvPr id="9" name="Text Placeholder 8">
            <a:extLst>
              <a:ext uri="{FF2B5EF4-FFF2-40B4-BE49-F238E27FC236}">
                <a16:creationId xmlns:a16="http://schemas.microsoft.com/office/drawing/2014/main" id="{5E9BAC7A-5CEA-4A06-B3B5-E2D5A0CDED74}"/>
              </a:ext>
            </a:extLst>
          </p:cNvPr>
          <p:cNvSpPr>
            <a:spLocks noGrp="1"/>
          </p:cNvSpPr>
          <p:nvPr>
            <p:ph type="body" idx="1"/>
          </p:nvPr>
        </p:nvSpPr>
        <p:spPr/>
        <p:txBody>
          <a:bodyPr/>
          <a:lstStyle/>
          <a:p>
            <a:r>
              <a:rPr lang="en-US" dirty="0"/>
              <a:t>Dr. John Rogers</a:t>
            </a:r>
          </a:p>
        </p:txBody>
      </p:sp>
    </p:spTree>
    <p:extLst>
      <p:ext uri="{BB962C8B-B14F-4D97-AF65-F5344CB8AC3E}">
        <p14:creationId xmlns:p14="http://schemas.microsoft.com/office/powerpoint/2010/main" val="181967253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85"/>
        <p:cNvGrpSpPr/>
        <p:nvPr/>
      </p:nvGrpSpPr>
      <p:grpSpPr>
        <a:xfrm>
          <a:off x="0" y="0"/>
          <a:ext cx="0" cy="0"/>
          <a:chOff x="0" y="0"/>
          <a:chExt cx="0" cy="0"/>
        </a:xfrm>
      </p:grpSpPr>
      <p:sp>
        <p:nvSpPr>
          <p:cNvPr id="187" name="Google Shape;187;p1"/>
          <p:cNvSpPr txBox="1">
            <a:spLocks noGrp="1"/>
          </p:cNvSpPr>
          <p:nvPr>
            <p:ph type="title"/>
          </p:nvPr>
        </p:nvSpPr>
        <p:spPr>
          <a:xfrm>
            <a:off x="1460090" y="2192903"/>
            <a:ext cx="6223819" cy="2800350"/>
          </a:xfrm>
          <a:prstGeom prst="rect">
            <a:avLst/>
          </a:prstGeom>
          <a:noFill/>
          <a:ln>
            <a:noFill/>
          </a:ln>
        </p:spPr>
        <p:txBody>
          <a:bodyPr spcFirstLastPara="1" wrap="square" lIns="0" tIns="0" rIns="0" bIns="0" anchor="ctr" anchorCtr="0">
            <a:noAutofit/>
          </a:bodyPr>
          <a:lstStyle/>
          <a:p>
            <a:pPr algn="ctr"/>
            <a:r>
              <a:rPr lang="en-US" sz="2800" dirty="0">
                <a:solidFill>
                  <a:schemeClr val="lt1"/>
                </a:solidFill>
                <a:effectLst>
                  <a:outerShdw blurRad="38100" dist="38100" dir="2700000" algn="tl">
                    <a:srgbClr val="000000">
                      <a:alpha val="43137"/>
                    </a:srgbClr>
                  </a:outerShdw>
                </a:effectLst>
                <a:latin typeface="Gill Sans"/>
                <a:ea typeface="Gill Sans"/>
                <a:cs typeface="Gill Sans"/>
                <a:sym typeface="Gill Sans"/>
              </a:rPr>
              <a:t>U.S. President’s Malaria Initiative (PMI) Nigeria</a:t>
            </a:r>
            <a:endParaRPr sz="2800" dirty="0">
              <a:solidFill>
                <a:schemeClr val="lt1"/>
              </a:solidFill>
              <a:effectLst>
                <a:outerShdw blurRad="38100" dist="38100" dir="2700000" algn="tl">
                  <a:srgbClr val="000000">
                    <a:alpha val="43137"/>
                  </a:srgbClr>
                </a:outerShdw>
              </a:effectLst>
              <a:latin typeface="Gill Sans"/>
              <a:ea typeface="Gill Sans"/>
              <a:cs typeface="Gill Sans"/>
              <a:sym typeface="Gill Sans"/>
            </a:endParaRPr>
          </a:p>
        </p:txBody>
      </p:sp>
      <p:sp>
        <p:nvSpPr>
          <p:cNvPr id="188" name="Google Shape;188;p1"/>
          <p:cNvSpPr txBox="1"/>
          <p:nvPr/>
        </p:nvSpPr>
        <p:spPr>
          <a:xfrm>
            <a:off x="1016782" y="3233622"/>
            <a:ext cx="138548" cy="276969"/>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endParaRPr kumimoji="0" sz="135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sp>
        <p:nvSpPr>
          <p:cNvPr id="154" name="Google Shape;154;p2"/>
          <p:cNvSpPr/>
          <p:nvPr/>
        </p:nvSpPr>
        <p:spPr>
          <a:xfrm>
            <a:off x="195050" y="1788988"/>
            <a:ext cx="8705700" cy="4941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endParaRPr kumimoji="0" sz="1400" b="1" i="0" u="none" strike="noStrike" kern="0" cap="none" spc="0" normalizeH="0" baseline="0" noProof="0">
              <a:ln>
                <a:noFill/>
              </a:ln>
              <a:solidFill>
                <a:schemeClr val="accent4"/>
              </a:solidFill>
              <a:effectLst/>
              <a:uLnTx/>
              <a:uFillTx/>
              <a:latin typeface="Gill Sans"/>
              <a:ea typeface="Gill Sans"/>
              <a:cs typeface="Gill Sans"/>
              <a:sym typeface="Gill Sans"/>
            </a:endParaRPr>
          </a:p>
        </p:txBody>
      </p:sp>
      <p:sp>
        <p:nvSpPr>
          <p:cNvPr id="155" name="Google Shape;155;p2"/>
          <p:cNvSpPr txBox="1">
            <a:spLocks noGrp="1"/>
          </p:cNvSpPr>
          <p:nvPr>
            <p:ph type="title" idx="4294967295"/>
          </p:nvPr>
        </p:nvSpPr>
        <p:spPr>
          <a:xfrm>
            <a:off x="379050" y="264543"/>
            <a:ext cx="8521700" cy="573087"/>
          </a:xfrm>
          <a:prstGeom prst="rect">
            <a:avLst/>
          </a:prstGeom>
          <a:noFill/>
          <a:ln>
            <a:noFill/>
          </a:ln>
        </p:spPr>
        <p:txBody>
          <a:bodyPr spcFirstLastPara="1" wrap="square" lIns="0" tIns="91425" rIns="91425" bIns="91425" anchor="t" anchorCtr="0">
            <a:noAutofit/>
          </a:bodyPr>
          <a:lstStyle/>
          <a:p>
            <a:r>
              <a:rPr lang="en" dirty="0"/>
              <a:t>SCALING INTERVENTIONS THAT WORK</a:t>
            </a:r>
            <a:endParaRPr dirty="0"/>
          </a:p>
        </p:txBody>
      </p:sp>
      <p:pic>
        <p:nvPicPr>
          <p:cNvPr id="156" name="Google Shape;156;p2"/>
          <p:cNvPicPr preferRelativeResize="0"/>
          <p:nvPr/>
        </p:nvPicPr>
        <p:blipFill rotWithShape="1">
          <a:blip r:embed="rId3">
            <a:alphaModFix/>
          </a:blip>
          <a:srcRect b="14361"/>
          <a:stretch/>
        </p:blipFill>
        <p:spPr>
          <a:xfrm>
            <a:off x="397451" y="2507300"/>
            <a:ext cx="1021951" cy="1043452"/>
          </a:xfrm>
          <a:prstGeom prst="rect">
            <a:avLst/>
          </a:prstGeom>
          <a:noFill/>
          <a:ln>
            <a:noFill/>
          </a:ln>
        </p:spPr>
      </p:pic>
      <p:pic>
        <p:nvPicPr>
          <p:cNvPr id="157" name="Google Shape;157;p2"/>
          <p:cNvPicPr preferRelativeResize="0"/>
          <p:nvPr/>
        </p:nvPicPr>
        <p:blipFill rotWithShape="1">
          <a:blip r:embed="rId4">
            <a:alphaModFix/>
          </a:blip>
          <a:srcRect/>
          <a:stretch/>
        </p:blipFill>
        <p:spPr>
          <a:xfrm>
            <a:off x="2161662" y="2507301"/>
            <a:ext cx="1075300" cy="1043447"/>
          </a:xfrm>
          <a:prstGeom prst="rect">
            <a:avLst/>
          </a:prstGeom>
          <a:noFill/>
          <a:ln>
            <a:noFill/>
          </a:ln>
        </p:spPr>
      </p:pic>
      <p:pic>
        <p:nvPicPr>
          <p:cNvPr id="158" name="Google Shape;158;p2"/>
          <p:cNvPicPr preferRelativeResize="0"/>
          <p:nvPr/>
        </p:nvPicPr>
        <p:blipFill rotWithShape="1">
          <a:blip r:embed="rId5">
            <a:alphaModFix/>
          </a:blip>
          <a:srcRect/>
          <a:stretch/>
        </p:blipFill>
        <p:spPr>
          <a:xfrm>
            <a:off x="4059675" y="2463550"/>
            <a:ext cx="1075299" cy="1043446"/>
          </a:xfrm>
          <a:prstGeom prst="rect">
            <a:avLst/>
          </a:prstGeom>
          <a:noFill/>
          <a:ln>
            <a:noFill/>
          </a:ln>
        </p:spPr>
      </p:pic>
      <p:pic>
        <p:nvPicPr>
          <p:cNvPr id="159" name="Google Shape;159;p2"/>
          <p:cNvPicPr preferRelativeResize="0"/>
          <p:nvPr/>
        </p:nvPicPr>
        <p:blipFill rotWithShape="1">
          <a:blip r:embed="rId6">
            <a:alphaModFix/>
          </a:blip>
          <a:srcRect/>
          <a:stretch/>
        </p:blipFill>
        <p:spPr>
          <a:xfrm>
            <a:off x="7724577" y="2432550"/>
            <a:ext cx="1075300" cy="1043422"/>
          </a:xfrm>
          <a:prstGeom prst="rect">
            <a:avLst/>
          </a:prstGeom>
          <a:noFill/>
          <a:ln>
            <a:noFill/>
          </a:ln>
        </p:spPr>
      </p:pic>
      <p:pic>
        <p:nvPicPr>
          <p:cNvPr id="160" name="Google Shape;160;p2"/>
          <p:cNvPicPr preferRelativeResize="0"/>
          <p:nvPr/>
        </p:nvPicPr>
        <p:blipFill rotWithShape="1">
          <a:blip r:embed="rId7">
            <a:alphaModFix/>
          </a:blip>
          <a:srcRect/>
          <a:stretch/>
        </p:blipFill>
        <p:spPr>
          <a:xfrm>
            <a:off x="5892126" y="2437825"/>
            <a:ext cx="1041125" cy="1043426"/>
          </a:xfrm>
          <a:prstGeom prst="rect">
            <a:avLst/>
          </a:prstGeom>
          <a:noFill/>
          <a:ln>
            <a:noFill/>
          </a:ln>
        </p:spPr>
      </p:pic>
      <p:sp>
        <p:nvSpPr>
          <p:cNvPr id="161" name="Google Shape;161;p2"/>
          <p:cNvSpPr txBox="1"/>
          <p:nvPr/>
        </p:nvSpPr>
        <p:spPr>
          <a:xfrm>
            <a:off x="215406" y="1763200"/>
            <a:ext cx="1305600" cy="584745"/>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1" i="0" u="none" strike="noStrike" kern="0" cap="none" spc="0" normalizeH="0" baseline="0" noProof="0" dirty="0">
                <a:ln>
                  <a:noFill/>
                </a:ln>
                <a:solidFill>
                  <a:schemeClr val="accent4"/>
                </a:solidFill>
                <a:effectLst/>
                <a:uLnTx/>
                <a:uFillTx/>
                <a:latin typeface="Gill Sans"/>
                <a:ea typeface="Gill Sans"/>
                <a:cs typeface="Gill Sans"/>
                <a:sym typeface="Gill Sans"/>
              </a:rPr>
              <a:t>Mosquito Nets</a:t>
            </a:r>
            <a:endParaRPr kumimoji="0" sz="1300" b="1" i="0" u="none" strike="noStrike" kern="0" cap="none" spc="0" normalizeH="0" baseline="0" noProof="0" dirty="0">
              <a:ln>
                <a:noFill/>
              </a:ln>
              <a:solidFill>
                <a:schemeClr val="accent4"/>
              </a:solidFill>
              <a:effectLst/>
              <a:uLnTx/>
              <a:uFillTx/>
              <a:latin typeface="Gill Sans"/>
              <a:ea typeface="Gill Sans"/>
              <a:cs typeface="Gill Sans"/>
              <a:sym typeface="Gill Sans"/>
            </a:endParaRPr>
          </a:p>
        </p:txBody>
      </p:sp>
      <p:sp>
        <p:nvSpPr>
          <p:cNvPr id="162" name="Google Shape;162;p2"/>
          <p:cNvSpPr txBox="1"/>
          <p:nvPr/>
        </p:nvSpPr>
        <p:spPr>
          <a:xfrm>
            <a:off x="2067300" y="1743538"/>
            <a:ext cx="1305600" cy="584745"/>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1" i="0" u="none" strike="noStrike" kern="0" cap="none" spc="0" normalizeH="0" baseline="0" noProof="0" dirty="0">
                <a:ln>
                  <a:noFill/>
                </a:ln>
                <a:solidFill>
                  <a:schemeClr val="accent4"/>
                </a:solidFill>
                <a:effectLst/>
                <a:uLnTx/>
                <a:uFillTx/>
                <a:latin typeface="Gill Sans"/>
                <a:ea typeface="Gill Sans"/>
                <a:cs typeface="Gill Sans"/>
                <a:sym typeface="Gill Sans"/>
              </a:rPr>
              <a:t>Indoor Spraying</a:t>
            </a:r>
            <a:endParaRPr kumimoji="0" sz="1400" b="1" i="0" u="none" strike="noStrike" kern="0" cap="none" spc="0" normalizeH="0" baseline="0" noProof="0" dirty="0">
              <a:ln>
                <a:noFill/>
              </a:ln>
              <a:solidFill>
                <a:schemeClr val="accent4"/>
              </a:solidFill>
              <a:effectLst/>
              <a:uLnTx/>
              <a:uFillTx/>
              <a:latin typeface="Gill Sans"/>
              <a:ea typeface="Gill Sans"/>
              <a:cs typeface="Gill Sans"/>
              <a:sym typeface="Gill Sans"/>
            </a:endParaRPr>
          </a:p>
        </p:txBody>
      </p:sp>
      <p:sp>
        <p:nvSpPr>
          <p:cNvPr id="163" name="Google Shape;163;p2"/>
          <p:cNvSpPr txBox="1"/>
          <p:nvPr/>
        </p:nvSpPr>
        <p:spPr>
          <a:xfrm>
            <a:off x="3919200" y="1763200"/>
            <a:ext cx="13056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1" i="0" u="none" strike="noStrike" kern="0" cap="none" spc="0" normalizeH="0" baseline="0" noProof="0" dirty="0">
                <a:ln>
                  <a:noFill/>
                </a:ln>
                <a:solidFill>
                  <a:schemeClr val="accent4"/>
                </a:solidFill>
                <a:effectLst/>
                <a:uLnTx/>
                <a:uFillTx/>
                <a:latin typeface="Gill Sans"/>
                <a:ea typeface="Gill Sans"/>
                <a:cs typeface="Gill Sans"/>
                <a:sym typeface="Gill Sans"/>
              </a:rPr>
              <a:t>Case Management</a:t>
            </a:r>
            <a:endParaRPr kumimoji="0" sz="1300" b="1" i="0" u="none" strike="noStrike" kern="0" cap="none" spc="0" normalizeH="0" baseline="0" noProof="0" dirty="0">
              <a:ln>
                <a:noFill/>
              </a:ln>
              <a:solidFill>
                <a:schemeClr val="accent4"/>
              </a:solidFill>
              <a:effectLst/>
              <a:uLnTx/>
              <a:uFillTx/>
              <a:latin typeface="Gill Sans"/>
              <a:ea typeface="Gill Sans"/>
              <a:cs typeface="Gill Sans"/>
              <a:sym typeface="Gill Sans"/>
            </a:endParaRPr>
          </a:p>
        </p:txBody>
      </p:sp>
      <p:sp>
        <p:nvSpPr>
          <p:cNvPr id="164" name="Google Shape;164;p2"/>
          <p:cNvSpPr txBox="1"/>
          <p:nvPr/>
        </p:nvSpPr>
        <p:spPr>
          <a:xfrm>
            <a:off x="5771100" y="1763200"/>
            <a:ext cx="31539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1" i="0" u="none" strike="noStrike" kern="0" cap="none" spc="0" normalizeH="0" baseline="0" noProof="0">
                <a:ln>
                  <a:noFill/>
                </a:ln>
                <a:solidFill>
                  <a:schemeClr val="accent4"/>
                </a:solidFill>
                <a:effectLst/>
                <a:uLnTx/>
                <a:uFillTx/>
                <a:latin typeface="Gill Sans"/>
                <a:ea typeface="Gill Sans"/>
                <a:cs typeface="Gill Sans"/>
                <a:sym typeface="Gill Sans"/>
              </a:rPr>
              <a:t>Preventive Medicines for Pregnant Women and Children</a:t>
            </a:r>
            <a:endParaRPr kumimoji="0" sz="1300" b="1" i="0" u="none" strike="noStrike" kern="0" cap="none" spc="0" normalizeH="0" baseline="0" noProof="0">
              <a:ln>
                <a:noFill/>
              </a:ln>
              <a:solidFill>
                <a:schemeClr val="accent4"/>
              </a:solidFill>
              <a:effectLst/>
              <a:uLnTx/>
              <a:uFillTx/>
              <a:latin typeface="Gill Sans"/>
              <a:ea typeface="Gill Sans"/>
              <a:cs typeface="Gill Sans"/>
              <a:sym typeface="Gill Sans"/>
            </a:endParaRPr>
          </a:p>
        </p:txBody>
      </p:sp>
      <p:sp>
        <p:nvSpPr>
          <p:cNvPr id="165" name="Google Shape;165;p2"/>
          <p:cNvSpPr/>
          <p:nvPr/>
        </p:nvSpPr>
        <p:spPr>
          <a:xfrm>
            <a:off x="219138" y="4993850"/>
            <a:ext cx="8705700" cy="431400"/>
          </a:xfrm>
          <a:prstGeom prst="lef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400" b="0" i="0" u="none" strike="noStrike" kern="0" cap="none" spc="0" normalizeH="0" baseline="0" noProof="0">
              <a:ln>
                <a:noFill/>
              </a:ln>
              <a:solidFill>
                <a:schemeClr val="accent4"/>
              </a:solidFill>
              <a:effectLst/>
              <a:uLnTx/>
              <a:uFillTx/>
              <a:latin typeface="Arial"/>
              <a:ea typeface="Arial"/>
              <a:cs typeface="Arial"/>
              <a:sym typeface="Arial"/>
            </a:endParaRPr>
          </a:p>
        </p:txBody>
      </p:sp>
      <p:sp>
        <p:nvSpPr>
          <p:cNvPr id="166" name="Google Shape;166;p2"/>
          <p:cNvSpPr txBox="1"/>
          <p:nvPr/>
        </p:nvSpPr>
        <p:spPr>
          <a:xfrm>
            <a:off x="1492100" y="4753388"/>
            <a:ext cx="6111600" cy="4002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 sz="1400" b="1" i="0" u="none" strike="noStrike" kern="0" cap="none" spc="0" normalizeH="0" baseline="0" noProof="0">
                <a:ln>
                  <a:noFill/>
                </a:ln>
                <a:solidFill>
                  <a:schemeClr val="accent4"/>
                </a:solidFill>
                <a:effectLst/>
                <a:uLnTx/>
                <a:uFillTx/>
                <a:latin typeface="Gill Sans"/>
                <a:ea typeface="Gill Sans"/>
                <a:cs typeface="Gill Sans"/>
                <a:sym typeface="Gill Sans"/>
              </a:rPr>
              <a:t>Cross-Cutting Investments</a:t>
            </a:r>
            <a:endParaRPr kumimoji="0" sz="1400" b="1" i="0" u="none" strike="noStrike" kern="0" cap="none" spc="0" normalizeH="0" baseline="0" noProof="0">
              <a:ln>
                <a:noFill/>
              </a:ln>
              <a:solidFill>
                <a:schemeClr val="accent4"/>
              </a:solidFill>
              <a:effectLst/>
              <a:uLnTx/>
              <a:uFillTx/>
              <a:latin typeface="Gill Sans"/>
              <a:ea typeface="Gill Sans"/>
              <a:cs typeface="Gill Sans"/>
              <a:sym typeface="Gill Sans"/>
            </a:endParaRPr>
          </a:p>
        </p:txBody>
      </p:sp>
      <p:sp>
        <p:nvSpPr>
          <p:cNvPr id="167" name="Google Shape;167;p2"/>
          <p:cNvSpPr/>
          <p:nvPr/>
        </p:nvSpPr>
        <p:spPr>
          <a:xfrm>
            <a:off x="881775" y="5153600"/>
            <a:ext cx="127800" cy="111900"/>
          </a:xfrm>
          <a:prstGeom prst="ellipse">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400" b="0" i="0" u="none" strike="noStrike" kern="0" cap="none" spc="0" normalizeH="0" baseline="0" noProof="0">
              <a:ln>
                <a:noFill/>
              </a:ln>
              <a:solidFill>
                <a:schemeClr val="accent4"/>
              </a:solidFill>
              <a:effectLst/>
              <a:uLnTx/>
              <a:uFillTx/>
              <a:latin typeface="Arial"/>
              <a:ea typeface="Arial"/>
              <a:cs typeface="Arial"/>
              <a:sym typeface="Arial"/>
            </a:endParaRPr>
          </a:p>
        </p:txBody>
      </p:sp>
      <p:sp>
        <p:nvSpPr>
          <p:cNvPr id="168" name="Google Shape;168;p2"/>
          <p:cNvSpPr/>
          <p:nvPr/>
        </p:nvSpPr>
        <p:spPr>
          <a:xfrm>
            <a:off x="3283263" y="5153600"/>
            <a:ext cx="127800" cy="111900"/>
          </a:xfrm>
          <a:prstGeom prst="ellipse">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400" b="0" i="0" u="none" strike="noStrike" kern="0" cap="none" spc="0" normalizeH="0" baseline="0" noProof="0">
              <a:ln>
                <a:noFill/>
              </a:ln>
              <a:solidFill>
                <a:schemeClr val="accent4"/>
              </a:solidFill>
              <a:effectLst/>
              <a:uLnTx/>
              <a:uFillTx/>
              <a:latin typeface="Arial"/>
              <a:ea typeface="Arial"/>
              <a:cs typeface="Arial"/>
              <a:sym typeface="Arial"/>
            </a:endParaRPr>
          </a:p>
        </p:txBody>
      </p:sp>
      <p:sp>
        <p:nvSpPr>
          <p:cNvPr id="169" name="Google Shape;169;p2"/>
          <p:cNvSpPr/>
          <p:nvPr/>
        </p:nvSpPr>
        <p:spPr>
          <a:xfrm>
            <a:off x="5684750" y="5153600"/>
            <a:ext cx="127800" cy="111900"/>
          </a:xfrm>
          <a:prstGeom prst="ellipse">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400" b="0" i="0" u="none" strike="noStrike" kern="0" cap="none" spc="0" normalizeH="0" baseline="0" noProof="0">
              <a:ln>
                <a:noFill/>
              </a:ln>
              <a:solidFill>
                <a:schemeClr val="accent4"/>
              </a:solidFill>
              <a:effectLst/>
              <a:uLnTx/>
              <a:uFillTx/>
              <a:latin typeface="Arial"/>
              <a:ea typeface="Arial"/>
              <a:cs typeface="Arial"/>
              <a:sym typeface="Arial"/>
            </a:endParaRPr>
          </a:p>
        </p:txBody>
      </p:sp>
      <p:sp>
        <p:nvSpPr>
          <p:cNvPr id="170" name="Google Shape;170;p2"/>
          <p:cNvSpPr/>
          <p:nvPr/>
        </p:nvSpPr>
        <p:spPr>
          <a:xfrm>
            <a:off x="8086238" y="5153600"/>
            <a:ext cx="127800" cy="111900"/>
          </a:xfrm>
          <a:prstGeom prst="ellipse">
            <a:avLst/>
          </a:pr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Tx/>
              <a:buNone/>
              <a:tabLst/>
              <a:defRPr/>
            </a:pPr>
            <a:endParaRPr kumimoji="0" sz="1400" b="0" i="0" u="none" strike="noStrike" kern="0" cap="none" spc="0" normalizeH="0" baseline="0" noProof="0">
              <a:ln>
                <a:noFill/>
              </a:ln>
              <a:solidFill>
                <a:schemeClr val="accent4"/>
              </a:solidFill>
              <a:effectLst/>
              <a:uLnTx/>
              <a:uFillTx/>
              <a:latin typeface="Arial"/>
              <a:ea typeface="Arial"/>
              <a:cs typeface="Arial"/>
              <a:sym typeface="Arial"/>
            </a:endParaRPr>
          </a:p>
        </p:txBody>
      </p:sp>
      <p:sp>
        <p:nvSpPr>
          <p:cNvPr id="171" name="Google Shape;171;p2"/>
          <p:cNvSpPr txBox="1"/>
          <p:nvPr/>
        </p:nvSpPr>
        <p:spPr>
          <a:xfrm>
            <a:off x="397300" y="5310025"/>
            <a:ext cx="18603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0" u="none" strike="noStrike" kern="0" cap="none" spc="0" normalizeH="0" baseline="0" noProof="0">
                <a:ln>
                  <a:noFill/>
                </a:ln>
                <a:solidFill>
                  <a:srgbClr val="FFFFFF"/>
                </a:solidFill>
                <a:effectLst/>
                <a:uLnTx/>
                <a:uFillTx/>
                <a:latin typeface="Gill Sans"/>
                <a:ea typeface="Gill Sans"/>
                <a:cs typeface="Gill Sans"/>
                <a:sym typeface="Gill Sans"/>
              </a:rPr>
              <a:t>Supply Chain and Health Systems Strengthening</a:t>
            </a:r>
            <a:endParaRPr kumimoji="0" sz="1300" b="0" i="0"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2" name="Google Shape;172;p2"/>
          <p:cNvSpPr txBox="1"/>
          <p:nvPr/>
        </p:nvSpPr>
        <p:spPr>
          <a:xfrm>
            <a:off x="2448100" y="5300800"/>
            <a:ext cx="18603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0" u="none" strike="noStrike" kern="0" cap="none" spc="0" normalizeH="0" baseline="0" noProof="0">
                <a:ln>
                  <a:noFill/>
                </a:ln>
                <a:solidFill>
                  <a:srgbClr val="FFFFFF"/>
                </a:solidFill>
                <a:effectLst/>
                <a:uLnTx/>
                <a:uFillTx/>
                <a:latin typeface="Gill Sans"/>
                <a:ea typeface="Gill Sans"/>
                <a:cs typeface="Gill Sans"/>
                <a:sym typeface="Gill Sans"/>
              </a:rPr>
              <a:t>Social and Behavior Change</a:t>
            </a:r>
            <a:endParaRPr kumimoji="0" sz="1300" b="0" i="0"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3" name="Google Shape;173;p2"/>
          <p:cNvSpPr txBox="1"/>
          <p:nvPr/>
        </p:nvSpPr>
        <p:spPr>
          <a:xfrm>
            <a:off x="4959700" y="5310025"/>
            <a:ext cx="18603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0" u="none" strike="noStrike" kern="0" cap="none" spc="0" normalizeH="0" baseline="0" noProof="0">
                <a:ln>
                  <a:noFill/>
                </a:ln>
                <a:solidFill>
                  <a:srgbClr val="FFFFFF"/>
                </a:solidFill>
                <a:effectLst/>
                <a:uLnTx/>
                <a:uFillTx/>
                <a:latin typeface="Gill Sans"/>
                <a:ea typeface="Gill Sans"/>
                <a:cs typeface="Gill Sans"/>
                <a:sym typeface="Gill Sans"/>
              </a:rPr>
              <a:t>Surveillance, Monitoring and Evaluation</a:t>
            </a:r>
            <a:endParaRPr kumimoji="0" sz="1300" b="0" i="0"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4" name="Google Shape;174;p2"/>
          <p:cNvSpPr txBox="1"/>
          <p:nvPr/>
        </p:nvSpPr>
        <p:spPr>
          <a:xfrm>
            <a:off x="7405000" y="5300800"/>
            <a:ext cx="13056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0" u="none" strike="noStrike" kern="0" cap="none" spc="0" normalizeH="0" baseline="0" noProof="0">
                <a:ln>
                  <a:noFill/>
                </a:ln>
                <a:solidFill>
                  <a:srgbClr val="FFFFFF"/>
                </a:solidFill>
                <a:effectLst/>
                <a:uLnTx/>
                <a:uFillTx/>
                <a:latin typeface="Gill Sans"/>
                <a:ea typeface="Gill Sans"/>
                <a:cs typeface="Gill Sans"/>
                <a:sym typeface="Gill Sans"/>
              </a:rPr>
              <a:t>Operational</a:t>
            </a:r>
            <a:endParaRPr kumimoji="0" sz="1300" b="0" i="0" u="none" strike="noStrike" kern="0" cap="none" spc="0" normalizeH="0" baseline="0" noProof="0">
              <a:ln>
                <a:noFill/>
              </a:ln>
              <a:solidFill>
                <a:srgbClr val="FFFFFF"/>
              </a:solidFill>
              <a:effectLst/>
              <a:uLnTx/>
              <a:uFillTx/>
              <a:latin typeface="Gill Sans"/>
              <a:ea typeface="Gill Sans"/>
              <a:cs typeface="Gill Sans"/>
              <a:sym typeface="Gill Sans"/>
            </a:endParaRPr>
          </a:p>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0" u="none" strike="noStrike" kern="0" cap="none" spc="0" normalizeH="0" baseline="0" noProof="0">
                <a:ln>
                  <a:noFill/>
                </a:ln>
                <a:solidFill>
                  <a:srgbClr val="FFFFFF"/>
                </a:solidFill>
                <a:effectLst/>
                <a:uLnTx/>
                <a:uFillTx/>
                <a:latin typeface="Gill Sans"/>
                <a:ea typeface="Gill Sans"/>
                <a:cs typeface="Gill Sans"/>
                <a:sym typeface="Gill Sans"/>
              </a:rPr>
              <a:t> Research</a:t>
            </a:r>
            <a:endParaRPr kumimoji="0" sz="1300" b="0" i="0"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5" name="Google Shape;175;p2"/>
          <p:cNvSpPr txBox="1"/>
          <p:nvPr/>
        </p:nvSpPr>
        <p:spPr>
          <a:xfrm>
            <a:off x="275400" y="3536600"/>
            <a:ext cx="11856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500M Nets Delivered</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6" name="Google Shape;176;p2"/>
          <p:cNvSpPr txBox="1"/>
          <p:nvPr/>
        </p:nvSpPr>
        <p:spPr>
          <a:xfrm>
            <a:off x="2067300" y="3531988"/>
            <a:ext cx="13056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310M People Protected</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7" name="Google Shape;177;p2"/>
          <p:cNvSpPr txBox="1"/>
          <p:nvPr/>
        </p:nvSpPr>
        <p:spPr>
          <a:xfrm>
            <a:off x="3979200" y="3536613"/>
            <a:ext cx="13056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600M Tests</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715M Treated </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8" name="Google Shape;178;p2"/>
          <p:cNvSpPr txBox="1"/>
          <p:nvPr/>
        </p:nvSpPr>
        <p:spPr>
          <a:xfrm>
            <a:off x="5781825" y="3536613"/>
            <a:ext cx="14604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42M Pregnancies Protected</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79" name="Google Shape;179;p2"/>
          <p:cNvSpPr txBox="1"/>
          <p:nvPr/>
        </p:nvSpPr>
        <p:spPr>
          <a:xfrm>
            <a:off x="7706800" y="3560313"/>
            <a:ext cx="1185600" cy="585000"/>
          </a:xfrm>
          <a:prstGeom prst="rect">
            <a:avLst/>
          </a:prstGeom>
          <a:noFill/>
          <a:ln>
            <a:noFill/>
          </a:ln>
        </p:spPr>
        <p:txBody>
          <a:bodyPr spcFirstLastPara="1" wrap="square" lIns="91425" tIns="91425" rIns="91425" bIns="91425"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23M Children </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a:p>
            <a:pPr marL="0" marR="0" lvl="0" indent="0" algn="ctr" defTabSz="914400" rtl="0" eaLnBrk="1" fontAlgn="auto" latinLnBrk="0" hangingPunct="1">
              <a:lnSpc>
                <a:spcPct val="100000"/>
              </a:lnSpc>
              <a:spcBef>
                <a:spcPts val="0"/>
              </a:spcBef>
              <a:spcAft>
                <a:spcPts val="0"/>
              </a:spcAft>
              <a:buClr>
                <a:srgbClr val="000000"/>
              </a:buClr>
              <a:buSzPts val="1300"/>
              <a:buFontTx/>
              <a:buNone/>
              <a:tabLst/>
              <a:defRPr/>
            </a:pPr>
            <a:r>
              <a:rPr kumimoji="0" lang="en" sz="1300" b="0" i="1" u="none" strike="noStrike" kern="0" cap="none" spc="0" normalizeH="0" baseline="0" noProof="0">
                <a:ln>
                  <a:noFill/>
                </a:ln>
                <a:solidFill>
                  <a:srgbClr val="FFFFFF"/>
                </a:solidFill>
                <a:effectLst/>
                <a:uLnTx/>
                <a:uFillTx/>
                <a:latin typeface="Gill Sans"/>
                <a:ea typeface="Gill Sans"/>
                <a:cs typeface="Gill Sans"/>
                <a:sym typeface="Gill Sans"/>
              </a:rPr>
              <a:t>Protected </a:t>
            </a:r>
            <a:endParaRPr kumimoji="0" sz="1300" b="0" i="1" u="none" strike="noStrike" kern="0" cap="none" spc="0" normalizeH="0" baseline="0" noProof="0">
              <a:ln>
                <a:noFill/>
              </a:ln>
              <a:solidFill>
                <a:srgbClr val="FFFFFF"/>
              </a:solidFill>
              <a:effectLst/>
              <a:uLnTx/>
              <a:uFillTx/>
              <a:latin typeface="Gill Sans"/>
              <a:ea typeface="Gill Sans"/>
              <a:cs typeface="Gill Sans"/>
              <a:sym typeface="Gill Sans"/>
            </a:endParaRPr>
          </a:p>
        </p:txBody>
      </p:sp>
      <p:sp>
        <p:nvSpPr>
          <p:cNvPr id="180" name="Google Shape;180;p2"/>
          <p:cNvSpPr/>
          <p:nvPr/>
        </p:nvSpPr>
        <p:spPr>
          <a:xfrm>
            <a:off x="219150" y="4406675"/>
            <a:ext cx="8705700" cy="302100"/>
          </a:xfrm>
          <a:prstGeom prst="rect">
            <a:avLst/>
          </a:prstGeom>
          <a:solidFill>
            <a:schemeClr val="dk2"/>
          </a:solidFill>
          <a:ln>
            <a:noFill/>
          </a:ln>
        </p:spPr>
        <p:txBody>
          <a:bodyPr spcFirstLastPara="1" wrap="square" lIns="91425" tIns="91425" rIns="91425" bIns="91425"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400"/>
              <a:buFontTx/>
              <a:buNone/>
              <a:tabLst/>
              <a:defRPr/>
            </a:pPr>
            <a:r>
              <a:rPr kumimoji="0" lang="en" sz="1400" b="1" i="0" u="none" strike="noStrike" kern="0" cap="none" spc="0" normalizeH="0" baseline="0" noProof="0">
                <a:ln>
                  <a:noFill/>
                </a:ln>
                <a:solidFill>
                  <a:schemeClr val="accent4"/>
                </a:solidFill>
                <a:effectLst/>
                <a:uLnTx/>
                <a:uFillTx/>
                <a:latin typeface="Gill Sans"/>
                <a:ea typeface="Gill Sans"/>
                <a:cs typeface="Gill Sans"/>
                <a:sym typeface="Gill Sans"/>
              </a:rPr>
              <a:t>2 Million Trainings for Health Workers</a:t>
            </a:r>
            <a:endParaRPr kumimoji="0" sz="1400" b="1" i="0" u="none" strike="noStrike" kern="0" cap="none" spc="0" normalizeH="0" baseline="0" noProof="0">
              <a:ln>
                <a:noFill/>
              </a:ln>
              <a:solidFill>
                <a:schemeClr val="accent4"/>
              </a:solidFill>
              <a:effectLst/>
              <a:uLnTx/>
              <a:uFillTx/>
              <a:latin typeface="Gill Sans"/>
              <a:ea typeface="Gill Sans"/>
              <a:cs typeface="Gill Sans"/>
              <a:sym typeface="Gill Sans"/>
            </a:endParaRPr>
          </a:p>
        </p:txBody>
      </p:sp>
      <p:sp>
        <p:nvSpPr>
          <p:cNvPr id="2" name="&quot;Not Allowed&quot; Symbol 1">
            <a:extLst>
              <a:ext uri="{FF2B5EF4-FFF2-40B4-BE49-F238E27FC236}">
                <a16:creationId xmlns:a16="http://schemas.microsoft.com/office/drawing/2014/main" id="{AB0E6026-4DE9-43D1-B371-0F47AE065B7F}"/>
              </a:ext>
            </a:extLst>
          </p:cNvPr>
          <p:cNvSpPr/>
          <p:nvPr/>
        </p:nvSpPr>
        <p:spPr>
          <a:xfrm>
            <a:off x="1447856" y="1788988"/>
            <a:ext cx="2487100" cy="2475998"/>
          </a:xfrm>
          <a:prstGeom prst="noSmoking">
            <a:avLst/>
          </a:prstGeom>
          <a:solidFill>
            <a:schemeClr val="accent2">
              <a:alpha val="4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F6C"/>
              </a:solidFill>
              <a:effectLst/>
              <a:uLnTx/>
              <a:uFillTx/>
              <a:latin typeface="Arial"/>
              <a:ea typeface="+mn-ea"/>
              <a:cs typeface="+mn-cs"/>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D4CB8-E16C-47F1-985D-3E7F7F918F22}"/>
              </a:ext>
            </a:extLst>
          </p:cNvPr>
          <p:cNvSpPr>
            <a:spLocks noGrp="1"/>
          </p:cNvSpPr>
          <p:nvPr>
            <p:ph type="title"/>
          </p:nvPr>
        </p:nvSpPr>
        <p:spPr/>
        <p:txBody>
          <a:bodyPr/>
          <a:lstStyle/>
          <a:p>
            <a:r>
              <a:rPr lang="en-US" dirty="0"/>
              <a:t>Global immunization division</a:t>
            </a:r>
          </a:p>
        </p:txBody>
      </p:sp>
      <p:sp>
        <p:nvSpPr>
          <p:cNvPr id="9" name="Text Placeholder 8">
            <a:extLst>
              <a:ext uri="{FF2B5EF4-FFF2-40B4-BE49-F238E27FC236}">
                <a16:creationId xmlns:a16="http://schemas.microsoft.com/office/drawing/2014/main" id="{5E9BAC7A-5CEA-4A06-B3B5-E2D5A0CDED74}"/>
              </a:ext>
            </a:extLst>
          </p:cNvPr>
          <p:cNvSpPr>
            <a:spLocks noGrp="1"/>
          </p:cNvSpPr>
          <p:nvPr>
            <p:ph type="body" idx="1"/>
          </p:nvPr>
        </p:nvSpPr>
        <p:spPr/>
        <p:txBody>
          <a:bodyPr/>
          <a:lstStyle/>
          <a:p>
            <a:r>
              <a:rPr lang="en-US" dirty="0"/>
              <a:t>Dr. Omotayo Bolu</a:t>
            </a:r>
          </a:p>
        </p:txBody>
      </p:sp>
      <p:pic>
        <p:nvPicPr>
          <p:cNvPr id="6" name="Picture 2" descr="CDC Global Health - Vaccines and Immunization">
            <a:extLst>
              <a:ext uri="{FF2B5EF4-FFF2-40B4-BE49-F238E27FC236}">
                <a16:creationId xmlns:a16="http://schemas.microsoft.com/office/drawing/2014/main" id="{5D89CE72-4B4A-43AF-8FF4-1F5F32E97C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98564" y="310893"/>
            <a:ext cx="2563015" cy="3346707"/>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3487371"/>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79"/>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34F2F8D-3CD8-4C60-B48A-6D311B3D8B93}"/>
              </a:ext>
            </a:extLst>
          </p:cNvPr>
          <p:cNvGraphicFramePr>
            <a:graphicFrameLocks noChangeAspect="1"/>
          </p:cNvGraphicFramePr>
          <p:nvPr>
            <p:custDataLst>
              <p:tags r:id="rId1"/>
            </p:custDataLst>
          </p:nvPr>
        </p:nvGraphicFramePr>
        <p:xfrm>
          <a:off x="1589" y="85883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C34F2F8D-3CD8-4C60-B48A-6D311B3D8B93}"/>
                          </a:ext>
                        </a:extLst>
                      </p:cNvPr>
                      <p:cNvPicPr/>
                      <p:nvPr/>
                    </p:nvPicPr>
                    <p:blipFill>
                      <a:blip r:embed="rId5"/>
                      <a:stretch>
                        <a:fillRect/>
                      </a:stretch>
                    </p:blipFill>
                    <p:spPr>
                      <a:xfrm>
                        <a:off x="1589" y="858839"/>
                        <a:ext cx="1588" cy="1588"/>
                      </a:xfrm>
                      <a:prstGeom prst="rect">
                        <a:avLst/>
                      </a:prstGeom>
                    </p:spPr>
                  </p:pic>
                </p:oleObj>
              </mc:Fallback>
            </mc:AlternateContent>
          </a:graphicData>
        </a:graphic>
      </p:graphicFrame>
      <p:sp>
        <p:nvSpPr>
          <p:cNvPr id="80" name="Google Shape;80;p15"/>
          <p:cNvSpPr txBox="1">
            <a:spLocks noGrp="1"/>
          </p:cNvSpPr>
          <p:nvPr>
            <p:ph type="title"/>
          </p:nvPr>
        </p:nvSpPr>
        <p:spPr>
          <a:xfrm>
            <a:off x="457200" y="304800"/>
            <a:ext cx="8229600" cy="1143000"/>
          </a:xfrm>
          <a:prstGeom prst="rect">
            <a:avLst/>
          </a:prstGeom>
          <a:noFill/>
          <a:ln>
            <a:solidFill>
              <a:srgbClr val="002060"/>
            </a:solidFill>
          </a:ln>
        </p:spPr>
        <p:txBody>
          <a:bodyPr spcFirstLastPara="1" wrap="square" lIns="91425" tIns="91425" rIns="91425" bIns="91425" anchor="ctr" anchorCtr="0">
            <a:noAutofit/>
          </a:bodyPr>
          <a:lstStyle/>
          <a:p>
            <a:r>
              <a:rPr lang="en-US" sz="3600" b="0" dirty="0"/>
              <a:t>CDC Global Immunization Objectives</a:t>
            </a:r>
            <a:endParaRPr sz="2000" b="0" dirty="0"/>
          </a:p>
        </p:txBody>
      </p:sp>
      <p:sp>
        <p:nvSpPr>
          <p:cNvPr id="2" name="Content Placeholder 1">
            <a:extLst>
              <a:ext uri="{FF2B5EF4-FFF2-40B4-BE49-F238E27FC236}">
                <a16:creationId xmlns:a16="http://schemas.microsoft.com/office/drawing/2014/main" id="{7F685A8D-B33A-4234-99ED-3E87F30ED28B}"/>
              </a:ext>
            </a:extLst>
          </p:cNvPr>
          <p:cNvSpPr>
            <a:spLocks noGrp="1"/>
          </p:cNvSpPr>
          <p:nvPr>
            <p:ph idx="1"/>
          </p:nvPr>
        </p:nvSpPr>
        <p:spPr>
          <a:xfrm>
            <a:off x="304800" y="1676400"/>
            <a:ext cx="8534400" cy="4495800"/>
          </a:xfrm>
        </p:spPr>
        <p:txBody>
          <a:bodyPr/>
          <a:lstStyle/>
          <a:p>
            <a:r>
              <a:rPr lang="en-US" sz="2000" dirty="0"/>
              <a:t>Established in Nigeria in 2012</a:t>
            </a:r>
          </a:p>
          <a:p>
            <a:endParaRPr lang="en-US" sz="2000" dirty="0"/>
          </a:p>
          <a:p>
            <a:r>
              <a:rPr lang="en-US" sz="2000" dirty="0"/>
              <a:t>Objectives: To support the </a:t>
            </a:r>
            <a:r>
              <a:rPr lang="en-US" sz="2000" dirty="0">
                <a:solidFill>
                  <a:schemeClr val="tx1"/>
                </a:solidFill>
              </a:rPr>
              <a:t>polio eradication efforts</a:t>
            </a:r>
            <a:r>
              <a:rPr lang="en-US" sz="2000" dirty="0"/>
              <a:t>, improve routine </a:t>
            </a:r>
            <a:r>
              <a:rPr lang="en-US" sz="2000" dirty="0">
                <a:solidFill>
                  <a:schemeClr val="tx1"/>
                </a:solidFill>
              </a:rPr>
              <a:t>immunization</a:t>
            </a:r>
            <a:r>
              <a:rPr lang="en-US" sz="2000" dirty="0"/>
              <a:t> (RI)  coverage and  respond to </a:t>
            </a:r>
            <a:r>
              <a:rPr lang="en-US" sz="2000" dirty="0">
                <a:solidFill>
                  <a:schemeClr val="tx1"/>
                </a:solidFill>
              </a:rPr>
              <a:t>vaccine preventable diseases </a:t>
            </a:r>
            <a:r>
              <a:rPr lang="en-US" sz="2000" dirty="0"/>
              <a:t>(VPDs) outbreaks including COVID-19 vaccination efforts. </a:t>
            </a:r>
          </a:p>
          <a:p>
            <a:endParaRPr lang="en-US" sz="2000" dirty="0"/>
          </a:p>
          <a:p>
            <a:r>
              <a:rPr lang="en-US" sz="2000" dirty="0"/>
              <a:t>Funding: Over  &gt;$158 million on polio eradication efforts in Nigeria  with additional funds to WHO and UNICEF</a:t>
            </a:r>
            <a:endParaRPr lang="en-US" dirty="0"/>
          </a:p>
        </p:txBody>
      </p:sp>
      <p:sp>
        <p:nvSpPr>
          <p:cNvPr id="17" name="Google Shape;119;p4">
            <a:extLst>
              <a:ext uri="{FF2B5EF4-FFF2-40B4-BE49-F238E27FC236}">
                <a16:creationId xmlns:a16="http://schemas.microsoft.com/office/drawing/2014/main" id="{A4655A5E-2185-4EAB-8CAD-CC8AE5056EE4}"/>
              </a:ext>
            </a:extLst>
          </p:cNvPr>
          <p:cNvSpPr txBox="1">
            <a:spLocks/>
          </p:cNvSpPr>
          <p:nvPr/>
        </p:nvSpPr>
        <p:spPr>
          <a:xfrm>
            <a:off x="8610600" y="8070850"/>
            <a:ext cx="2743200" cy="269225"/>
          </a:xfrm>
          <a:prstGeom prst="rect">
            <a:avLst/>
          </a:prstGeom>
          <a:noFill/>
          <a:ln>
            <a:noFill/>
          </a:ln>
        </p:spPr>
        <p:txBody>
          <a:bodyPr spcFirstLastPara="1" wrap="square" lIns="91425" tIns="45700" rIns="91425" bIns="45700" anchor="ctr" anchorCtr="0">
            <a:noAutofit/>
          </a:bodyPr>
          <a:lstStyle>
            <a:defPPr>
              <a:defRPr lang="en-US"/>
            </a:defPPr>
            <a:lvl1pPr marL="0" marR="0" lvl="0"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1pPr>
            <a:lvl2pPr marL="0" marR="0" lvl="1"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2pPr>
            <a:lvl3pPr marL="0" marR="0" lvl="2"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3pPr>
            <a:lvl4pPr marL="0" marR="0" lvl="3"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4pPr>
            <a:lvl5pPr marL="0" marR="0" lvl="4"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5pPr>
            <a:lvl6pPr marL="0" marR="0" lvl="5"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6pPr>
            <a:lvl7pPr marL="0" marR="0" lvl="6"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7pPr>
            <a:lvl8pPr marL="0" marR="0" lvl="7"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8pPr>
            <a:lvl9pPr marL="0" marR="0" lvl="8" indent="0" algn="r" defTabSz="914400" rtl="0" eaLnBrk="1" latinLnBrk="0" hangingPunct="1">
              <a:spcBef>
                <a:spcPts val="0"/>
              </a:spcBef>
              <a:buNone/>
              <a:defRPr sz="1200" b="0" i="0" u="none" strike="noStrike" kern="1200" cap="none">
                <a:solidFill>
                  <a:srgbClr val="888888"/>
                </a:solidFill>
                <a:latin typeface="Calibri"/>
                <a:ea typeface="Calibri"/>
                <a:cs typeface="Calibri"/>
                <a:sym typeface="Calibri"/>
              </a:defRPr>
            </a:lvl9pPr>
          </a:lstStyle>
          <a:p>
            <a:pPr defTabSz="914378">
              <a:defRPr/>
            </a:pPr>
            <a:fld id="{00000000-1234-1234-1234-123412341234}" type="slidenum">
              <a:rPr lang="en-US" b="1">
                <a:solidFill>
                  <a:srgbClr val="000000"/>
                </a:solidFill>
              </a:rPr>
              <a:pPr defTabSz="914378">
                <a:defRPr/>
              </a:pPr>
              <a:t>25</a:t>
            </a:fld>
            <a:endParaRPr lang="en-US" b="1" dirty="0">
              <a:solidFill>
                <a:srgbClr val="000000"/>
              </a:solidFill>
            </a:endParaRPr>
          </a:p>
        </p:txBody>
      </p:sp>
    </p:spTree>
    <p:extLst>
      <p:ext uri="{BB962C8B-B14F-4D97-AF65-F5344CB8AC3E}">
        <p14:creationId xmlns:p14="http://schemas.microsoft.com/office/powerpoint/2010/main" val="77083560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3731D-70F1-47B9-A595-3AE784522D63}"/>
              </a:ext>
            </a:extLst>
          </p:cNvPr>
          <p:cNvSpPr>
            <a:spLocks noGrp="1"/>
          </p:cNvSpPr>
          <p:nvPr>
            <p:ph type="title"/>
          </p:nvPr>
        </p:nvSpPr>
        <p:spPr>
          <a:xfrm>
            <a:off x="250041" y="319251"/>
            <a:ext cx="8534400" cy="899404"/>
          </a:xfrm>
        </p:spPr>
        <p:txBody>
          <a:bodyPr/>
          <a:lstStyle/>
          <a:p>
            <a:r>
              <a:rPr kumimoji="0" lang="en-US" sz="3600" b="0" i="0" u="none" strike="noStrike" kern="1200" cap="none" spc="0" normalizeH="0" baseline="0" noProof="0" dirty="0">
                <a:ln>
                  <a:noFill/>
                </a:ln>
                <a:solidFill>
                  <a:srgbClr val="FFC000"/>
                </a:solidFill>
                <a:effectLst/>
                <a:uLnTx/>
                <a:uFillTx/>
                <a:latin typeface="Myriad Web Pro"/>
                <a:ea typeface="+mj-ea"/>
                <a:cs typeface="+mj-cs"/>
              </a:rPr>
              <a:t>CDC/GID Partners and Supported States*</a:t>
            </a:r>
            <a:endParaRPr lang="en-US" sz="3600" dirty="0"/>
          </a:p>
        </p:txBody>
      </p:sp>
      <p:sp>
        <p:nvSpPr>
          <p:cNvPr id="3" name="Content Placeholder 2">
            <a:extLst>
              <a:ext uri="{FF2B5EF4-FFF2-40B4-BE49-F238E27FC236}">
                <a16:creationId xmlns:a16="http://schemas.microsoft.com/office/drawing/2014/main" id="{1F81B94D-6242-4C2B-9BBF-42B12E91B395}"/>
              </a:ext>
            </a:extLst>
          </p:cNvPr>
          <p:cNvSpPr>
            <a:spLocks noGrp="1"/>
          </p:cNvSpPr>
          <p:nvPr>
            <p:ph idx="1"/>
          </p:nvPr>
        </p:nvSpPr>
        <p:spPr>
          <a:xfrm>
            <a:off x="4894534" y="1376939"/>
            <a:ext cx="3906840" cy="5071674"/>
          </a:xfrm>
        </p:spPr>
        <p:txBody>
          <a:bodyPr/>
          <a:lstStyle/>
          <a:p>
            <a:pPr marL="114297" indent="0" defTabSz="914378">
              <a:buClr>
                <a:srgbClr val="0F9D58">
                  <a:lumMod val="75000"/>
                </a:srgbClr>
              </a:buClr>
              <a:buSzPct val="100000"/>
              <a:buNone/>
              <a:defRPr/>
            </a:pPr>
            <a:r>
              <a:rPr lang="en-US" sz="2000" b="1" kern="0" dirty="0">
                <a:solidFill>
                  <a:srgbClr val="FFC000"/>
                </a:solidFill>
                <a:ea typeface="Tahoma" panose="020B0604030504040204" pitchFamily="34" charset="0"/>
                <a:cs typeface="Tahoma" panose="020B0604030504040204" pitchFamily="34" charset="0"/>
              </a:rPr>
              <a:t>Funded partners: </a:t>
            </a:r>
          </a:p>
          <a:p>
            <a:pPr marL="457189" indent="-342892" defTabSz="914378">
              <a:buClr>
                <a:srgbClr val="FFC000"/>
              </a:buClr>
              <a:buSzPct val="100000"/>
              <a:buFont typeface="Wingdings" panose="05000000000000000000" pitchFamily="2" charset="2"/>
              <a:buChar char="§"/>
              <a:defRPr/>
            </a:pPr>
            <a:r>
              <a:rPr lang="en-US" sz="1800" b="1" kern="0" dirty="0">
                <a:ea typeface="Tahoma" panose="020B0604030504040204" pitchFamily="34" charset="0"/>
                <a:cs typeface="Tahoma" panose="020B0604030504040204" pitchFamily="34" charset="0"/>
              </a:rPr>
              <a:t>WHO and UNICEF</a:t>
            </a:r>
            <a:endParaRPr lang="en-US" sz="1800" kern="0" dirty="0">
              <a:ea typeface="Tahoma" panose="020B0604030504040204" pitchFamily="34" charset="0"/>
              <a:cs typeface="Tahoma" panose="020B0604030504040204" pitchFamily="34" charset="0"/>
            </a:endParaRPr>
          </a:p>
          <a:p>
            <a:pPr marL="457189" indent="-342892" defTabSz="914378">
              <a:buClr>
                <a:srgbClr val="FFC000"/>
              </a:buClr>
              <a:buSzPct val="100000"/>
              <a:buFont typeface="Wingdings" panose="05000000000000000000" pitchFamily="2" charset="2"/>
              <a:buChar char="§"/>
              <a:defRPr/>
            </a:pPr>
            <a:r>
              <a:rPr lang="en-US" sz="1800" b="1" kern="0" dirty="0">
                <a:solidFill>
                  <a:srgbClr val="FFC000"/>
                </a:solidFill>
                <a:ea typeface="Tahoma" panose="020B0604030504040204" pitchFamily="34" charset="0"/>
                <a:cs typeface="Tahoma" panose="020B0604030504040204" pitchFamily="34" charset="0"/>
              </a:rPr>
              <a:t>AFENET/ NSTOP</a:t>
            </a:r>
            <a:endParaRPr lang="en-US" sz="1800" kern="0" dirty="0">
              <a:solidFill>
                <a:srgbClr val="FFC000"/>
              </a:solidFill>
              <a:ea typeface="Tahoma" panose="020B0604030504040204" pitchFamily="34" charset="0"/>
              <a:cs typeface="Tahoma" panose="020B0604030504040204" pitchFamily="34" charset="0"/>
            </a:endParaRPr>
          </a:p>
          <a:p>
            <a:pPr marL="457189" indent="-342892" defTabSz="914378">
              <a:buClr>
                <a:srgbClr val="FFC000"/>
              </a:buClr>
              <a:buSzPct val="100000"/>
              <a:buFont typeface="Wingdings" panose="05000000000000000000" pitchFamily="2" charset="2"/>
              <a:buChar char="§"/>
              <a:defRPr/>
            </a:pPr>
            <a:r>
              <a:rPr lang="en-US" sz="1800" b="1" kern="0" dirty="0">
                <a:ea typeface="Tahoma" panose="020B0604030504040204" pitchFamily="34" charset="0"/>
                <a:cs typeface="Tahoma" panose="020B0604030504040204" pitchFamily="34" charset="0"/>
              </a:rPr>
              <a:t>International Federation of    Red Cross (IFRC) </a:t>
            </a:r>
          </a:p>
          <a:p>
            <a:pPr marL="457189" indent="-342892" defTabSz="914378">
              <a:buClr>
                <a:srgbClr val="FFC000"/>
              </a:buClr>
              <a:buSzPct val="100000"/>
              <a:buFont typeface="Wingdings" panose="05000000000000000000" pitchFamily="2" charset="2"/>
              <a:buChar char="§"/>
              <a:defRPr/>
            </a:pPr>
            <a:r>
              <a:rPr lang="en-US" sz="1800" b="1" kern="0" dirty="0">
                <a:ea typeface="Tahoma" panose="020B0604030504040204" pitchFamily="34" charset="0"/>
                <a:cs typeface="Tahoma" panose="020B0604030504040204" pitchFamily="34" charset="0"/>
              </a:rPr>
              <a:t>IHVN/ UMB </a:t>
            </a:r>
            <a:endParaRPr lang="en-US" sz="1800" kern="0" dirty="0">
              <a:ea typeface="Tahoma" panose="020B0604030504040204" pitchFamily="34" charset="0"/>
              <a:cs typeface="Tahoma" panose="020B0604030504040204" pitchFamily="34" charset="0"/>
            </a:endParaRPr>
          </a:p>
          <a:p>
            <a:pPr marL="457189" indent="-342892" defTabSz="914378">
              <a:buClr>
                <a:srgbClr val="FFC000"/>
              </a:buClr>
              <a:buSzPct val="100000"/>
              <a:buFont typeface="Wingdings" panose="05000000000000000000" pitchFamily="2" charset="2"/>
              <a:buChar char="§"/>
              <a:defRPr/>
            </a:pPr>
            <a:r>
              <a:rPr lang="en-US" sz="1800" b="1" kern="0" dirty="0">
                <a:ea typeface="Tahoma" panose="020B0604030504040204" pitchFamily="34" charset="0"/>
                <a:cs typeface="Tahoma" panose="020B0604030504040204" pitchFamily="34" charset="0"/>
              </a:rPr>
              <a:t>Sydani</a:t>
            </a:r>
          </a:p>
          <a:p>
            <a:pPr marL="114297" indent="0" defTabSz="914378">
              <a:spcBef>
                <a:spcPts val="500"/>
              </a:spcBef>
              <a:buClr>
                <a:srgbClr val="007E39"/>
              </a:buClr>
              <a:buSzPct val="100000"/>
              <a:buNone/>
              <a:defRPr/>
            </a:pPr>
            <a:endParaRPr lang="en-US" sz="1000" b="1" kern="0" dirty="0">
              <a:solidFill>
                <a:srgbClr val="FFC000"/>
              </a:solidFill>
              <a:ea typeface="Tahoma" panose="020B0604030504040204" pitchFamily="34" charset="0"/>
              <a:cs typeface="Tahoma" panose="020B0604030504040204" pitchFamily="34" charset="0"/>
            </a:endParaRPr>
          </a:p>
          <a:p>
            <a:pPr marL="114297" indent="0" defTabSz="914378">
              <a:spcBef>
                <a:spcPts val="500"/>
              </a:spcBef>
              <a:buClr>
                <a:srgbClr val="007E39"/>
              </a:buClr>
              <a:buSzPct val="100000"/>
              <a:buNone/>
              <a:defRPr/>
            </a:pPr>
            <a:r>
              <a:rPr lang="en-US" sz="2000" b="1" kern="0" dirty="0">
                <a:solidFill>
                  <a:srgbClr val="FFC000"/>
                </a:solidFill>
                <a:ea typeface="Tahoma" panose="020B0604030504040204" pitchFamily="34" charset="0"/>
                <a:cs typeface="Tahoma" panose="020B0604030504040204" pitchFamily="34" charset="0"/>
              </a:rPr>
              <a:t>Government Agencies:</a:t>
            </a:r>
          </a:p>
          <a:p>
            <a:pPr marL="114297" indent="0" defTabSz="914378">
              <a:spcBef>
                <a:spcPts val="500"/>
              </a:spcBef>
              <a:buClr>
                <a:srgbClr val="007E39"/>
              </a:buClr>
              <a:buSzPct val="100000"/>
              <a:buNone/>
              <a:defRPr/>
            </a:pPr>
            <a:r>
              <a:rPr lang="en-US" sz="1800" kern="0" dirty="0">
                <a:solidFill>
                  <a:srgbClr val="FFFFFF"/>
                </a:solidFill>
                <a:ea typeface="Tahoma" panose="020B0604030504040204" pitchFamily="34" charset="0"/>
                <a:cs typeface="Tahoma" panose="020B0604030504040204" pitchFamily="34" charset="0"/>
              </a:rPr>
              <a:t>NCDC, NPHCDA, MoH</a:t>
            </a:r>
          </a:p>
          <a:p>
            <a:pPr marL="114297" indent="0" defTabSz="914378">
              <a:spcBef>
                <a:spcPts val="500"/>
              </a:spcBef>
              <a:buClr>
                <a:srgbClr val="007E39"/>
              </a:buClr>
              <a:buSzPct val="100000"/>
              <a:buNone/>
              <a:defRPr/>
            </a:pPr>
            <a:endParaRPr lang="en-US" sz="2000" b="1" kern="0" dirty="0">
              <a:solidFill>
                <a:srgbClr val="FFC000"/>
              </a:solidFill>
              <a:ea typeface="Tahoma" panose="020B0604030504040204" pitchFamily="34" charset="0"/>
              <a:cs typeface="Tahoma" panose="020B0604030504040204" pitchFamily="34" charset="0"/>
            </a:endParaRPr>
          </a:p>
          <a:p>
            <a:pPr marL="114297" indent="0" defTabSz="914378">
              <a:spcBef>
                <a:spcPts val="500"/>
              </a:spcBef>
              <a:buClr>
                <a:srgbClr val="007E39"/>
              </a:buClr>
              <a:buSzPct val="100000"/>
              <a:buNone/>
              <a:defRPr/>
            </a:pPr>
            <a:r>
              <a:rPr lang="en-US" sz="2000" b="1" kern="0" dirty="0">
                <a:solidFill>
                  <a:srgbClr val="FFC000"/>
                </a:solidFill>
                <a:ea typeface="Tahoma" panose="020B0604030504040204" pitchFamily="34" charset="0"/>
                <a:cs typeface="Tahoma" panose="020B0604030504040204" pitchFamily="34" charset="0"/>
              </a:rPr>
              <a:t>CDC HQ Support:</a:t>
            </a:r>
          </a:p>
          <a:p>
            <a:pPr marL="457189" indent="-342892" defTabSz="914378">
              <a:lnSpc>
                <a:spcPct val="100000"/>
              </a:lnSpc>
              <a:spcBef>
                <a:spcPts val="0"/>
              </a:spcBef>
              <a:buClr>
                <a:srgbClr val="FFC000"/>
              </a:buClr>
              <a:buSzPct val="100000"/>
              <a:buFont typeface="Wingdings" panose="05000000000000000000" pitchFamily="2" charset="2"/>
              <a:buChar char="§"/>
              <a:defRPr/>
            </a:pPr>
            <a:r>
              <a:rPr lang="en-US" sz="1800" b="1" kern="0" dirty="0">
                <a:solidFill>
                  <a:srgbClr val="FFFFFF"/>
                </a:solidFill>
                <a:ea typeface="Tahoma" panose="020B0604030504040204" pitchFamily="34" charset="0"/>
                <a:cs typeface="Tahoma" panose="020B0604030504040204" pitchFamily="34" charset="0"/>
              </a:rPr>
              <a:t>Lab sequencing: all polio </a:t>
            </a:r>
            <a:r>
              <a:rPr lang="en-US" sz="1800" kern="0" dirty="0">
                <a:solidFill>
                  <a:srgbClr val="FFFFFF"/>
                </a:solidFill>
                <a:ea typeface="Tahoma" panose="020B0604030504040204" pitchFamily="34" charset="0"/>
                <a:cs typeface="Tahoma" panose="020B0604030504040204" pitchFamily="34" charset="0"/>
              </a:rPr>
              <a:t>samples</a:t>
            </a:r>
          </a:p>
          <a:p>
            <a:pPr marL="457189" indent="-342892" defTabSz="914378">
              <a:lnSpc>
                <a:spcPct val="100000"/>
              </a:lnSpc>
              <a:spcBef>
                <a:spcPts val="0"/>
              </a:spcBef>
              <a:buClr>
                <a:srgbClr val="FFC000"/>
              </a:buClr>
              <a:buSzPct val="100000"/>
              <a:buFont typeface="Wingdings" panose="05000000000000000000" pitchFamily="2" charset="2"/>
              <a:buChar char="§"/>
              <a:defRPr/>
            </a:pPr>
            <a:r>
              <a:rPr lang="en-US" sz="1800" kern="0" dirty="0">
                <a:solidFill>
                  <a:srgbClr val="FFFFFF"/>
                </a:solidFill>
                <a:ea typeface="Tahoma" panose="020B0604030504040204" pitchFamily="34" charset="0"/>
                <a:cs typeface="Tahoma" panose="020B0604030504040204" pitchFamily="34" charset="0"/>
              </a:rPr>
              <a:t>Satellite imagery activities</a:t>
            </a:r>
          </a:p>
          <a:p>
            <a:pPr marL="114297" indent="0" defTabSz="914378">
              <a:buClr>
                <a:srgbClr val="000000"/>
              </a:buClr>
              <a:buNone/>
              <a:defRPr/>
            </a:pPr>
            <a:endParaRPr lang="en-US" kern="0" dirty="0">
              <a:solidFill>
                <a:srgbClr val="000000"/>
              </a:solidFill>
              <a:ea typeface="Tahoma" panose="020B0604030504040204" pitchFamily="34" charset="0"/>
              <a:cs typeface="Tahoma" panose="020B0604030504040204" pitchFamily="34" charset="0"/>
            </a:endParaRPr>
          </a:p>
          <a:p>
            <a:pPr marL="114297" indent="0" defTabSz="914378">
              <a:buClr>
                <a:srgbClr val="000000"/>
              </a:buClr>
              <a:buNone/>
              <a:defRPr/>
            </a:pPr>
            <a:endParaRPr lang="en-US" kern="0" dirty="0">
              <a:solidFill>
                <a:srgbClr val="000000"/>
              </a:solidFill>
              <a:ea typeface="Tahoma" panose="020B0604030504040204" pitchFamily="34" charset="0"/>
              <a:cs typeface="Tahoma" panose="020B0604030504040204" pitchFamily="34" charset="0"/>
            </a:endParaRPr>
          </a:p>
          <a:p>
            <a:endParaRPr lang="en-US" sz="4000" dirty="0"/>
          </a:p>
        </p:txBody>
      </p:sp>
      <p:sp>
        <p:nvSpPr>
          <p:cNvPr id="84" name="Rectangle 83">
            <a:extLst>
              <a:ext uri="{FF2B5EF4-FFF2-40B4-BE49-F238E27FC236}">
                <a16:creationId xmlns:a16="http://schemas.microsoft.com/office/drawing/2014/main" id="{6B4729A4-48AA-49BD-8BC1-ABB4B4C44AF9}"/>
              </a:ext>
            </a:extLst>
          </p:cNvPr>
          <p:cNvSpPr/>
          <p:nvPr/>
        </p:nvSpPr>
        <p:spPr>
          <a:xfrm>
            <a:off x="368522" y="5474734"/>
            <a:ext cx="136646" cy="128444"/>
          </a:xfrm>
          <a:prstGeom prst="rect">
            <a:avLst/>
          </a:prstGeom>
          <a:blipFill>
            <a:blip r:embed="rId77"/>
            <a:tile tx="0" ty="0" sx="100000" sy="100000" flip="none" algn="tl"/>
          </a:blipFill>
          <a:ln w="25400" cap="flat" cmpd="sng" algn="ctr">
            <a:solidFill>
              <a:schemeClr val="bg2"/>
            </a:solid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
                <a:srgbClr val="000000"/>
              </a:buClr>
              <a:buSzTx/>
              <a:buFontTx/>
              <a:buNone/>
              <a:tabLst/>
              <a:defRPr/>
            </a:pPr>
            <a:endParaRPr kumimoji="0" lang="en-US" sz="900" b="0" i="0" u="none" strike="noStrike" kern="0" cap="none" spc="0" normalizeH="0" baseline="0" noProof="0">
              <a:ln>
                <a:noFill/>
              </a:ln>
              <a:solidFill>
                <a:schemeClr val="bg2"/>
              </a:solidFill>
              <a:effectLst/>
              <a:uLnTx/>
              <a:uFillTx/>
              <a:latin typeface="Georgia" panose="02040502050405020303" pitchFamily="18" charset="0"/>
              <a:ea typeface="+mn-ea"/>
              <a:cs typeface="+mn-cs"/>
              <a:sym typeface="Arial"/>
            </a:endParaRPr>
          </a:p>
        </p:txBody>
      </p:sp>
      <p:sp>
        <p:nvSpPr>
          <p:cNvPr id="85" name="Rectangle 84">
            <a:extLst>
              <a:ext uri="{FF2B5EF4-FFF2-40B4-BE49-F238E27FC236}">
                <a16:creationId xmlns:a16="http://schemas.microsoft.com/office/drawing/2014/main" id="{EB7540FA-F2DE-408F-A9A6-D78B6C527D0F}"/>
              </a:ext>
            </a:extLst>
          </p:cNvPr>
          <p:cNvSpPr/>
          <p:nvPr/>
        </p:nvSpPr>
        <p:spPr>
          <a:xfrm>
            <a:off x="376115" y="5734527"/>
            <a:ext cx="136646" cy="128444"/>
          </a:xfrm>
          <a:prstGeom prst="rect">
            <a:avLst/>
          </a:prstGeom>
          <a:solidFill>
            <a:srgbClr val="FFC000"/>
          </a:solidFill>
          <a:ln w="25400" cap="flat" cmpd="sng" algn="ctr">
            <a:solidFill>
              <a:schemeClr val="bg2"/>
            </a:solidFill>
            <a:prstDash val="solid"/>
          </a:ln>
          <a:effectLst/>
        </p:spPr>
        <p:txBody>
          <a:bodyPr rtlCol="0" anchor="ctr"/>
          <a:lstStyle/>
          <a:p>
            <a:pPr marL="0" marR="0" lvl="0" indent="0" algn="ctr" defTabSz="914378" eaLnBrk="1" fontAlgn="auto" latinLnBrk="0" hangingPunct="1">
              <a:lnSpc>
                <a:spcPct val="100000"/>
              </a:lnSpc>
              <a:spcBef>
                <a:spcPts val="0"/>
              </a:spcBef>
              <a:spcAft>
                <a:spcPts val="0"/>
              </a:spcAft>
              <a:buClr>
                <a:srgbClr val="000000"/>
              </a:buClr>
              <a:buSzTx/>
              <a:buFontTx/>
              <a:buNone/>
              <a:tabLst/>
              <a:defRPr/>
            </a:pPr>
            <a:endParaRPr kumimoji="0" lang="en-US" sz="1400" b="0" i="0" u="none" strike="noStrike" kern="0" cap="none" spc="0" normalizeH="0" baseline="0" noProof="0">
              <a:ln>
                <a:noFill/>
              </a:ln>
              <a:solidFill>
                <a:schemeClr val="bg2"/>
              </a:solidFill>
              <a:effectLst/>
              <a:uLnTx/>
              <a:uFillTx/>
              <a:latin typeface="Arial"/>
              <a:ea typeface="+mn-ea"/>
              <a:cs typeface="+mn-cs"/>
              <a:sym typeface="Arial"/>
            </a:endParaRPr>
          </a:p>
        </p:txBody>
      </p:sp>
      <p:sp>
        <p:nvSpPr>
          <p:cNvPr id="86" name="TextBox 85">
            <a:extLst>
              <a:ext uri="{FF2B5EF4-FFF2-40B4-BE49-F238E27FC236}">
                <a16:creationId xmlns:a16="http://schemas.microsoft.com/office/drawing/2014/main" id="{78ED61CA-229C-4C4D-BA08-F09DD6B6B4B3}"/>
              </a:ext>
            </a:extLst>
          </p:cNvPr>
          <p:cNvSpPr txBox="1"/>
          <p:nvPr/>
        </p:nvSpPr>
        <p:spPr>
          <a:xfrm>
            <a:off x="512762" y="5425760"/>
            <a:ext cx="2587568" cy="261610"/>
          </a:xfrm>
          <a:prstGeom prst="rect">
            <a:avLst/>
          </a:prstGeom>
          <a:noFill/>
        </p:spPr>
        <p:txBody>
          <a:bodyPr wrap="none" rtlCol="0">
            <a:spAutoFit/>
          </a:bodyPr>
          <a:lstStyle/>
          <a:p>
            <a:pPr defTabSz="914378">
              <a:buClr>
                <a:srgbClr val="000000"/>
              </a:buClr>
            </a:pPr>
            <a:r>
              <a:rPr lang="en-US" sz="1100" kern="0" dirty="0">
                <a:solidFill>
                  <a:schemeClr val="bg2"/>
                </a:solidFill>
                <a:latin typeface="Georgia" panose="02040502050405020303" pitchFamily="18" charset="0"/>
                <a:cs typeface="Arial"/>
                <a:sym typeface="Arial"/>
              </a:rPr>
              <a:t> CDC Funded AFENET/NSTOP States </a:t>
            </a:r>
          </a:p>
        </p:txBody>
      </p:sp>
      <p:sp>
        <p:nvSpPr>
          <p:cNvPr id="87" name="TextBox 86">
            <a:extLst>
              <a:ext uri="{FF2B5EF4-FFF2-40B4-BE49-F238E27FC236}">
                <a16:creationId xmlns:a16="http://schemas.microsoft.com/office/drawing/2014/main" id="{E951F1FF-7E4F-46F6-93B5-378ADBCE1DCB}"/>
              </a:ext>
            </a:extLst>
          </p:cNvPr>
          <p:cNvSpPr txBox="1"/>
          <p:nvPr/>
        </p:nvSpPr>
        <p:spPr>
          <a:xfrm>
            <a:off x="512761" y="5673991"/>
            <a:ext cx="3906839" cy="261610"/>
          </a:xfrm>
          <a:prstGeom prst="rect">
            <a:avLst/>
          </a:prstGeom>
          <a:noFill/>
        </p:spPr>
        <p:txBody>
          <a:bodyPr wrap="none" rtlCol="0">
            <a:spAutoFit/>
          </a:bodyPr>
          <a:lstStyle/>
          <a:p>
            <a:pPr defTabSz="914378">
              <a:buClr>
                <a:srgbClr val="000000"/>
              </a:buClr>
            </a:pPr>
            <a:r>
              <a:rPr lang="en-US" sz="1100" kern="0" dirty="0">
                <a:solidFill>
                  <a:schemeClr val="bg2"/>
                </a:solidFill>
                <a:latin typeface="Georgia" panose="02040502050405020303" pitchFamily="18" charset="0"/>
                <a:cs typeface="Arial"/>
                <a:sym typeface="Arial"/>
              </a:rPr>
              <a:t>AFENET/NSTOP and IFRC ( IFRC closed out in July, 2021)</a:t>
            </a:r>
          </a:p>
        </p:txBody>
      </p:sp>
      <p:grpSp>
        <p:nvGrpSpPr>
          <p:cNvPr id="88" name="Group 87">
            <a:extLst>
              <a:ext uri="{FF2B5EF4-FFF2-40B4-BE49-F238E27FC236}">
                <a16:creationId xmlns:a16="http://schemas.microsoft.com/office/drawing/2014/main" id="{B26F464F-6AC9-44AA-A366-EDE9C338F217}"/>
              </a:ext>
            </a:extLst>
          </p:cNvPr>
          <p:cNvGrpSpPr/>
          <p:nvPr/>
        </p:nvGrpSpPr>
        <p:grpSpPr>
          <a:xfrm>
            <a:off x="466597" y="1352268"/>
            <a:ext cx="4432078" cy="3804143"/>
            <a:chOff x="139752" y="807325"/>
            <a:chExt cx="3962231" cy="3678811"/>
          </a:xfrm>
        </p:grpSpPr>
        <p:sp>
          <p:nvSpPr>
            <p:cNvPr id="89" name="Freeform 4">
              <a:extLst>
                <a:ext uri="{FF2B5EF4-FFF2-40B4-BE49-F238E27FC236}">
                  <a16:creationId xmlns:a16="http://schemas.microsoft.com/office/drawing/2014/main" id="{17FF5607-21BB-4112-9AA7-B66593337E7F}"/>
                </a:ext>
              </a:extLst>
            </p:cNvPr>
            <p:cNvSpPr>
              <a:spLocks/>
            </p:cNvSpPr>
            <p:nvPr>
              <p:custDataLst>
                <p:tags r:id="rId1"/>
              </p:custDataLst>
            </p:nvPr>
          </p:nvSpPr>
          <p:spPr bwMode="auto">
            <a:xfrm>
              <a:off x="1620286" y="3810376"/>
              <a:ext cx="258775" cy="458922"/>
            </a:xfrm>
            <a:custGeom>
              <a:avLst/>
              <a:gdLst/>
              <a:ahLst/>
              <a:cxnLst>
                <a:cxn ang="0">
                  <a:pos x="192" y="78"/>
                </a:cxn>
                <a:cxn ang="0">
                  <a:pos x="215" y="78"/>
                </a:cxn>
                <a:cxn ang="0">
                  <a:pos x="233" y="115"/>
                </a:cxn>
                <a:cxn ang="0">
                  <a:pos x="270" y="137"/>
                </a:cxn>
                <a:cxn ang="0">
                  <a:pos x="279" y="188"/>
                </a:cxn>
                <a:cxn ang="0">
                  <a:pos x="288" y="229"/>
                </a:cxn>
                <a:cxn ang="0">
                  <a:pos x="274" y="247"/>
                </a:cxn>
                <a:cxn ang="0">
                  <a:pos x="247" y="238"/>
                </a:cxn>
                <a:cxn ang="0">
                  <a:pos x="219" y="197"/>
                </a:cxn>
                <a:cxn ang="0">
                  <a:pos x="201" y="215"/>
                </a:cxn>
                <a:cxn ang="0">
                  <a:pos x="169" y="233"/>
                </a:cxn>
                <a:cxn ang="0">
                  <a:pos x="178" y="265"/>
                </a:cxn>
                <a:cxn ang="0">
                  <a:pos x="137" y="275"/>
                </a:cxn>
                <a:cxn ang="0">
                  <a:pos x="146" y="293"/>
                </a:cxn>
                <a:cxn ang="0">
                  <a:pos x="133" y="311"/>
                </a:cxn>
                <a:cxn ang="0">
                  <a:pos x="137" y="343"/>
                </a:cxn>
                <a:cxn ang="0">
                  <a:pos x="123" y="380"/>
                </a:cxn>
                <a:cxn ang="0">
                  <a:pos x="105" y="393"/>
                </a:cxn>
                <a:cxn ang="0">
                  <a:pos x="133" y="398"/>
                </a:cxn>
                <a:cxn ang="0">
                  <a:pos x="114" y="416"/>
                </a:cxn>
                <a:cxn ang="0">
                  <a:pos x="123" y="435"/>
                </a:cxn>
                <a:cxn ang="0">
                  <a:pos x="114" y="453"/>
                </a:cxn>
                <a:cxn ang="0">
                  <a:pos x="82" y="448"/>
                </a:cxn>
                <a:cxn ang="0">
                  <a:pos x="46" y="448"/>
                </a:cxn>
                <a:cxn ang="0">
                  <a:pos x="18" y="448"/>
                </a:cxn>
                <a:cxn ang="0">
                  <a:pos x="0" y="435"/>
                </a:cxn>
                <a:cxn ang="0">
                  <a:pos x="9" y="412"/>
                </a:cxn>
                <a:cxn ang="0">
                  <a:pos x="27" y="403"/>
                </a:cxn>
                <a:cxn ang="0">
                  <a:pos x="37" y="384"/>
                </a:cxn>
                <a:cxn ang="0">
                  <a:pos x="41" y="366"/>
                </a:cxn>
                <a:cxn ang="0">
                  <a:pos x="37" y="325"/>
                </a:cxn>
                <a:cxn ang="0">
                  <a:pos x="41" y="297"/>
                </a:cxn>
                <a:cxn ang="0">
                  <a:pos x="55" y="275"/>
                </a:cxn>
                <a:cxn ang="0">
                  <a:pos x="59" y="252"/>
                </a:cxn>
                <a:cxn ang="0">
                  <a:pos x="78" y="229"/>
                </a:cxn>
                <a:cxn ang="0">
                  <a:pos x="87" y="206"/>
                </a:cxn>
                <a:cxn ang="0">
                  <a:pos x="101" y="183"/>
                </a:cxn>
                <a:cxn ang="0">
                  <a:pos x="105" y="165"/>
                </a:cxn>
                <a:cxn ang="0">
                  <a:pos x="96" y="142"/>
                </a:cxn>
                <a:cxn ang="0">
                  <a:pos x="96" y="133"/>
                </a:cxn>
                <a:cxn ang="0">
                  <a:pos x="101" y="115"/>
                </a:cxn>
                <a:cxn ang="0">
                  <a:pos x="101" y="73"/>
                </a:cxn>
                <a:cxn ang="0">
                  <a:pos x="91" y="60"/>
                </a:cxn>
                <a:cxn ang="0">
                  <a:pos x="69" y="51"/>
                </a:cxn>
                <a:cxn ang="0">
                  <a:pos x="46" y="37"/>
                </a:cxn>
                <a:cxn ang="0">
                  <a:pos x="50" y="9"/>
                </a:cxn>
                <a:cxn ang="0">
                  <a:pos x="82" y="5"/>
                </a:cxn>
                <a:cxn ang="0">
                  <a:pos x="91" y="5"/>
                </a:cxn>
                <a:cxn ang="0">
                  <a:pos x="110" y="9"/>
                </a:cxn>
                <a:cxn ang="0">
                  <a:pos x="137" y="9"/>
                </a:cxn>
                <a:cxn ang="0">
                  <a:pos x="133" y="28"/>
                </a:cxn>
                <a:cxn ang="0">
                  <a:pos x="123" y="55"/>
                </a:cxn>
                <a:cxn ang="0">
                  <a:pos x="137" y="73"/>
                </a:cxn>
                <a:cxn ang="0">
                  <a:pos x="169" y="73"/>
                </a:cxn>
              </a:cxnLst>
              <a:rect l="0" t="0" r="r" b="b"/>
              <a:pathLst>
                <a:path w="297" h="453">
                  <a:moveTo>
                    <a:pt x="178" y="73"/>
                  </a:moveTo>
                  <a:lnTo>
                    <a:pt x="183" y="73"/>
                  </a:lnTo>
                  <a:lnTo>
                    <a:pt x="183" y="78"/>
                  </a:lnTo>
                  <a:lnTo>
                    <a:pt x="187" y="78"/>
                  </a:lnTo>
                  <a:lnTo>
                    <a:pt x="192" y="78"/>
                  </a:lnTo>
                  <a:lnTo>
                    <a:pt x="192" y="78"/>
                  </a:lnTo>
                  <a:lnTo>
                    <a:pt x="197" y="78"/>
                  </a:lnTo>
                  <a:lnTo>
                    <a:pt x="201" y="78"/>
                  </a:lnTo>
                  <a:lnTo>
                    <a:pt x="206" y="78"/>
                  </a:lnTo>
                  <a:lnTo>
                    <a:pt x="215" y="78"/>
                  </a:lnTo>
                  <a:lnTo>
                    <a:pt x="219" y="83"/>
                  </a:lnTo>
                  <a:lnTo>
                    <a:pt x="224" y="92"/>
                  </a:lnTo>
                  <a:lnTo>
                    <a:pt x="224" y="96"/>
                  </a:lnTo>
                  <a:lnTo>
                    <a:pt x="224" y="105"/>
                  </a:lnTo>
                  <a:lnTo>
                    <a:pt x="233" y="115"/>
                  </a:lnTo>
                  <a:lnTo>
                    <a:pt x="242" y="124"/>
                  </a:lnTo>
                  <a:lnTo>
                    <a:pt x="251" y="128"/>
                  </a:lnTo>
                  <a:lnTo>
                    <a:pt x="261" y="128"/>
                  </a:lnTo>
                  <a:lnTo>
                    <a:pt x="270" y="133"/>
                  </a:lnTo>
                  <a:lnTo>
                    <a:pt x="270" y="137"/>
                  </a:lnTo>
                  <a:lnTo>
                    <a:pt x="270" y="147"/>
                  </a:lnTo>
                  <a:lnTo>
                    <a:pt x="274" y="165"/>
                  </a:lnTo>
                  <a:lnTo>
                    <a:pt x="279" y="179"/>
                  </a:lnTo>
                  <a:lnTo>
                    <a:pt x="279" y="183"/>
                  </a:lnTo>
                  <a:lnTo>
                    <a:pt x="279" y="188"/>
                  </a:lnTo>
                  <a:lnTo>
                    <a:pt x="279" y="192"/>
                  </a:lnTo>
                  <a:lnTo>
                    <a:pt x="279" y="197"/>
                  </a:lnTo>
                  <a:lnTo>
                    <a:pt x="279" y="206"/>
                  </a:lnTo>
                  <a:lnTo>
                    <a:pt x="288" y="220"/>
                  </a:lnTo>
                  <a:lnTo>
                    <a:pt x="288" y="229"/>
                  </a:lnTo>
                  <a:lnTo>
                    <a:pt x="293" y="233"/>
                  </a:lnTo>
                  <a:lnTo>
                    <a:pt x="297" y="243"/>
                  </a:lnTo>
                  <a:lnTo>
                    <a:pt x="288" y="252"/>
                  </a:lnTo>
                  <a:lnTo>
                    <a:pt x="279" y="252"/>
                  </a:lnTo>
                  <a:lnTo>
                    <a:pt x="274" y="247"/>
                  </a:lnTo>
                  <a:lnTo>
                    <a:pt x="270" y="243"/>
                  </a:lnTo>
                  <a:lnTo>
                    <a:pt x="265" y="247"/>
                  </a:lnTo>
                  <a:lnTo>
                    <a:pt x="256" y="252"/>
                  </a:lnTo>
                  <a:lnTo>
                    <a:pt x="251" y="247"/>
                  </a:lnTo>
                  <a:lnTo>
                    <a:pt x="247" y="238"/>
                  </a:lnTo>
                  <a:lnTo>
                    <a:pt x="233" y="229"/>
                  </a:lnTo>
                  <a:lnTo>
                    <a:pt x="233" y="220"/>
                  </a:lnTo>
                  <a:lnTo>
                    <a:pt x="229" y="211"/>
                  </a:lnTo>
                  <a:lnTo>
                    <a:pt x="224" y="201"/>
                  </a:lnTo>
                  <a:lnTo>
                    <a:pt x="219" y="197"/>
                  </a:lnTo>
                  <a:lnTo>
                    <a:pt x="215" y="192"/>
                  </a:lnTo>
                  <a:lnTo>
                    <a:pt x="206" y="192"/>
                  </a:lnTo>
                  <a:lnTo>
                    <a:pt x="201" y="201"/>
                  </a:lnTo>
                  <a:lnTo>
                    <a:pt x="201" y="206"/>
                  </a:lnTo>
                  <a:lnTo>
                    <a:pt x="201" y="215"/>
                  </a:lnTo>
                  <a:lnTo>
                    <a:pt x="192" y="220"/>
                  </a:lnTo>
                  <a:lnTo>
                    <a:pt x="187" y="229"/>
                  </a:lnTo>
                  <a:lnTo>
                    <a:pt x="178" y="229"/>
                  </a:lnTo>
                  <a:lnTo>
                    <a:pt x="174" y="229"/>
                  </a:lnTo>
                  <a:lnTo>
                    <a:pt x="169" y="233"/>
                  </a:lnTo>
                  <a:lnTo>
                    <a:pt x="165" y="243"/>
                  </a:lnTo>
                  <a:lnTo>
                    <a:pt x="165" y="252"/>
                  </a:lnTo>
                  <a:lnTo>
                    <a:pt x="174" y="252"/>
                  </a:lnTo>
                  <a:lnTo>
                    <a:pt x="178" y="261"/>
                  </a:lnTo>
                  <a:lnTo>
                    <a:pt x="178" y="265"/>
                  </a:lnTo>
                  <a:lnTo>
                    <a:pt x="174" y="270"/>
                  </a:lnTo>
                  <a:lnTo>
                    <a:pt x="165" y="270"/>
                  </a:lnTo>
                  <a:lnTo>
                    <a:pt x="146" y="275"/>
                  </a:lnTo>
                  <a:lnTo>
                    <a:pt x="137" y="275"/>
                  </a:lnTo>
                  <a:lnTo>
                    <a:pt x="137" y="275"/>
                  </a:lnTo>
                  <a:lnTo>
                    <a:pt x="133" y="275"/>
                  </a:lnTo>
                  <a:lnTo>
                    <a:pt x="133" y="279"/>
                  </a:lnTo>
                  <a:lnTo>
                    <a:pt x="137" y="284"/>
                  </a:lnTo>
                  <a:lnTo>
                    <a:pt x="142" y="288"/>
                  </a:lnTo>
                  <a:lnTo>
                    <a:pt x="146" y="293"/>
                  </a:lnTo>
                  <a:lnTo>
                    <a:pt x="146" y="293"/>
                  </a:lnTo>
                  <a:lnTo>
                    <a:pt x="142" y="293"/>
                  </a:lnTo>
                  <a:lnTo>
                    <a:pt x="137" y="293"/>
                  </a:lnTo>
                  <a:lnTo>
                    <a:pt x="133" y="307"/>
                  </a:lnTo>
                  <a:lnTo>
                    <a:pt x="133" y="311"/>
                  </a:lnTo>
                  <a:lnTo>
                    <a:pt x="133" y="320"/>
                  </a:lnTo>
                  <a:lnTo>
                    <a:pt x="133" y="329"/>
                  </a:lnTo>
                  <a:lnTo>
                    <a:pt x="133" y="334"/>
                  </a:lnTo>
                  <a:lnTo>
                    <a:pt x="133" y="339"/>
                  </a:lnTo>
                  <a:lnTo>
                    <a:pt x="137" y="343"/>
                  </a:lnTo>
                  <a:lnTo>
                    <a:pt x="133" y="357"/>
                  </a:lnTo>
                  <a:lnTo>
                    <a:pt x="128" y="366"/>
                  </a:lnTo>
                  <a:lnTo>
                    <a:pt x="128" y="371"/>
                  </a:lnTo>
                  <a:lnTo>
                    <a:pt x="123" y="375"/>
                  </a:lnTo>
                  <a:lnTo>
                    <a:pt x="123" y="380"/>
                  </a:lnTo>
                  <a:lnTo>
                    <a:pt x="119" y="384"/>
                  </a:lnTo>
                  <a:lnTo>
                    <a:pt x="114" y="384"/>
                  </a:lnTo>
                  <a:lnTo>
                    <a:pt x="110" y="389"/>
                  </a:lnTo>
                  <a:lnTo>
                    <a:pt x="110" y="393"/>
                  </a:lnTo>
                  <a:lnTo>
                    <a:pt x="105" y="393"/>
                  </a:lnTo>
                  <a:lnTo>
                    <a:pt x="110" y="398"/>
                  </a:lnTo>
                  <a:lnTo>
                    <a:pt x="114" y="398"/>
                  </a:lnTo>
                  <a:lnTo>
                    <a:pt x="123" y="398"/>
                  </a:lnTo>
                  <a:lnTo>
                    <a:pt x="128" y="393"/>
                  </a:lnTo>
                  <a:lnTo>
                    <a:pt x="133" y="398"/>
                  </a:lnTo>
                  <a:lnTo>
                    <a:pt x="128" y="403"/>
                  </a:lnTo>
                  <a:lnTo>
                    <a:pt x="123" y="403"/>
                  </a:lnTo>
                  <a:lnTo>
                    <a:pt x="123" y="412"/>
                  </a:lnTo>
                  <a:lnTo>
                    <a:pt x="119" y="416"/>
                  </a:lnTo>
                  <a:lnTo>
                    <a:pt x="114" y="416"/>
                  </a:lnTo>
                  <a:lnTo>
                    <a:pt x="114" y="421"/>
                  </a:lnTo>
                  <a:lnTo>
                    <a:pt x="110" y="421"/>
                  </a:lnTo>
                  <a:lnTo>
                    <a:pt x="119" y="425"/>
                  </a:lnTo>
                  <a:lnTo>
                    <a:pt x="123" y="430"/>
                  </a:lnTo>
                  <a:lnTo>
                    <a:pt x="123" y="435"/>
                  </a:lnTo>
                  <a:lnTo>
                    <a:pt x="123" y="439"/>
                  </a:lnTo>
                  <a:lnTo>
                    <a:pt x="123" y="444"/>
                  </a:lnTo>
                  <a:lnTo>
                    <a:pt x="123" y="448"/>
                  </a:lnTo>
                  <a:lnTo>
                    <a:pt x="119" y="448"/>
                  </a:lnTo>
                  <a:lnTo>
                    <a:pt x="114" y="453"/>
                  </a:lnTo>
                  <a:lnTo>
                    <a:pt x="105" y="448"/>
                  </a:lnTo>
                  <a:lnTo>
                    <a:pt x="105" y="453"/>
                  </a:lnTo>
                  <a:lnTo>
                    <a:pt x="96" y="448"/>
                  </a:lnTo>
                  <a:lnTo>
                    <a:pt x="87" y="448"/>
                  </a:lnTo>
                  <a:lnTo>
                    <a:pt x="82" y="448"/>
                  </a:lnTo>
                  <a:lnTo>
                    <a:pt x="78" y="448"/>
                  </a:lnTo>
                  <a:lnTo>
                    <a:pt x="69" y="448"/>
                  </a:lnTo>
                  <a:lnTo>
                    <a:pt x="59" y="448"/>
                  </a:lnTo>
                  <a:lnTo>
                    <a:pt x="55" y="448"/>
                  </a:lnTo>
                  <a:lnTo>
                    <a:pt x="46" y="448"/>
                  </a:lnTo>
                  <a:lnTo>
                    <a:pt x="41" y="448"/>
                  </a:lnTo>
                  <a:lnTo>
                    <a:pt x="37" y="453"/>
                  </a:lnTo>
                  <a:lnTo>
                    <a:pt x="27" y="453"/>
                  </a:lnTo>
                  <a:lnTo>
                    <a:pt x="23" y="453"/>
                  </a:lnTo>
                  <a:lnTo>
                    <a:pt x="18" y="448"/>
                  </a:lnTo>
                  <a:lnTo>
                    <a:pt x="14" y="448"/>
                  </a:lnTo>
                  <a:lnTo>
                    <a:pt x="9" y="444"/>
                  </a:lnTo>
                  <a:lnTo>
                    <a:pt x="5" y="444"/>
                  </a:lnTo>
                  <a:lnTo>
                    <a:pt x="5" y="439"/>
                  </a:lnTo>
                  <a:lnTo>
                    <a:pt x="0" y="435"/>
                  </a:lnTo>
                  <a:lnTo>
                    <a:pt x="0" y="430"/>
                  </a:lnTo>
                  <a:lnTo>
                    <a:pt x="5" y="425"/>
                  </a:lnTo>
                  <a:lnTo>
                    <a:pt x="5" y="421"/>
                  </a:lnTo>
                  <a:lnTo>
                    <a:pt x="9" y="416"/>
                  </a:lnTo>
                  <a:lnTo>
                    <a:pt x="9" y="412"/>
                  </a:lnTo>
                  <a:lnTo>
                    <a:pt x="9" y="407"/>
                  </a:lnTo>
                  <a:lnTo>
                    <a:pt x="14" y="403"/>
                  </a:lnTo>
                  <a:lnTo>
                    <a:pt x="18" y="403"/>
                  </a:lnTo>
                  <a:lnTo>
                    <a:pt x="18" y="403"/>
                  </a:lnTo>
                  <a:lnTo>
                    <a:pt x="27" y="403"/>
                  </a:lnTo>
                  <a:lnTo>
                    <a:pt x="32" y="398"/>
                  </a:lnTo>
                  <a:lnTo>
                    <a:pt x="37" y="398"/>
                  </a:lnTo>
                  <a:lnTo>
                    <a:pt x="37" y="393"/>
                  </a:lnTo>
                  <a:lnTo>
                    <a:pt x="37" y="389"/>
                  </a:lnTo>
                  <a:lnTo>
                    <a:pt x="37" y="384"/>
                  </a:lnTo>
                  <a:lnTo>
                    <a:pt x="41" y="384"/>
                  </a:lnTo>
                  <a:lnTo>
                    <a:pt x="41" y="384"/>
                  </a:lnTo>
                  <a:lnTo>
                    <a:pt x="41" y="380"/>
                  </a:lnTo>
                  <a:lnTo>
                    <a:pt x="41" y="371"/>
                  </a:lnTo>
                  <a:lnTo>
                    <a:pt x="41" y="366"/>
                  </a:lnTo>
                  <a:lnTo>
                    <a:pt x="41" y="343"/>
                  </a:lnTo>
                  <a:lnTo>
                    <a:pt x="41" y="339"/>
                  </a:lnTo>
                  <a:lnTo>
                    <a:pt x="41" y="334"/>
                  </a:lnTo>
                  <a:lnTo>
                    <a:pt x="41" y="329"/>
                  </a:lnTo>
                  <a:lnTo>
                    <a:pt x="37" y="325"/>
                  </a:lnTo>
                  <a:lnTo>
                    <a:pt x="37" y="320"/>
                  </a:lnTo>
                  <a:lnTo>
                    <a:pt x="37" y="316"/>
                  </a:lnTo>
                  <a:lnTo>
                    <a:pt x="37" y="311"/>
                  </a:lnTo>
                  <a:lnTo>
                    <a:pt x="37" y="302"/>
                  </a:lnTo>
                  <a:lnTo>
                    <a:pt x="41" y="297"/>
                  </a:lnTo>
                  <a:lnTo>
                    <a:pt x="41" y="293"/>
                  </a:lnTo>
                  <a:lnTo>
                    <a:pt x="46" y="284"/>
                  </a:lnTo>
                  <a:lnTo>
                    <a:pt x="46" y="279"/>
                  </a:lnTo>
                  <a:lnTo>
                    <a:pt x="50" y="275"/>
                  </a:lnTo>
                  <a:lnTo>
                    <a:pt x="55" y="275"/>
                  </a:lnTo>
                  <a:lnTo>
                    <a:pt x="55" y="270"/>
                  </a:lnTo>
                  <a:lnTo>
                    <a:pt x="59" y="265"/>
                  </a:lnTo>
                  <a:lnTo>
                    <a:pt x="59" y="261"/>
                  </a:lnTo>
                  <a:lnTo>
                    <a:pt x="59" y="256"/>
                  </a:lnTo>
                  <a:lnTo>
                    <a:pt x="59" y="252"/>
                  </a:lnTo>
                  <a:lnTo>
                    <a:pt x="59" y="252"/>
                  </a:lnTo>
                  <a:lnTo>
                    <a:pt x="64" y="247"/>
                  </a:lnTo>
                  <a:lnTo>
                    <a:pt x="69" y="233"/>
                  </a:lnTo>
                  <a:lnTo>
                    <a:pt x="73" y="229"/>
                  </a:lnTo>
                  <a:lnTo>
                    <a:pt x="78" y="229"/>
                  </a:lnTo>
                  <a:lnTo>
                    <a:pt x="82" y="224"/>
                  </a:lnTo>
                  <a:lnTo>
                    <a:pt x="82" y="220"/>
                  </a:lnTo>
                  <a:lnTo>
                    <a:pt x="82" y="215"/>
                  </a:lnTo>
                  <a:lnTo>
                    <a:pt x="82" y="211"/>
                  </a:lnTo>
                  <a:lnTo>
                    <a:pt x="87" y="206"/>
                  </a:lnTo>
                  <a:lnTo>
                    <a:pt x="87" y="206"/>
                  </a:lnTo>
                  <a:lnTo>
                    <a:pt x="91" y="201"/>
                  </a:lnTo>
                  <a:lnTo>
                    <a:pt x="96" y="192"/>
                  </a:lnTo>
                  <a:lnTo>
                    <a:pt x="96" y="188"/>
                  </a:lnTo>
                  <a:lnTo>
                    <a:pt x="101" y="183"/>
                  </a:lnTo>
                  <a:lnTo>
                    <a:pt x="105" y="183"/>
                  </a:lnTo>
                  <a:lnTo>
                    <a:pt x="105" y="183"/>
                  </a:lnTo>
                  <a:lnTo>
                    <a:pt x="105" y="179"/>
                  </a:lnTo>
                  <a:lnTo>
                    <a:pt x="105" y="165"/>
                  </a:lnTo>
                  <a:lnTo>
                    <a:pt x="105" y="165"/>
                  </a:lnTo>
                  <a:lnTo>
                    <a:pt x="105" y="160"/>
                  </a:lnTo>
                  <a:lnTo>
                    <a:pt x="105" y="156"/>
                  </a:lnTo>
                  <a:lnTo>
                    <a:pt x="105" y="151"/>
                  </a:lnTo>
                  <a:lnTo>
                    <a:pt x="96" y="142"/>
                  </a:lnTo>
                  <a:lnTo>
                    <a:pt x="96" y="142"/>
                  </a:lnTo>
                  <a:lnTo>
                    <a:pt x="91" y="137"/>
                  </a:lnTo>
                  <a:lnTo>
                    <a:pt x="87" y="133"/>
                  </a:lnTo>
                  <a:lnTo>
                    <a:pt x="87" y="128"/>
                  </a:lnTo>
                  <a:lnTo>
                    <a:pt x="91" y="128"/>
                  </a:lnTo>
                  <a:lnTo>
                    <a:pt x="96" y="133"/>
                  </a:lnTo>
                  <a:lnTo>
                    <a:pt x="101" y="133"/>
                  </a:lnTo>
                  <a:lnTo>
                    <a:pt x="101" y="128"/>
                  </a:lnTo>
                  <a:lnTo>
                    <a:pt x="101" y="124"/>
                  </a:lnTo>
                  <a:lnTo>
                    <a:pt x="101" y="119"/>
                  </a:lnTo>
                  <a:lnTo>
                    <a:pt x="101" y="115"/>
                  </a:lnTo>
                  <a:lnTo>
                    <a:pt x="101" y="105"/>
                  </a:lnTo>
                  <a:lnTo>
                    <a:pt x="101" y="96"/>
                  </a:lnTo>
                  <a:lnTo>
                    <a:pt x="101" y="96"/>
                  </a:lnTo>
                  <a:lnTo>
                    <a:pt x="101" y="83"/>
                  </a:lnTo>
                  <a:lnTo>
                    <a:pt x="101" y="73"/>
                  </a:lnTo>
                  <a:lnTo>
                    <a:pt x="101" y="73"/>
                  </a:lnTo>
                  <a:lnTo>
                    <a:pt x="101" y="73"/>
                  </a:lnTo>
                  <a:lnTo>
                    <a:pt x="96" y="69"/>
                  </a:lnTo>
                  <a:lnTo>
                    <a:pt x="96" y="60"/>
                  </a:lnTo>
                  <a:lnTo>
                    <a:pt x="91" y="60"/>
                  </a:lnTo>
                  <a:lnTo>
                    <a:pt x="91" y="55"/>
                  </a:lnTo>
                  <a:lnTo>
                    <a:pt x="87" y="55"/>
                  </a:lnTo>
                  <a:lnTo>
                    <a:pt x="82" y="55"/>
                  </a:lnTo>
                  <a:lnTo>
                    <a:pt x="78" y="51"/>
                  </a:lnTo>
                  <a:lnTo>
                    <a:pt x="69" y="51"/>
                  </a:lnTo>
                  <a:lnTo>
                    <a:pt x="64" y="51"/>
                  </a:lnTo>
                  <a:lnTo>
                    <a:pt x="59" y="46"/>
                  </a:lnTo>
                  <a:lnTo>
                    <a:pt x="55" y="41"/>
                  </a:lnTo>
                  <a:lnTo>
                    <a:pt x="50" y="37"/>
                  </a:lnTo>
                  <a:lnTo>
                    <a:pt x="46" y="37"/>
                  </a:lnTo>
                  <a:lnTo>
                    <a:pt x="41" y="32"/>
                  </a:lnTo>
                  <a:lnTo>
                    <a:pt x="41" y="32"/>
                  </a:lnTo>
                  <a:lnTo>
                    <a:pt x="41" y="28"/>
                  </a:lnTo>
                  <a:lnTo>
                    <a:pt x="46" y="19"/>
                  </a:lnTo>
                  <a:lnTo>
                    <a:pt x="50" y="9"/>
                  </a:lnTo>
                  <a:lnTo>
                    <a:pt x="59" y="9"/>
                  </a:lnTo>
                  <a:lnTo>
                    <a:pt x="59" y="9"/>
                  </a:lnTo>
                  <a:lnTo>
                    <a:pt x="69" y="9"/>
                  </a:lnTo>
                  <a:lnTo>
                    <a:pt x="73" y="9"/>
                  </a:lnTo>
                  <a:lnTo>
                    <a:pt x="82" y="5"/>
                  </a:lnTo>
                  <a:lnTo>
                    <a:pt x="82" y="0"/>
                  </a:lnTo>
                  <a:lnTo>
                    <a:pt x="82" y="0"/>
                  </a:lnTo>
                  <a:lnTo>
                    <a:pt x="87" y="0"/>
                  </a:lnTo>
                  <a:lnTo>
                    <a:pt x="87" y="5"/>
                  </a:lnTo>
                  <a:lnTo>
                    <a:pt x="91" y="5"/>
                  </a:lnTo>
                  <a:lnTo>
                    <a:pt x="91" y="9"/>
                  </a:lnTo>
                  <a:lnTo>
                    <a:pt x="96" y="9"/>
                  </a:lnTo>
                  <a:lnTo>
                    <a:pt x="101" y="14"/>
                  </a:lnTo>
                  <a:lnTo>
                    <a:pt x="105" y="14"/>
                  </a:lnTo>
                  <a:lnTo>
                    <a:pt x="110" y="9"/>
                  </a:lnTo>
                  <a:lnTo>
                    <a:pt x="114" y="9"/>
                  </a:lnTo>
                  <a:lnTo>
                    <a:pt x="119" y="9"/>
                  </a:lnTo>
                  <a:lnTo>
                    <a:pt x="123" y="9"/>
                  </a:lnTo>
                  <a:lnTo>
                    <a:pt x="128" y="9"/>
                  </a:lnTo>
                  <a:lnTo>
                    <a:pt x="137" y="9"/>
                  </a:lnTo>
                  <a:lnTo>
                    <a:pt x="137" y="14"/>
                  </a:lnTo>
                  <a:lnTo>
                    <a:pt x="142" y="14"/>
                  </a:lnTo>
                  <a:lnTo>
                    <a:pt x="137" y="19"/>
                  </a:lnTo>
                  <a:lnTo>
                    <a:pt x="137" y="23"/>
                  </a:lnTo>
                  <a:lnTo>
                    <a:pt x="133" y="28"/>
                  </a:lnTo>
                  <a:lnTo>
                    <a:pt x="128" y="32"/>
                  </a:lnTo>
                  <a:lnTo>
                    <a:pt x="128" y="37"/>
                  </a:lnTo>
                  <a:lnTo>
                    <a:pt x="123" y="46"/>
                  </a:lnTo>
                  <a:lnTo>
                    <a:pt x="123" y="51"/>
                  </a:lnTo>
                  <a:lnTo>
                    <a:pt x="123" y="55"/>
                  </a:lnTo>
                  <a:lnTo>
                    <a:pt x="123" y="64"/>
                  </a:lnTo>
                  <a:lnTo>
                    <a:pt x="123" y="69"/>
                  </a:lnTo>
                  <a:lnTo>
                    <a:pt x="123" y="69"/>
                  </a:lnTo>
                  <a:lnTo>
                    <a:pt x="133" y="73"/>
                  </a:lnTo>
                  <a:lnTo>
                    <a:pt x="137" y="73"/>
                  </a:lnTo>
                  <a:lnTo>
                    <a:pt x="142" y="73"/>
                  </a:lnTo>
                  <a:lnTo>
                    <a:pt x="151" y="73"/>
                  </a:lnTo>
                  <a:lnTo>
                    <a:pt x="160" y="73"/>
                  </a:lnTo>
                  <a:lnTo>
                    <a:pt x="165" y="73"/>
                  </a:lnTo>
                  <a:lnTo>
                    <a:pt x="169" y="73"/>
                  </a:lnTo>
                  <a:lnTo>
                    <a:pt x="178" y="73"/>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0" name="Freeform 7">
              <a:extLst>
                <a:ext uri="{FF2B5EF4-FFF2-40B4-BE49-F238E27FC236}">
                  <a16:creationId xmlns:a16="http://schemas.microsoft.com/office/drawing/2014/main" id="{AF3251BE-F6B9-45D3-91EC-22E9656B6F35}"/>
                </a:ext>
              </a:extLst>
            </p:cNvPr>
            <p:cNvSpPr>
              <a:spLocks/>
            </p:cNvSpPr>
            <p:nvPr>
              <p:custDataLst>
                <p:tags r:id="rId2"/>
              </p:custDataLst>
            </p:nvPr>
          </p:nvSpPr>
          <p:spPr bwMode="auto">
            <a:xfrm>
              <a:off x="3013147" y="1952405"/>
              <a:ext cx="766427" cy="1327759"/>
            </a:xfrm>
            <a:custGeom>
              <a:avLst/>
              <a:gdLst/>
              <a:ahLst/>
              <a:cxnLst>
                <a:cxn ang="0">
                  <a:pos x="42" y="1143"/>
                </a:cxn>
                <a:cxn ang="0">
                  <a:pos x="0" y="1079"/>
                </a:cxn>
                <a:cxn ang="0">
                  <a:pos x="42" y="1038"/>
                </a:cxn>
                <a:cxn ang="0">
                  <a:pos x="69" y="997"/>
                </a:cxn>
                <a:cxn ang="0">
                  <a:pos x="101" y="951"/>
                </a:cxn>
                <a:cxn ang="0">
                  <a:pos x="151" y="915"/>
                </a:cxn>
                <a:cxn ang="0">
                  <a:pos x="170" y="828"/>
                </a:cxn>
                <a:cxn ang="0">
                  <a:pos x="197" y="769"/>
                </a:cxn>
                <a:cxn ang="0">
                  <a:pos x="142" y="709"/>
                </a:cxn>
                <a:cxn ang="0">
                  <a:pos x="133" y="636"/>
                </a:cxn>
                <a:cxn ang="0">
                  <a:pos x="106" y="599"/>
                </a:cxn>
                <a:cxn ang="0">
                  <a:pos x="60" y="572"/>
                </a:cxn>
                <a:cxn ang="0">
                  <a:pos x="28" y="517"/>
                </a:cxn>
                <a:cxn ang="0">
                  <a:pos x="110" y="494"/>
                </a:cxn>
                <a:cxn ang="0">
                  <a:pos x="151" y="471"/>
                </a:cxn>
                <a:cxn ang="0">
                  <a:pos x="183" y="416"/>
                </a:cxn>
                <a:cxn ang="0">
                  <a:pos x="215" y="352"/>
                </a:cxn>
                <a:cxn ang="0">
                  <a:pos x="275" y="288"/>
                </a:cxn>
                <a:cxn ang="0">
                  <a:pos x="334" y="243"/>
                </a:cxn>
                <a:cxn ang="0">
                  <a:pos x="435" y="224"/>
                </a:cxn>
                <a:cxn ang="0">
                  <a:pos x="512" y="156"/>
                </a:cxn>
                <a:cxn ang="0">
                  <a:pos x="572" y="133"/>
                </a:cxn>
                <a:cxn ang="0">
                  <a:pos x="631" y="165"/>
                </a:cxn>
                <a:cxn ang="0">
                  <a:pos x="704" y="160"/>
                </a:cxn>
                <a:cxn ang="0">
                  <a:pos x="723" y="92"/>
                </a:cxn>
                <a:cxn ang="0">
                  <a:pos x="768" y="14"/>
                </a:cxn>
                <a:cxn ang="0">
                  <a:pos x="878" y="0"/>
                </a:cxn>
                <a:cxn ang="0">
                  <a:pos x="851" y="42"/>
                </a:cxn>
                <a:cxn ang="0">
                  <a:pos x="819" y="96"/>
                </a:cxn>
                <a:cxn ang="0">
                  <a:pos x="819" y="160"/>
                </a:cxn>
                <a:cxn ang="0">
                  <a:pos x="805" y="234"/>
                </a:cxn>
                <a:cxn ang="0">
                  <a:pos x="778" y="275"/>
                </a:cxn>
                <a:cxn ang="0">
                  <a:pos x="723" y="311"/>
                </a:cxn>
                <a:cxn ang="0">
                  <a:pos x="714" y="371"/>
                </a:cxn>
                <a:cxn ang="0">
                  <a:pos x="714" y="403"/>
                </a:cxn>
                <a:cxn ang="0">
                  <a:pos x="714" y="444"/>
                </a:cxn>
                <a:cxn ang="0">
                  <a:pos x="704" y="480"/>
                </a:cxn>
                <a:cxn ang="0">
                  <a:pos x="691" y="512"/>
                </a:cxn>
                <a:cxn ang="0">
                  <a:pos x="650" y="526"/>
                </a:cxn>
                <a:cxn ang="0">
                  <a:pos x="604" y="540"/>
                </a:cxn>
                <a:cxn ang="0">
                  <a:pos x="558" y="576"/>
                </a:cxn>
                <a:cxn ang="0">
                  <a:pos x="576" y="636"/>
                </a:cxn>
                <a:cxn ang="0">
                  <a:pos x="576" y="672"/>
                </a:cxn>
                <a:cxn ang="0">
                  <a:pos x="558" y="723"/>
                </a:cxn>
                <a:cxn ang="0">
                  <a:pos x="535" y="773"/>
                </a:cxn>
                <a:cxn ang="0">
                  <a:pos x="517" y="810"/>
                </a:cxn>
                <a:cxn ang="0">
                  <a:pos x="494" y="851"/>
                </a:cxn>
                <a:cxn ang="0">
                  <a:pos x="426" y="860"/>
                </a:cxn>
                <a:cxn ang="0">
                  <a:pos x="403" y="887"/>
                </a:cxn>
                <a:cxn ang="0">
                  <a:pos x="366" y="924"/>
                </a:cxn>
                <a:cxn ang="0">
                  <a:pos x="320" y="956"/>
                </a:cxn>
                <a:cxn ang="0">
                  <a:pos x="320" y="1052"/>
                </a:cxn>
                <a:cxn ang="0">
                  <a:pos x="316" y="1107"/>
                </a:cxn>
                <a:cxn ang="0">
                  <a:pos x="275" y="1157"/>
                </a:cxn>
                <a:cxn ang="0">
                  <a:pos x="252" y="1217"/>
                </a:cxn>
                <a:cxn ang="0">
                  <a:pos x="238" y="1285"/>
                </a:cxn>
                <a:cxn ang="0">
                  <a:pos x="183" y="1276"/>
                </a:cxn>
                <a:cxn ang="0">
                  <a:pos x="170" y="1189"/>
                </a:cxn>
                <a:cxn ang="0">
                  <a:pos x="128" y="1148"/>
                </a:cxn>
                <a:cxn ang="0">
                  <a:pos x="87" y="1143"/>
                </a:cxn>
              </a:cxnLst>
              <a:rect l="0" t="0" r="r" b="b"/>
              <a:pathLst>
                <a:path w="878" h="1313">
                  <a:moveTo>
                    <a:pt x="83" y="1148"/>
                  </a:moveTo>
                  <a:lnTo>
                    <a:pt x="83" y="1148"/>
                  </a:lnTo>
                  <a:lnTo>
                    <a:pt x="83" y="1153"/>
                  </a:lnTo>
                  <a:lnTo>
                    <a:pt x="78" y="1157"/>
                  </a:lnTo>
                  <a:lnTo>
                    <a:pt x="74" y="1166"/>
                  </a:lnTo>
                  <a:lnTo>
                    <a:pt x="69" y="1166"/>
                  </a:lnTo>
                  <a:lnTo>
                    <a:pt x="64" y="1171"/>
                  </a:lnTo>
                  <a:lnTo>
                    <a:pt x="60" y="1166"/>
                  </a:lnTo>
                  <a:lnTo>
                    <a:pt x="55" y="1166"/>
                  </a:lnTo>
                  <a:lnTo>
                    <a:pt x="55" y="1166"/>
                  </a:lnTo>
                  <a:lnTo>
                    <a:pt x="51" y="1166"/>
                  </a:lnTo>
                  <a:lnTo>
                    <a:pt x="46" y="1162"/>
                  </a:lnTo>
                  <a:lnTo>
                    <a:pt x="46" y="1148"/>
                  </a:lnTo>
                  <a:lnTo>
                    <a:pt x="42" y="1143"/>
                  </a:lnTo>
                  <a:lnTo>
                    <a:pt x="42" y="1139"/>
                  </a:lnTo>
                  <a:lnTo>
                    <a:pt x="37" y="1125"/>
                  </a:lnTo>
                  <a:lnTo>
                    <a:pt x="32" y="1125"/>
                  </a:lnTo>
                  <a:lnTo>
                    <a:pt x="32" y="1125"/>
                  </a:lnTo>
                  <a:lnTo>
                    <a:pt x="32" y="1121"/>
                  </a:lnTo>
                  <a:lnTo>
                    <a:pt x="28" y="1116"/>
                  </a:lnTo>
                  <a:lnTo>
                    <a:pt x="28" y="1111"/>
                  </a:lnTo>
                  <a:lnTo>
                    <a:pt x="23" y="1102"/>
                  </a:lnTo>
                  <a:lnTo>
                    <a:pt x="19" y="1098"/>
                  </a:lnTo>
                  <a:lnTo>
                    <a:pt x="14" y="1093"/>
                  </a:lnTo>
                  <a:lnTo>
                    <a:pt x="10" y="1089"/>
                  </a:lnTo>
                  <a:lnTo>
                    <a:pt x="0" y="1089"/>
                  </a:lnTo>
                  <a:lnTo>
                    <a:pt x="0" y="1084"/>
                  </a:lnTo>
                  <a:lnTo>
                    <a:pt x="0" y="1079"/>
                  </a:lnTo>
                  <a:lnTo>
                    <a:pt x="0" y="1079"/>
                  </a:lnTo>
                  <a:lnTo>
                    <a:pt x="10" y="1075"/>
                  </a:lnTo>
                  <a:lnTo>
                    <a:pt x="14" y="1070"/>
                  </a:lnTo>
                  <a:lnTo>
                    <a:pt x="14" y="1066"/>
                  </a:lnTo>
                  <a:lnTo>
                    <a:pt x="19" y="1061"/>
                  </a:lnTo>
                  <a:lnTo>
                    <a:pt x="23" y="1057"/>
                  </a:lnTo>
                  <a:lnTo>
                    <a:pt x="23" y="1057"/>
                  </a:lnTo>
                  <a:lnTo>
                    <a:pt x="28" y="1052"/>
                  </a:lnTo>
                  <a:lnTo>
                    <a:pt x="28" y="1047"/>
                  </a:lnTo>
                  <a:lnTo>
                    <a:pt x="32" y="1047"/>
                  </a:lnTo>
                  <a:lnTo>
                    <a:pt x="32" y="1043"/>
                  </a:lnTo>
                  <a:lnTo>
                    <a:pt x="37" y="1043"/>
                  </a:lnTo>
                  <a:lnTo>
                    <a:pt x="37" y="1038"/>
                  </a:lnTo>
                  <a:lnTo>
                    <a:pt x="42" y="1038"/>
                  </a:lnTo>
                  <a:lnTo>
                    <a:pt x="46" y="1038"/>
                  </a:lnTo>
                  <a:lnTo>
                    <a:pt x="46" y="1034"/>
                  </a:lnTo>
                  <a:lnTo>
                    <a:pt x="46" y="1029"/>
                  </a:lnTo>
                  <a:lnTo>
                    <a:pt x="46" y="1025"/>
                  </a:lnTo>
                  <a:lnTo>
                    <a:pt x="51" y="1025"/>
                  </a:lnTo>
                  <a:lnTo>
                    <a:pt x="51" y="1020"/>
                  </a:lnTo>
                  <a:lnTo>
                    <a:pt x="55" y="1020"/>
                  </a:lnTo>
                  <a:lnTo>
                    <a:pt x="55" y="1015"/>
                  </a:lnTo>
                  <a:lnTo>
                    <a:pt x="55" y="1015"/>
                  </a:lnTo>
                  <a:lnTo>
                    <a:pt x="60" y="1015"/>
                  </a:lnTo>
                  <a:lnTo>
                    <a:pt x="60" y="1011"/>
                  </a:lnTo>
                  <a:lnTo>
                    <a:pt x="64" y="1006"/>
                  </a:lnTo>
                  <a:lnTo>
                    <a:pt x="64" y="1002"/>
                  </a:lnTo>
                  <a:lnTo>
                    <a:pt x="69" y="997"/>
                  </a:lnTo>
                  <a:lnTo>
                    <a:pt x="69" y="993"/>
                  </a:lnTo>
                  <a:lnTo>
                    <a:pt x="74" y="993"/>
                  </a:lnTo>
                  <a:lnTo>
                    <a:pt x="74" y="993"/>
                  </a:lnTo>
                  <a:lnTo>
                    <a:pt x="78" y="983"/>
                  </a:lnTo>
                  <a:lnTo>
                    <a:pt x="78" y="979"/>
                  </a:lnTo>
                  <a:lnTo>
                    <a:pt x="83" y="979"/>
                  </a:lnTo>
                  <a:lnTo>
                    <a:pt x="83" y="974"/>
                  </a:lnTo>
                  <a:lnTo>
                    <a:pt x="83" y="970"/>
                  </a:lnTo>
                  <a:lnTo>
                    <a:pt x="87" y="970"/>
                  </a:lnTo>
                  <a:lnTo>
                    <a:pt x="87" y="970"/>
                  </a:lnTo>
                  <a:lnTo>
                    <a:pt x="87" y="970"/>
                  </a:lnTo>
                  <a:lnTo>
                    <a:pt x="87" y="965"/>
                  </a:lnTo>
                  <a:lnTo>
                    <a:pt x="96" y="956"/>
                  </a:lnTo>
                  <a:lnTo>
                    <a:pt x="101" y="951"/>
                  </a:lnTo>
                  <a:lnTo>
                    <a:pt x="106" y="951"/>
                  </a:lnTo>
                  <a:lnTo>
                    <a:pt x="106" y="947"/>
                  </a:lnTo>
                  <a:lnTo>
                    <a:pt x="110" y="947"/>
                  </a:lnTo>
                  <a:lnTo>
                    <a:pt x="110" y="947"/>
                  </a:lnTo>
                  <a:lnTo>
                    <a:pt x="119" y="947"/>
                  </a:lnTo>
                  <a:lnTo>
                    <a:pt x="128" y="942"/>
                  </a:lnTo>
                  <a:lnTo>
                    <a:pt x="133" y="938"/>
                  </a:lnTo>
                  <a:lnTo>
                    <a:pt x="133" y="933"/>
                  </a:lnTo>
                  <a:lnTo>
                    <a:pt x="138" y="933"/>
                  </a:lnTo>
                  <a:lnTo>
                    <a:pt x="142" y="929"/>
                  </a:lnTo>
                  <a:lnTo>
                    <a:pt x="147" y="929"/>
                  </a:lnTo>
                  <a:lnTo>
                    <a:pt x="147" y="924"/>
                  </a:lnTo>
                  <a:lnTo>
                    <a:pt x="151" y="919"/>
                  </a:lnTo>
                  <a:lnTo>
                    <a:pt x="151" y="915"/>
                  </a:lnTo>
                  <a:lnTo>
                    <a:pt x="156" y="915"/>
                  </a:lnTo>
                  <a:lnTo>
                    <a:pt x="156" y="910"/>
                  </a:lnTo>
                  <a:lnTo>
                    <a:pt x="156" y="906"/>
                  </a:lnTo>
                  <a:lnTo>
                    <a:pt x="156" y="906"/>
                  </a:lnTo>
                  <a:lnTo>
                    <a:pt x="156" y="901"/>
                  </a:lnTo>
                  <a:lnTo>
                    <a:pt x="156" y="887"/>
                  </a:lnTo>
                  <a:lnTo>
                    <a:pt x="156" y="865"/>
                  </a:lnTo>
                  <a:lnTo>
                    <a:pt x="160" y="860"/>
                  </a:lnTo>
                  <a:lnTo>
                    <a:pt x="160" y="851"/>
                  </a:lnTo>
                  <a:lnTo>
                    <a:pt x="165" y="842"/>
                  </a:lnTo>
                  <a:lnTo>
                    <a:pt x="165" y="837"/>
                  </a:lnTo>
                  <a:lnTo>
                    <a:pt x="170" y="837"/>
                  </a:lnTo>
                  <a:lnTo>
                    <a:pt x="170" y="837"/>
                  </a:lnTo>
                  <a:lnTo>
                    <a:pt x="170" y="828"/>
                  </a:lnTo>
                  <a:lnTo>
                    <a:pt x="174" y="828"/>
                  </a:lnTo>
                  <a:lnTo>
                    <a:pt x="174" y="823"/>
                  </a:lnTo>
                  <a:lnTo>
                    <a:pt x="174" y="819"/>
                  </a:lnTo>
                  <a:lnTo>
                    <a:pt x="174" y="819"/>
                  </a:lnTo>
                  <a:lnTo>
                    <a:pt x="174" y="819"/>
                  </a:lnTo>
                  <a:lnTo>
                    <a:pt x="183" y="805"/>
                  </a:lnTo>
                  <a:lnTo>
                    <a:pt x="192" y="796"/>
                  </a:lnTo>
                  <a:lnTo>
                    <a:pt x="192" y="796"/>
                  </a:lnTo>
                  <a:lnTo>
                    <a:pt x="192" y="791"/>
                  </a:lnTo>
                  <a:lnTo>
                    <a:pt x="197" y="791"/>
                  </a:lnTo>
                  <a:lnTo>
                    <a:pt x="197" y="787"/>
                  </a:lnTo>
                  <a:lnTo>
                    <a:pt x="197" y="773"/>
                  </a:lnTo>
                  <a:lnTo>
                    <a:pt x="197" y="773"/>
                  </a:lnTo>
                  <a:lnTo>
                    <a:pt x="197" y="769"/>
                  </a:lnTo>
                  <a:lnTo>
                    <a:pt x="197" y="759"/>
                  </a:lnTo>
                  <a:lnTo>
                    <a:pt x="197" y="755"/>
                  </a:lnTo>
                  <a:lnTo>
                    <a:pt x="197" y="750"/>
                  </a:lnTo>
                  <a:lnTo>
                    <a:pt x="192" y="750"/>
                  </a:lnTo>
                  <a:lnTo>
                    <a:pt x="192" y="750"/>
                  </a:lnTo>
                  <a:lnTo>
                    <a:pt x="183" y="746"/>
                  </a:lnTo>
                  <a:lnTo>
                    <a:pt x="174" y="741"/>
                  </a:lnTo>
                  <a:lnTo>
                    <a:pt x="174" y="737"/>
                  </a:lnTo>
                  <a:lnTo>
                    <a:pt x="165" y="732"/>
                  </a:lnTo>
                  <a:lnTo>
                    <a:pt x="160" y="727"/>
                  </a:lnTo>
                  <a:lnTo>
                    <a:pt x="156" y="723"/>
                  </a:lnTo>
                  <a:lnTo>
                    <a:pt x="156" y="718"/>
                  </a:lnTo>
                  <a:lnTo>
                    <a:pt x="147" y="714"/>
                  </a:lnTo>
                  <a:lnTo>
                    <a:pt x="142" y="709"/>
                  </a:lnTo>
                  <a:lnTo>
                    <a:pt x="142" y="709"/>
                  </a:lnTo>
                  <a:lnTo>
                    <a:pt x="138" y="709"/>
                  </a:lnTo>
                  <a:lnTo>
                    <a:pt x="138" y="705"/>
                  </a:lnTo>
                  <a:lnTo>
                    <a:pt x="133" y="700"/>
                  </a:lnTo>
                  <a:lnTo>
                    <a:pt x="133" y="691"/>
                  </a:lnTo>
                  <a:lnTo>
                    <a:pt x="133" y="686"/>
                  </a:lnTo>
                  <a:lnTo>
                    <a:pt x="133" y="677"/>
                  </a:lnTo>
                  <a:lnTo>
                    <a:pt x="133" y="663"/>
                  </a:lnTo>
                  <a:lnTo>
                    <a:pt x="133" y="659"/>
                  </a:lnTo>
                  <a:lnTo>
                    <a:pt x="133" y="654"/>
                  </a:lnTo>
                  <a:lnTo>
                    <a:pt x="133" y="645"/>
                  </a:lnTo>
                  <a:lnTo>
                    <a:pt x="133" y="640"/>
                  </a:lnTo>
                  <a:lnTo>
                    <a:pt x="133" y="640"/>
                  </a:lnTo>
                  <a:lnTo>
                    <a:pt x="133" y="636"/>
                  </a:lnTo>
                  <a:lnTo>
                    <a:pt x="128" y="631"/>
                  </a:lnTo>
                  <a:lnTo>
                    <a:pt x="128" y="627"/>
                  </a:lnTo>
                  <a:lnTo>
                    <a:pt x="124" y="627"/>
                  </a:lnTo>
                  <a:lnTo>
                    <a:pt x="124" y="622"/>
                  </a:lnTo>
                  <a:lnTo>
                    <a:pt x="124" y="618"/>
                  </a:lnTo>
                  <a:lnTo>
                    <a:pt x="119" y="618"/>
                  </a:lnTo>
                  <a:lnTo>
                    <a:pt x="119" y="618"/>
                  </a:lnTo>
                  <a:lnTo>
                    <a:pt x="115" y="618"/>
                  </a:lnTo>
                  <a:lnTo>
                    <a:pt x="115" y="613"/>
                  </a:lnTo>
                  <a:lnTo>
                    <a:pt x="110" y="608"/>
                  </a:lnTo>
                  <a:lnTo>
                    <a:pt x="110" y="608"/>
                  </a:lnTo>
                  <a:lnTo>
                    <a:pt x="110" y="604"/>
                  </a:lnTo>
                  <a:lnTo>
                    <a:pt x="106" y="599"/>
                  </a:lnTo>
                  <a:lnTo>
                    <a:pt x="106" y="599"/>
                  </a:lnTo>
                  <a:lnTo>
                    <a:pt x="101" y="599"/>
                  </a:lnTo>
                  <a:lnTo>
                    <a:pt x="101" y="595"/>
                  </a:lnTo>
                  <a:lnTo>
                    <a:pt x="96" y="595"/>
                  </a:lnTo>
                  <a:lnTo>
                    <a:pt x="92" y="590"/>
                  </a:lnTo>
                  <a:lnTo>
                    <a:pt x="87" y="590"/>
                  </a:lnTo>
                  <a:lnTo>
                    <a:pt x="87" y="586"/>
                  </a:lnTo>
                  <a:lnTo>
                    <a:pt x="87" y="586"/>
                  </a:lnTo>
                  <a:lnTo>
                    <a:pt x="83" y="586"/>
                  </a:lnTo>
                  <a:lnTo>
                    <a:pt x="74" y="581"/>
                  </a:lnTo>
                  <a:lnTo>
                    <a:pt x="74" y="581"/>
                  </a:lnTo>
                  <a:lnTo>
                    <a:pt x="64" y="576"/>
                  </a:lnTo>
                  <a:lnTo>
                    <a:pt x="64" y="576"/>
                  </a:lnTo>
                  <a:lnTo>
                    <a:pt x="60" y="576"/>
                  </a:lnTo>
                  <a:lnTo>
                    <a:pt x="60" y="572"/>
                  </a:lnTo>
                  <a:lnTo>
                    <a:pt x="55" y="572"/>
                  </a:lnTo>
                  <a:lnTo>
                    <a:pt x="55" y="567"/>
                  </a:lnTo>
                  <a:lnTo>
                    <a:pt x="55" y="563"/>
                  </a:lnTo>
                  <a:lnTo>
                    <a:pt x="51" y="558"/>
                  </a:lnTo>
                  <a:lnTo>
                    <a:pt x="51" y="554"/>
                  </a:lnTo>
                  <a:lnTo>
                    <a:pt x="46" y="554"/>
                  </a:lnTo>
                  <a:lnTo>
                    <a:pt x="46" y="549"/>
                  </a:lnTo>
                  <a:lnTo>
                    <a:pt x="46" y="549"/>
                  </a:lnTo>
                  <a:lnTo>
                    <a:pt x="46" y="540"/>
                  </a:lnTo>
                  <a:lnTo>
                    <a:pt x="42" y="535"/>
                  </a:lnTo>
                  <a:lnTo>
                    <a:pt x="42" y="531"/>
                  </a:lnTo>
                  <a:lnTo>
                    <a:pt x="37" y="531"/>
                  </a:lnTo>
                  <a:lnTo>
                    <a:pt x="23" y="517"/>
                  </a:lnTo>
                  <a:lnTo>
                    <a:pt x="28" y="517"/>
                  </a:lnTo>
                  <a:lnTo>
                    <a:pt x="37" y="512"/>
                  </a:lnTo>
                  <a:lnTo>
                    <a:pt x="46" y="512"/>
                  </a:lnTo>
                  <a:lnTo>
                    <a:pt x="64" y="508"/>
                  </a:lnTo>
                  <a:lnTo>
                    <a:pt x="69" y="508"/>
                  </a:lnTo>
                  <a:lnTo>
                    <a:pt x="74" y="508"/>
                  </a:lnTo>
                  <a:lnTo>
                    <a:pt x="78" y="508"/>
                  </a:lnTo>
                  <a:lnTo>
                    <a:pt x="87" y="503"/>
                  </a:lnTo>
                  <a:lnTo>
                    <a:pt x="87" y="503"/>
                  </a:lnTo>
                  <a:lnTo>
                    <a:pt x="92" y="503"/>
                  </a:lnTo>
                  <a:lnTo>
                    <a:pt x="96" y="503"/>
                  </a:lnTo>
                  <a:lnTo>
                    <a:pt x="96" y="499"/>
                  </a:lnTo>
                  <a:lnTo>
                    <a:pt x="101" y="499"/>
                  </a:lnTo>
                  <a:lnTo>
                    <a:pt x="110" y="499"/>
                  </a:lnTo>
                  <a:lnTo>
                    <a:pt x="110" y="494"/>
                  </a:lnTo>
                  <a:lnTo>
                    <a:pt x="110" y="494"/>
                  </a:lnTo>
                  <a:lnTo>
                    <a:pt x="115" y="494"/>
                  </a:lnTo>
                  <a:lnTo>
                    <a:pt x="115" y="490"/>
                  </a:lnTo>
                  <a:lnTo>
                    <a:pt x="119" y="490"/>
                  </a:lnTo>
                  <a:lnTo>
                    <a:pt x="124" y="490"/>
                  </a:lnTo>
                  <a:lnTo>
                    <a:pt x="128" y="490"/>
                  </a:lnTo>
                  <a:lnTo>
                    <a:pt x="133" y="485"/>
                  </a:lnTo>
                  <a:lnTo>
                    <a:pt x="138" y="485"/>
                  </a:lnTo>
                  <a:lnTo>
                    <a:pt x="138" y="480"/>
                  </a:lnTo>
                  <a:lnTo>
                    <a:pt x="142" y="480"/>
                  </a:lnTo>
                  <a:lnTo>
                    <a:pt x="142" y="476"/>
                  </a:lnTo>
                  <a:lnTo>
                    <a:pt x="147" y="476"/>
                  </a:lnTo>
                  <a:lnTo>
                    <a:pt x="147" y="471"/>
                  </a:lnTo>
                  <a:lnTo>
                    <a:pt x="151" y="471"/>
                  </a:lnTo>
                  <a:lnTo>
                    <a:pt x="156" y="467"/>
                  </a:lnTo>
                  <a:lnTo>
                    <a:pt x="156" y="467"/>
                  </a:lnTo>
                  <a:lnTo>
                    <a:pt x="160" y="462"/>
                  </a:lnTo>
                  <a:lnTo>
                    <a:pt x="160" y="462"/>
                  </a:lnTo>
                  <a:lnTo>
                    <a:pt x="160" y="458"/>
                  </a:lnTo>
                  <a:lnTo>
                    <a:pt x="165" y="453"/>
                  </a:lnTo>
                  <a:lnTo>
                    <a:pt x="170" y="453"/>
                  </a:lnTo>
                  <a:lnTo>
                    <a:pt x="170" y="448"/>
                  </a:lnTo>
                  <a:lnTo>
                    <a:pt x="174" y="448"/>
                  </a:lnTo>
                  <a:lnTo>
                    <a:pt x="174" y="444"/>
                  </a:lnTo>
                  <a:lnTo>
                    <a:pt x="179" y="439"/>
                  </a:lnTo>
                  <a:lnTo>
                    <a:pt x="183" y="426"/>
                  </a:lnTo>
                  <a:lnTo>
                    <a:pt x="183" y="421"/>
                  </a:lnTo>
                  <a:lnTo>
                    <a:pt x="183" y="416"/>
                  </a:lnTo>
                  <a:lnTo>
                    <a:pt x="179" y="398"/>
                  </a:lnTo>
                  <a:lnTo>
                    <a:pt x="179" y="394"/>
                  </a:lnTo>
                  <a:lnTo>
                    <a:pt x="179" y="384"/>
                  </a:lnTo>
                  <a:lnTo>
                    <a:pt x="179" y="380"/>
                  </a:lnTo>
                  <a:lnTo>
                    <a:pt x="179" y="375"/>
                  </a:lnTo>
                  <a:lnTo>
                    <a:pt x="174" y="366"/>
                  </a:lnTo>
                  <a:lnTo>
                    <a:pt x="174" y="357"/>
                  </a:lnTo>
                  <a:lnTo>
                    <a:pt x="174" y="357"/>
                  </a:lnTo>
                  <a:lnTo>
                    <a:pt x="174" y="352"/>
                  </a:lnTo>
                  <a:lnTo>
                    <a:pt x="174" y="348"/>
                  </a:lnTo>
                  <a:lnTo>
                    <a:pt x="170" y="339"/>
                  </a:lnTo>
                  <a:lnTo>
                    <a:pt x="192" y="348"/>
                  </a:lnTo>
                  <a:lnTo>
                    <a:pt x="197" y="352"/>
                  </a:lnTo>
                  <a:lnTo>
                    <a:pt x="215" y="352"/>
                  </a:lnTo>
                  <a:lnTo>
                    <a:pt x="220" y="348"/>
                  </a:lnTo>
                  <a:lnTo>
                    <a:pt x="224" y="348"/>
                  </a:lnTo>
                  <a:lnTo>
                    <a:pt x="229" y="352"/>
                  </a:lnTo>
                  <a:lnTo>
                    <a:pt x="243" y="348"/>
                  </a:lnTo>
                  <a:lnTo>
                    <a:pt x="247" y="348"/>
                  </a:lnTo>
                  <a:lnTo>
                    <a:pt x="261" y="339"/>
                  </a:lnTo>
                  <a:lnTo>
                    <a:pt x="266" y="334"/>
                  </a:lnTo>
                  <a:lnTo>
                    <a:pt x="266" y="334"/>
                  </a:lnTo>
                  <a:lnTo>
                    <a:pt x="266" y="316"/>
                  </a:lnTo>
                  <a:lnTo>
                    <a:pt x="270" y="307"/>
                  </a:lnTo>
                  <a:lnTo>
                    <a:pt x="270" y="302"/>
                  </a:lnTo>
                  <a:lnTo>
                    <a:pt x="275" y="298"/>
                  </a:lnTo>
                  <a:lnTo>
                    <a:pt x="275" y="293"/>
                  </a:lnTo>
                  <a:lnTo>
                    <a:pt x="275" y="288"/>
                  </a:lnTo>
                  <a:lnTo>
                    <a:pt x="279" y="288"/>
                  </a:lnTo>
                  <a:lnTo>
                    <a:pt x="284" y="284"/>
                  </a:lnTo>
                  <a:lnTo>
                    <a:pt x="284" y="275"/>
                  </a:lnTo>
                  <a:lnTo>
                    <a:pt x="288" y="275"/>
                  </a:lnTo>
                  <a:lnTo>
                    <a:pt x="288" y="270"/>
                  </a:lnTo>
                  <a:lnTo>
                    <a:pt x="293" y="270"/>
                  </a:lnTo>
                  <a:lnTo>
                    <a:pt x="307" y="261"/>
                  </a:lnTo>
                  <a:lnTo>
                    <a:pt x="307" y="252"/>
                  </a:lnTo>
                  <a:lnTo>
                    <a:pt x="311" y="252"/>
                  </a:lnTo>
                  <a:lnTo>
                    <a:pt x="320" y="247"/>
                  </a:lnTo>
                  <a:lnTo>
                    <a:pt x="325" y="247"/>
                  </a:lnTo>
                  <a:lnTo>
                    <a:pt x="330" y="247"/>
                  </a:lnTo>
                  <a:lnTo>
                    <a:pt x="330" y="243"/>
                  </a:lnTo>
                  <a:lnTo>
                    <a:pt x="334" y="243"/>
                  </a:lnTo>
                  <a:lnTo>
                    <a:pt x="339" y="238"/>
                  </a:lnTo>
                  <a:lnTo>
                    <a:pt x="343" y="238"/>
                  </a:lnTo>
                  <a:lnTo>
                    <a:pt x="348" y="234"/>
                  </a:lnTo>
                  <a:lnTo>
                    <a:pt x="352" y="234"/>
                  </a:lnTo>
                  <a:lnTo>
                    <a:pt x="352" y="234"/>
                  </a:lnTo>
                  <a:lnTo>
                    <a:pt x="366" y="229"/>
                  </a:lnTo>
                  <a:lnTo>
                    <a:pt x="375" y="229"/>
                  </a:lnTo>
                  <a:lnTo>
                    <a:pt x="380" y="229"/>
                  </a:lnTo>
                  <a:lnTo>
                    <a:pt x="394" y="229"/>
                  </a:lnTo>
                  <a:lnTo>
                    <a:pt x="412" y="229"/>
                  </a:lnTo>
                  <a:lnTo>
                    <a:pt x="421" y="229"/>
                  </a:lnTo>
                  <a:lnTo>
                    <a:pt x="430" y="229"/>
                  </a:lnTo>
                  <a:lnTo>
                    <a:pt x="435" y="229"/>
                  </a:lnTo>
                  <a:lnTo>
                    <a:pt x="435" y="224"/>
                  </a:lnTo>
                  <a:lnTo>
                    <a:pt x="439" y="224"/>
                  </a:lnTo>
                  <a:lnTo>
                    <a:pt x="439" y="224"/>
                  </a:lnTo>
                  <a:lnTo>
                    <a:pt x="448" y="215"/>
                  </a:lnTo>
                  <a:lnTo>
                    <a:pt x="453" y="211"/>
                  </a:lnTo>
                  <a:lnTo>
                    <a:pt x="471" y="192"/>
                  </a:lnTo>
                  <a:lnTo>
                    <a:pt x="476" y="192"/>
                  </a:lnTo>
                  <a:lnTo>
                    <a:pt x="476" y="188"/>
                  </a:lnTo>
                  <a:lnTo>
                    <a:pt x="480" y="183"/>
                  </a:lnTo>
                  <a:lnTo>
                    <a:pt x="485" y="179"/>
                  </a:lnTo>
                  <a:lnTo>
                    <a:pt x="490" y="179"/>
                  </a:lnTo>
                  <a:lnTo>
                    <a:pt x="494" y="179"/>
                  </a:lnTo>
                  <a:lnTo>
                    <a:pt x="499" y="174"/>
                  </a:lnTo>
                  <a:lnTo>
                    <a:pt x="503" y="160"/>
                  </a:lnTo>
                  <a:lnTo>
                    <a:pt x="512" y="156"/>
                  </a:lnTo>
                  <a:lnTo>
                    <a:pt x="517" y="151"/>
                  </a:lnTo>
                  <a:lnTo>
                    <a:pt x="526" y="142"/>
                  </a:lnTo>
                  <a:lnTo>
                    <a:pt x="526" y="142"/>
                  </a:lnTo>
                  <a:lnTo>
                    <a:pt x="531" y="138"/>
                  </a:lnTo>
                  <a:lnTo>
                    <a:pt x="535" y="138"/>
                  </a:lnTo>
                  <a:lnTo>
                    <a:pt x="535" y="138"/>
                  </a:lnTo>
                  <a:lnTo>
                    <a:pt x="540" y="138"/>
                  </a:lnTo>
                  <a:lnTo>
                    <a:pt x="540" y="133"/>
                  </a:lnTo>
                  <a:lnTo>
                    <a:pt x="549" y="133"/>
                  </a:lnTo>
                  <a:lnTo>
                    <a:pt x="549" y="128"/>
                  </a:lnTo>
                  <a:lnTo>
                    <a:pt x="554" y="128"/>
                  </a:lnTo>
                  <a:lnTo>
                    <a:pt x="563" y="128"/>
                  </a:lnTo>
                  <a:lnTo>
                    <a:pt x="567" y="128"/>
                  </a:lnTo>
                  <a:lnTo>
                    <a:pt x="572" y="133"/>
                  </a:lnTo>
                  <a:lnTo>
                    <a:pt x="576" y="133"/>
                  </a:lnTo>
                  <a:lnTo>
                    <a:pt x="581" y="138"/>
                  </a:lnTo>
                  <a:lnTo>
                    <a:pt x="586" y="138"/>
                  </a:lnTo>
                  <a:lnTo>
                    <a:pt x="595" y="142"/>
                  </a:lnTo>
                  <a:lnTo>
                    <a:pt x="595" y="147"/>
                  </a:lnTo>
                  <a:lnTo>
                    <a:pt x="599" y="151"/>
                  </a:lnTo>
                  <a:lnTo>
                    <a:pt x="604" y="151"/>
                  </a:lnTo>
                  <a:lnTo>
                    <a:pt x="608" y="151"/>
                  </a:lnTo>
                  <a:lnTo>
                    <a:pt x="613" y="156"/>
                  </a:lnTo>
                  <a:lnTo>
                    <a:pt x="613" y="156"/>
                  </a:lnTo>
                  <a:lnTo>
                    <a:pt x="613" y="160"/>
                  </a:lnTo>
                  <a:lnTo>
                    <a:pt x="618" y="160"/>
                  </a:lnTo>
                  <a:lnTo>
                    <a:pt x="622" y="160"/>
                  </a:lnTo>
                  <a:lnTo>
                    <a:pt x="631" y="165"/>
                  </a:lnTo>
                  <a:lnTo>
                    <a:pt x="636" y="165"/>
                  </a:lnTo>
                  <a:lnTo>
                    <a:pt x="636" y="165"/>
                  </a:lnTo>
                  <a:lnTo>
                    <a:pt x="640" y="170"/>
                  </a:lnTo>
                  <a:lnTo>
                    <a:pt x="650" y="170"/>
                  </a:lnTo>
                  <a:lnTo>
                    <a:pt x="659" y="170"/>
                  </a:lnTo>
                  <a:lnTo>
                    <a:pt x="682" y="174"/>
                  </a:lnTo>
                  <a:lnTo>
                    <a:pt x="686" y="174"/>
                  </a:lnTo>
                  <a:lnTo>
                    <a:pt x="691" y="170"/>
                  </a:lnTo>
                  <a:lnTo>
                    <a:pt x="700" y="170"/>
                  </a:lnTo>
                  <a:lnTo>
                    <a:pt x="704" y="165"/>
                  </a:lnTo>
                  <a:lnTo>
                    <a:pt x="704" y="160"/>
                  </a:lnTo>
                  <a:lnTo>
                    <a:pt x="704" y="160"/>
                  </a:lnTo>
                  <a:lnTo>
                    <a:pt x="704" y="160"/>
                  </a:lnTo>
                  <a:lnTo>
                    <a:pt x="704" y="160"/>
                  </a:lnTo>
                  <a:lnTo>
                    <a:pt x="709" y="156"/>
                  </a:lnTo>
                  <a:lnTo>
                    <a:pt x="709" y="156"/>
                  </a:lnTo>
                  <a:lnTo>
                    <a:pt x="709" y="138"/>
                  </a:lnTo>
                  <a:lnTo>
                    <a:pt x="714" y="138"/>
                  </a:lnTo>
                  <a:lnTo>
                    <a:pt x="714" y="133"/>
                  </a:lnTo>
                  <a:lnTo>
                    <a:pt x="714" y="128"/>
                  </a:lnTo>
                  <a:lnTo>
                    <a:pt x="714" y="124"/>
                  </a:lnTo>
                  <a:lnTo>
                    <a:pt x="714" y="119"/>
                  </a:lnTo>
                  <a:lnTo>
                    <a:pt x="714" y="115"/>
                  </a:lnTo>
                  <a:lnTo>
                    <a:pt x="714" y="110"/>
                  </a:lnTo>
                  <a:lnTo>
                    <a:pt x="718" y="106"/>
                  </a:lnTo>
                  <a:lnTo>
                    <a:pt x="723" y="101"/>
                  </a:lnTo>
                  <a:lnTo>
                    <a:pt x="723" y="96"/>
                  </a:lnTo>
                  <a:lnTo>
                    <a:pt x="723" y="92"/>
                  </a:lnTo>
                  <a:lnTo>
                    <a:pt x="723" y="92"/>
                  </a:lnTo>
                  <a:lnTo>
                    <a:pt x="723" y="87"/>
                  </a:lnTo>
                  <a:lnTo>
                    <a:pt x="732" y="69"/>
                  </a:lnTo>
                  <a:lnTo>
                    <a:pt x="741" y="51"/>
                  </a:lnTo>
                  <a:lnTo>
                    <a:pt x="746" y="46"/>
                  </a:lnTo>
                  <a:lnTo>
                    <a:pt x="746" y="37"/>
                  </a:lnTo>
                  <a:lnTo>
                    <a:pt x="746" y="32"/>
                  </a:lnTo>
                  <a:lnTo>
                    <a:pt x="746" y="28"/>
                  </a:lnTo>
                  <a:lnTo>
                    <a:pt x="746" y="23"/>
                  </a:lnTo>
                  <a:lnTo>
                    <a:pt x="750" y="19"/>
                  </a:lnTo>
                  <a:lnTo>
                    <a:pt x="755" y="19"/>
                  </a:lnTo>
                  <a:lnTo>
                    <a:pt x="759" y="14"/>
                  </a:lnTo>
                  <a:lnTo>
                    <a:pt x="764" y="14"/>
                  </a:lnTo>
                  <a:lnTo>
                    <a:pt x="768" y="14"/>
                  </a:lnTo>
                  <a:lnTo>
                    <a:pt x="778" y="10"/>
                  </a:lnTo>
                  <a:lnTo>
                    <a:pt x="791" y="10"/>
                  </a:lnTo>
                  <a:lnTo>
                    <a:pt x="810" y="10"/>
                  </a:lnTo>
                  <a:lnTo>
                    <a:pt x="814" y="10"/>
                  </a:lnTo>
                  <a:lnTo>
                    <a:pt x="814" y="10"/>
                  </a:lnTo>
                  <a:lnTo>
                    <a:pt x="814" y="5"/>
                  </a:lnTo>
                  <a:lnTo>
                    <a:pt x="819" y="5"/>
                  </a:lnTo>
                  <a:lnTo>
                    <a:pt x="823" y="5"/>
                  </a:lnTo>
                  <a:lnTo>
                    <a:pt x="828" y="5"/>
                  </a:lnTo>
                  <a:lnTo>
                    <a:pt x="832" y="5"/>
                  </a:lnTo>
                  <a:lnTo>
                    <a:pt x="842" y="0"/>
                  </a:lnTo>
                  <a:lnTo>
                    <a:pt x="855" y="0"/>
                  </a:lnTo>
                  <a:lnTo>
                    <a:pt x="874" y="0"/>
                  </a:lnTo>
                  <a:lnTo>
                    <a:pt x="878" y="0"/>
                  </a:lnTo>
                  <a:lnTo>
                    <a:pt x="878" y="0"/>
                  </a:lnTo>
                  <a:lnTo>
                    <a:pt x="874" y="5"/>
                  </a:lnTo>
                  <a:lnTo>
                    <a:pt x="874" y="10"/>
                  </a:lnTo>
                  <a:lnTo>
                    <a:pt x="869" y="14"/>
                  </a:lnTo>
                  <a:lnTo>
                    <a:pt x="864" y="23"/>
                  </a:lnTo>
                  <a:lnTo>
                    <a:pt x="864" y="23"/>
                  </a:lnTo>
                  <a:lnTo>
                    <a:pt x="860" y="28"/>
                  </a:lnTo>
                  <a:lnTo>
                    <a:pt x="860" y="28"/>
                  </a:lnTo>
                  <a:lnTo>
                    <a:pt x="855" y="28"/>
                  </a:lnTo>
                  <a:lnTo>
                    <a:pt x="855" y="32"/>
                  </a:lnTo>
                  <a:lnTo>
                    <a:pt x="855" y="32"/>
                  </a:lnTo>
                  <a:lnTo>
                    <a:pt x="855" y="37"/>
                  </a:lnTo>
                  <a:lnTo>
                    <a:pt x="855" y="37"/>
                  </a:lnTo>
                  <a:lnTo>
                    <a:pt x="851" y="42"/>
                  </a:lnTo>
                  <a:lnTo>
                    <a:pt x="846" y="46"/>
                  </a:lnTo>
                  <a:lnTo>
                    <a:pt x="846" y="51"/>
                  </a:lnTo>
                  <a:lnTo>
                    <a:pt x="842" y="60"/>
                  </a:lnTo>
                  <a:lnTo>
                    <a:pt x="842" y="69"/>
                  </a:lnTo>
                  <a:lnTo>
                    <a:pt x="842" y="74"/>
                  </a:lnTo>
                  <a:lnTo>
                    <a:pt x="837" y="78"/>
                  </a:lnTo>
                  <a:lnTo>
                    <a:pt x="837" y="78"/>
                  </a:lnTo>
                  <a:lnTo>
                    <a:pt x="837" y="78"/>
                  </a:lnTo>
                  <a:lnTo>
                    <a:pt x="832" y="83"/>
                  </a:lnTo>
                  <a:lnTo>
                    <a:pt x="828" y="87"/>
                  </a:lnTo>
                  <a:lnTo>
                    <a:pt x="823" y="87"/>
                  </a:lnTo>
                  <a:lnTo>
                    <a:pt x="823" y="92"/>
                  </a:lnTo>
                  <a:lnTo>
                    <a:pt x="823" y="92"/>
                  </a:lnTo>
                  <a:lnTo>
                    <a:pt x="819" y="96"/>
                  </a:lnTo>
                  <a:lnTo>
                    <a:pt x="819" y="110"/>
                  </a:lnTo>
                  <a:lnTo>
                    <a:pt x="814" y="115"/>
                  </a:lnTo>
                  <a:lnTo>
                    <a:pt x="814" y="115"/>
                  </a:lnTo>
                  <a:lnTo>
                    <a:pt x="814" y="119"/>
                  </a:lnTo>
                  <a:lnTo>
                    <a:pt x="819" y="124"/>
                  </a:lnTo>
                  <a:lnTo>
                    <a:pt x="819" y="128"/>
                  </a:lnTo>
                  <a:lnTo>
                    <a:pt x="819" y="133"/>
                  </a:lnTo>
                  <a:lnTo>
                    <a:pt x="819" y="138"/>
                  </a:lnTo>
                  <a:lnTo>
                    <a:pt x="823" y="142"/>
                  </a:lnTo>
                  <a:lnTo>
                    <a:pt x="823" y="142"/>
                  </a:lnTo>
                  <a:lnTo>
                    <a:pt x="823" y="147"/>
                  </a:lnTo>
                  <a:lnTo>
                    <a:pt x="823" y="156"/>
                  </a:lnTo>
                  <a:lnTo>
                    <a:pt x="819" y="160"/>
                  </a:lnTo>
                  <a:lnTo>
                    <a:pt x="819" y="160"/>
                  </a:lnTo>
                  <a:lnTo>
                    <a:pt x="819" y="160"/>
                  </a:lnTo>
                  <a:lnTo>
                    <a:pt x="814" y="165"/>
                  </a:lnTo>
                  <a:lnTo>
                    <a:pt x="814" y="170"/>
                  </a:lnTo>
                  <a:lnTo>
                    <a:pt x="814" y="170"/>
                  </a:lnTo>
                  <a:lnTo>
                    <a:pt x="814" y="179"/>
                  </a:lnTo>
                  <a:lnTo>
                    <a:pt x="814" y="183"/>
                  </a:lnTo>
                  <a:lnTo>
                    <a:pt x="814" y="192"/>
                  </a:lnTo>
                  <a:lnTo>
                    <a:pt x="810" y="197"/>
                  </a:lnTo>
                  <a:lnTo>
                    <a:pt x="805" y="202"/>
                  </a:lnTo>
                  <a:lnTo>
                    <a:pt x="805" y="206"/>
                  </a:lnTo>
                  <a:lnTo>
                    <a:pt x="810" y="215"/>
                  </a:lnTo>
                  <a:lnTo>
                    <a:pt x="810" y="224"/>
                  </a:lnTo>
                  <a:lnTo>
                    <a:pt x="805" y="229"/>
                  </a:lnTo>
                  <a:lnTo>
                    <a:pt x="805" y="234"/>
                  </a:lnTo>
                  <a:lnTo>
                    <a:pt x="800" y="238"/>
                  </a:lnTo>
                  <a:lnTo>
                    <a:pt x="800" y="243"/>
                  </a:lnTo>
                  <a:lnTo>
                    <a:pt x="796" y="243"/>
                  </a:lnTo>
                  <a:lnTo>
                    <a:pt x="796" y="243"/>
                  </a:lnTo>
                  <a:lnTo>
                    <a:pt x="796" y="247"/>
                  </a:lnTo>
                  <a:lnTo>
                    <a:pt x="791" y="252"/>
                  </a:lnTo>
                  <a:lnTo>
                    <a:pt x="791" y="252"/>
                  </a:lnTo>
                  <a:lnTo>
                    <a:pt x="791" y="256"/>
                  </a:lnTo>
                  <a:lnTo>
                    <a:pt x="791" y="261"/>
                  </a:lnTo>
                  <a:lnTo>
                    <a:pt x="791" y="266"/>
                  </a:lnTo>
                  <a:lnTo>
                    <a:pt x="791" y="270"/>
                  </a:lnTo>
                  <a:lnTo>
                    <a:pt x="787" y="270"/>
                  </a:lnTo>
                  <a:lnTo>
                    <a:pt x="782" y="275"/>
                  </a:lnTo>
                  <a:lnTo>
                    <a:pt x="778" y="275"/>
                  </a:lnTo>
                  <a:lnTo>
                    <a:pt x="778" y="279"/>
                  </a:lnTo>
                  <a:lnTo>
                    <a:pt x="773" y="284"/>
                  </a:lnTo>
                  <a:lnTo>
                    <a:pt x="773" y="288"/>
                  </a:lnTo>
                  <a:lnTo>
                    <a:pt x="768" y="293"/>
                  </a:lnTo>
                  <a:lnTo>
                    <a:pt x="768" y="293"/>
                  </a:lnTo>
                  <a:lnTo>
                    <a:pt x="759" y="293"/>
                  </a:lnTo>
                  <a:lnTo>
                    <a:pt x="755" y="298"/>
                  </a:lnTo>
                  <a:lnTo>
                    <a:pt x="750" y="298"/>
                  </a:lnTo>
                  <a:lnTo>
                    <a:pt x="741" y="298"/>
                  </a:lnTo>
                  <a:lnTo>
                    <a:pt x="736" y="298"/>
                  </a:lnTo>
                  <a:lnTo>
                    <a:pt x="736" y="298"/>
                  </a:lnTo>
                  <a:lnTo>
                    <a:pt x="732" y="302"/>
                  </a:lnTo>
                  <a:lnTo>
                    <a:pt x="727" y="311"/>
                  </a:lnTo>
                  <a:lnTo>
                    <a:pt x="723" y="311"/>
                  </a:lnTo>
                  <a:lnTo>
                    <a:pt x="718" y="320"/>
                  </a:lnTo>
                  <a:lnTo>
                    <a:pt x="709" y="330"/>
                  </a:lnTo>
                  <a:lnTo>
                    <a:pt x="709" y="334"/>
                  </a:lnTo>
                  <a:lnTo>
                    <a:pt x="709" y="339"/>
                  </a:lnTo>
                  <a:lnTo>
                    <a:pt x="709" y="339"/>
                  </a:lnTo>
                  <a:lnTo>
                    <a:pt x="714" y="343"/>
                  </a:lnTo>
                  <a:lnTo>
                    <a:pt x="714" y="348"/>
                  </a:lnTo>
                  <a:lnTo>
                    <a:pt x="718" y="348"/>
                  </a:lnTo>
                  <a:lnTo>
                    <a:pt x="718" y="348"/>
                  </a:lnTo>
                  <a:lnTo>
                    <a:pt x="718" y="352"/>
                  </a:lnTo>
                  <a:lnTo>
                    <a:pt x="718" y="352"/>
                  </a:lnTo>
                  <a:lnTo>
                    <a:pt x="718" y="357"/>
                  </a:lnTo>
                  <a:lnTo>
                    <a:pt x="718" y="362"/>
                  </a:lnTo>
                  <a:lnTo>
                    <a:pt x="714" y="371"/>
                  </a:lnTo>
                  <a:lnTo>
                    <a:pt x="709" y="371"/>
                  </a:lnTo>
                  <a:lnTo>
                    <a:pt x="704" y="375"/>
                  </a:lnTo>
                  <a:lnTo>
                    <a:pt x="700" y="375"/>
                  </a:lnTo>
                  <a:lnTo>
                    <a:pt x="700" y="380"/>
                  </a:lnTo>
                  <a:lnTo>
                    <a:pt x="700" y="384"/>
                  </a:lnTo>
                  <a:lnTo>
                    <a:pt x="700" y="384"/>
                  </a:lnTo>
                  <a:lnTo>
                    <a:pt x="700" y="389"/>
                  </a:lnTo>
                  <a:lnTo>
                    <a:pt x="700" y="389"/>
                  </a:lnTo>
                  <a:lnTo>
                    <a:pt x="704" y="389"/>
                  </a:lnTo>
                  <a:lnTo>
                    <a:pt x="704" y="394"/>
                  </a:lnTo>
                  <a:lnTo>
                    <a:pt x="704" y="398"/>
                  </a:lnTo>
                  <a:lnTo>
                    <a:pt x="704" y="398"/>
                  </a:lnTo>
                  <a:lnTo>
                    <a:pt x="709" y="398"/>
                  </a:lnTo>
                  <a:lnTo>
                    <a:pt x="714" y="403"/>
                  </a:lnTo>
                  <a:lnTo>
                    <a:pt x="718" y="403"/>
                  </a:lnTo>
                  <a:lnTo>
                    <a:pt x="718" y="403"/>
                  </a:lnTo>
                  <a:lnTo>
                    <a:pt x="723" y="407"/>
                  </a:lnTo>
                  <a:lnTo>
                    <a:pt x="723" y="412"/>
                  </a:lnTo>
                  <a:lnTo>
                    <a:pt x="727" y="412"/>
                  </a:lnTo>
                  <a:lnTo>
                    <a:pt x="727" y="416"/>
                  </a:lnTo>
                  <a:lnTo>
                    <a:pt x="727" y="416"/>
                  </a:lnTo>
                  <a:lnTo>
                    <a:pt x="723" y="421"/>
                  </a:lnTo>
                  <a:lnTo>
                    <a:pt x="723" y="426"/>
                  </a:lnTo>
                  <a:lnTo>
                    <a:pt x="718" y="430"/>
                  </a:lnTo>
                  <a:lnTo>
                    <a:pt x="714" y="435"/>
                  </a:lnTo>
                  <a:lnTo>
                    <a:pt x="714" y="435"/>
                  </a:lnTo>
                  <a:lnTo>
                    <a:pt x="714" y="439"/>
                  </a:lnTo>
                  <a:lnTo>
                    <a:pt x="714" y="444"/>
                  </a:lnTo>
                  <a:lnTo>
                    <a:pt x="714" y="448"/>
                  </a:lnTo>
                  <a:lnTo>
                    <a:pt x="714" y="453"/>
                  </a:lnTo>
                  <a:lnTo>
                    <a:pt x="709" y="453"/>
                  </a:lnTo>
                  <a:lnTo>
                    <a:pt x="709" y="458"/>
                  </a:lnTo>
                  <a:lnTo>
                    <a:pt x="714" y="462"/>
                  </a:lnTo>
                  <a:lnTo>
                    <a:pt x="714" y="467"/>
                  </a:lnTo>
                  <a:lnTo>
                    <a:pt x="709" y="467"/>
                  </a:lnTo>
                  <a:lnTo>
                    <a:pt x="709" y="467"/>
                  </a:lnTo>
                  <a:lnTo>
                    <a:pt x="704" y="471"/>
                  </a:lnTo>
                  <a:lnTo>
                    <a:pt x="704" y="471"/>
                  </a:lnTo>
                  <a:lnTo>
                    <a:pt x="709" y="476"/>
                  </a:lnTo>
                  <a:lnTo>
                    <a:pt x="709" y="476"/>
                  </a:lnTo>
                  <a:lnTo>
                    <a:pt x="709" y="480"/>
                  </a:lnTo>
                  <a:lnTo>
                    <a:pt x="704" y="480"/>
                  </a:lnTo>
                  <a:lnTo>
                    <a:pt x="704" y="480"/>
                  </a:lnTo>
                  <a:lnTo>
                    <a:pt x="709" y="485"/>
                  </a:lnTo>
                  <a:lnTo>
                    <a:pt x="704" y="485"/>
                  </a:lnTo>
                  <a:lnTo>
                    <a:pt x="709" y="490"/>
                  </a:lnTo>
                  <a:lnTo>
                    <a:pt x="709" y="490"/>
                  </a:lnTo>
                  <a:lnTo>
                    <a:pt x="709" y="494"/>
                  </a:lnTo>
                  <a:lnTo>
                    <a:pt x="704" y="494"/>
                  </a:lnTo>
                  <a:lnTo>
                    <a:pt x="704" y="499"/>
                  </a:lnTo>
                  <a:lnTo>
                    <a:pt x="704" y="503"/>
                  </a:lnTo>
                  <a:lnTo>
                    <a:pt x="700" y="503"/>
                  </a:lnTo>
                  <a:lnTo>
                    <a:pt x="700" y="508"/>
                  </a:lnTo>
                  <a:lnTo>
                    <a:pt x="700" y="512"/>
                  </a:lnTo>
                  <a:lnTo>
                    <a:pt x="695" y="512"/>
                  </a:lnTo>
                  <a:lnTo>
                    <a:pt x="691" y="512"/>
                  </a:lnTo>
                  <a:lnTo>
                    <a:pt x="691" y="512"/>
                  </a:lnTo>
                  <a:lnTo>
                    <a:pt x="686" y="517"/>
                  </a:lnTo>
                  <a:lnTo>
                    <a:pt x="682" y="517"/>
                  </a:lnTo>
                  <a:lnTo>
                    <a:pt x="682" y="522"/>
                  </a:lnTo>
                  <a:lnTo>
                    <a:pt x="682" y="522"/>
                  </a:lnTo>
                  <a:lnTo>
                    <a:pt x="677" y="522"/>
                  </a:lnTo>
                  <a:lnTo>
                    <a:pt x="672" y="522"/>
                  </a:lnTo>
                  <a:lnTo>
                    <a:pt x="672" y="522"/>
                  </a:lnTo>
                  <a:lnTo>
                    <a:pt x="668" y="522"/>
                  </a:lnTo>
                  <a:lnTo>
                    <a:pt x="663" y="522"/>
                  </a:lnTo>
                  <a:lnTo>
                    <a:pt x="663" y="522"/>
                  </a:lnTo>
                  <a:lnTo>
                    <a:pt x="659" y="522"/>
                  </a:lnTo>
                  <a:lnTo>
                    <a:pt x="654" y="522"/>
                  </a:lnTo>
                  <a:lnTo>
                    <a:pt x="650" y="526"/>
                  </a:lnTo>
                  <a:lnTo>
                    <a:pt x="640" y="522"/>
                  </a:lnTo>
                  <a:lnTo>
                    <a:pt x="640" y="526"/>
                  </a:lnTo>
                  <a:lnTo>
                    <a:pt x="636" y="526"/>
                  </a:lnTo>
                  <a:lnTo>
                    <a:pt x="636" y="526"/>
                  </a:lnTo>
                  <a:lnTo>
                    <a:pt x="636" y="526"/>
                  </a:lnTo>
                  <a:lnTo>
                    <a:pt x="631" y="526"/>
                  </a:lnTo>
                  <a:lnTo>
                    <a:pt x="631" y="526"/>
                  </a:lnTo>
                  <a:lnTo>
                    <a:pt x="622" y="531"/>
                  </a:lnTo>
                  <a:lnTo>
                    <a:pt x="618" y="540"/>
                  </a:lnTo>
                  <a:lnTo>
                    <a:pt x="613" y="540"/>
                  </a:lnTo>
                  <a:lnTo>
                    <a:pt x="613" y="540"/>
                  </a:lnTo>
                  <a:lnTo>
                    <a:pt x="608" y="540"/>
                  </a:lnTo>
                  <a:lnTo>
                    <a:pt x="608" y="540"/>
                  </a:lnTo>
                  <a:lnTo>
                    <a:pt x="604" y="540"/>
                  </a:lnTo>
                  <a:lnTo>
                    <a:pt x="604" y="544"/>
                  </a:lnTo>
                  <a:lnTo>
                    <a:pt x="599" y="549"/>
                  </a:lnTo>
                  <a:lnTo>
                    <a:pt x="595" y="549"/>
                  </a:lnTo>
                  <a:lnTo>
                    <a:pt x="590" y="554"/>
                  </a:lnTo>
                  <a:lnTo>
                    <a:pt x="590" y="558"/>
                  </a:lnTo>
                  <a:lnTo>
                    <a:pt x="581" y="563"/>
                  </a:lnTo>
                  <a:lnTo>
                    <a:pt x="576" y="563"/>
                  </a:lnTo>
                  <a:lnTo>
                    <a:pt x="567" y="567"/>
                  </a:lnTo>
                  <a:lnTo>
                    <a:pt x="567" y="567"/>
                  </a:lnTo>
                  <a:lnTo>
                    <a:pt x="563" y="572"/>
                  </a:lnTo>
                  <a:lnTo>
                    <a:pt x="563" y="572"/>
                  </a:lnTo>
                  <a:lnTo>
                    <a:pt x="558" y="572"/>
                  </a:lnTo>
                  <a:lnTo>
                    <a:pt x="563" y="576"/>
                  </a:lnTo>
                  <a:lnTo>
                    <a:pt x="558" y="576"/>
                  </a:lnTo>
                  <a:lnTo>
                    <a:pt x="563" y="581"/>
                  </a:lnTo>
                  <a:lnTo>
                    <a:pt x="563" y="581"/>
                  </a:lnTo>
                  <a:lnTo>
                    <a:pt x="576" y="581"/>
                  </a:lnTo>
                  <a:lnTo>
                    <a:pt x="576" y="586"/>
                  </a:lnTo>
                  <a:lnTo>
                    <a:pt x="576" y="586"/>
                  </a:lnTo>
                  <a:lnTo>
                    <a:pt x="581" y="590"/>
                  </a:lnTo>
                  <a:lnTo>
                    <a:pt x="576" y="595"/>
                  </a:lnTo>
                  <a:lnTo>
                    <a:pt x="576" y="599"/>
                  </a:lnTo>
                  <a:lnTo>
                    <a:pt x="576" y="608"/>
                  </a:lnTo>
                  <a:lnTo>
                    <a:pt x="576" y="618"/>
                  </a:lnTo>
                  <a:lnTo>
                    <a:pt x="576" y="618"/>
                  </a:lnTo>
                  <a:lnTo>
                    <a:pt x="581" y="622"/>
                  </a:lnTo>
                  <a:lnTo>
                    <a:pt x="581" y="631"/>
                  </a:lnTo>
                  <a:lnTo>
                    <a:pt x="576" y="636"/>
                  </a:lnTo>
                  <a:lnTo>
                    <a:pt x="572" y="640"/>
                  </a:lnTo>
                  <a:lnTo>
                    <a:pt x="572" y="640"/>
                  </a:lnTo>
                  <a:lnTo>
                    <a:pt x="572" y="640"/>
                  </a:lnTo>
                  <a:lnTo>
                    <a:pt x="572" y="640"/>
                  </a:lnTo>
                  <a:lnTo>
                    <a:pt x="572" y="645"/>
                  </a:lnTo>
                  <a:lnTo>
                    <a:pt x="572" y="650"/>
                  </a:lnTo>
                  <a:lnTo>
                    <a:pt x="572" y="654"/>
                  </a:lnTo>
                  <a:lnTo>
                    <a:pt x="572" y="659"/>
                  </a:lnTo>
                  <a:lnTo>
                    <a:pt x="567" y="663"/>
                  </a:lnTo>
                  <a:lnTo>
                    <a:pt x="572" y="663"/>
                  </a:lnTo>
                  <a:lnTo>
                    <a:pt x="572" y="663"/>
                  </a:lnTo>
                  <a:lnTo>
                    <a:pt x="572" y="668"/>
                  </a:lnTo>
                  <a:lnTo>
                    <a:pt x="572" y="668"/>
                  </a:lnTo>
                  <a:lnTo>
                    <a:pt x="576" y="672"/>
                  </a:lnTo>
                  <a:lnTo>
                    <a:pt x="576" y="672"/>
                  </a:lnTo>
                  <a:lnTo>
                    <a:pt x="572" y="677"/>
                  </a:lnTo>
                  <a:lnTo>
                    <a:pt x="572" y="677"/>
                  </a:lnTo>
                  <a:lnTo>
                    <a:pt x="572" y="682"/>
                  </a:lnTo>
                  <a:lnTo>
                    <a:pt x="572" y="686"/>
                  </a:lnTo>
                  <a:lnTo>
                    <a:pt x="572" y="691"/>
                  </a:lnTo>
                  <a:lnTo>
                    <a:pt x="567" y="695"/>
                  </a:lnTo>
                  <a:lnTo>
                    <a:pt x="567" y="700"/>
                  </a:lnTo>
                  <a:lnTo>
                    <a:pt x="567" y="700"/>
                  </a:lnTo>
                  <a:lnTo>
                    <a:pt x="567" y="705"/>
                  </a:lnTo>
                  <a:lnTo>
                    <a:pt x="567" y="705"/>
                  </a:lnTo>
                  <a:lnTo>
                    <a:pt x="567" y="709"/>
                  </a:lnTo>
                  <a:lnTo>
                    <a:pt x="563" y="718"/>
                  </a:lnTo>
                  <a:lnTo>
                    <a:pt x="558" y="723"/>
                  </a:lnTo>
                  <a:lnTo>
                    <a:pt x="558" y="727"/>
                  </a:lnTo>
                  <a:lnTo>
                    <a:pt x="558" y="727"/>
                  </a:lnTo>
                  <a:lnTo>
                    <a:pt x="554" y="737"/>
                  </a:lnTo>
                  <a:lnTo>
                    <a:pt x="549" y="741"/>
                  </a:lnTo>
                  <a:lnTo>
                    <a:pt x="540" y="746"/>
                  </a:lnTo>
                  <a:lnTo>
                    <a:pt x="540" y="746"/>
                  </a:lnTo>
                  <a:lnTo>
                    <a:pt x="535" y="750"/>
                  </a:lnTo>
                  <a:lnTo>
                    <a:pt x="535" y="755"/>
                  </a:lnTo>
                  <a:lnTo>
                    <a:pt x="540" y="759"/>
                  </a:lnTo>
                  <a:lnTo>
                    <a:pt x="540" y="759"/>
                  </a:lnTo>
                  <a:lnTo>
                    <a:pt x="540" y="759"/>
                  </a:lnTo>
                  <a:lnTo>
                    <a:pt x="540" y="764"/>
                  </a:lnTo>
                  <a:lnTo>
                    <a:pt x="535" y="773"/>
                  </a:lnTo>
                  <a:lnTo>
                    <a:pt x="535" y="773"/>
                  </a:lnTo>
                  <a:lnTo>
                    <a:pt x="535" y="778"/>
                  </a:lnTo>
                  <a:lnTo>
                    <a:pt x="535" y="782"/>
                  </a:lnTo>
                  <a:lnTo>
                    <a:pt x="540" y="782"/>
                  </a:lnTo>
                  <a:lnTo>
                    <a:pt x="540" y="791"/>
                  </a:lnTo>
                  <a:lnTo>
                    <a:pt x="544" y="796"/>
                  </a:lnTo>
                  <a:lnTo>
                    <a:pt x="544" y="796"/>
                  </a:lnTo>
                  <a:lnTo>
                    <a:pt x="540" y="805"/>
                  </a:lnTo>
                  <a:lnTo>
                    <a:pt x="535" y="810"/>
                  </a:lnTo>
                  <a:lnTo>
                    <a:pt x="535" y="810"/>
                  </a:lnTo>
                  <a:lnTo>
                    <a:pt x="531" y="810"/>
                  </a:lnTo>
                  <a:lnTo>
                    <a:pt x="526" y="810"/>
                  </a:lnTo>
                  <a:lnTo>
                    <a:pt x="522" y="810"/>
                  </a:lnTo>
                  <a:lnTo>
                    <a:pt x="517" y="810"/>
                  </a:lnTo>
                  <a:lnTo>
                    <a:pt x="517" y="810"/>
                  </a:lnTo>
                  <a:lnTo>
                    <a:pt x="517" y="810"/>
                  </a:lnTo>
                  <a:lnTo>
                    <a:pt x="512" y="810"/>
                  </a:lnTo>
                  <a:lnTo>
                    <a:pt x="512" y="814"/>
                  </a:lnTo>
                  <a:lnTo>
                    <a:pt x="508" y="819"/>
                  </a:lnTo>
                  <a:lnTo>
                    <a:pt x="508" y="819"/>
                  </a:lnTo>
                  <a:lnTo>
                    <a:pt x="508" y="828"/>
                  </a:lnTo>
                  <a:lnTo>
                    <a:pt x="508" y="833"/>
                  </a:lnTo>
                  <a:lnTo>
                    <a:pt x="508" y="837"/>
                  </a:lnTo>
                  <a:lnTo>
                    <a:pt x="499" y="842"/>
                  </a:lnTo>
                  <a:lnTo>
                    <a:pt x="499" y="842"/>
                  </a:lnTo>
                  <a:lnTo>
                    <a:pt x="499" y="851"/>
                  </a:lnTo>
                  <a:lnTo>
                    <a:pt x="499" y="851"/>
                  </a:lnTo>
                  <a:lnTo>
                    <a:pt x="494" y="851"/>
                  </a:lnTo>
                  <a:lnTo>
                    <a:pt x="494" y="851"/>
                  </a:lnTo>
                  <a:lnTo>
                    <a:pt x="490" y="855"/>
                  </a:lnTo>
                  <a:lnTo>
                    <a:pt x="490" y="855"/>
                  </a:lnTo>
                  <a:lnTo>
                    <a:pt x="485" y="851"/>
                  </a:lnTo>
                  <a:lnTo>
                    <a:pt x="480" y="855"/>
                  </a:lnTo>
                  <a:lnTo>
                    <a:pt x="476" y="860"/>
                  </a:lnTo>
                  <a:lnTo>
                    <a:pt x="462" y="869"/>
                  </a:lnTo>
                  <a:lnTo>
                    <a:pt x="458" y="869"/>
                  </a:lnTo>
                  <a:lnTo>
                    <a:pt x="458" y="869"/>
                  </a:lnTo>
                  <a:lnTo>
                    <a:pt x="453" y="869"/>
                  </a:lnTo>
                  <a:lnTo>
                    <a:pt x="453" y="869"/>
                  </a:lnTo>
                  <a:lnTo>
                    <a:pt x="448" y="869"/>
                  </a:lnTo>
                  <a:lnTo>
                    <a:pt x="439" y="865"/>
                  </a:lnTo>
                  <a:lnTo>
                    <a:pt x="435" y="865"/>
                  </a:lnTo>
                  <a:lnTo>
                    <a:pt x="426" y="860"/>
                  </a:lnTo>
                  <a:lnTo>
                    <a:pt x="421" y="860"/>
                  </a:lnTo>
                  <a:lnTo>
                    <a:pt x="416" y="860"/>
                  </a:lnTo>
                  <a:lnTo>
                    <a:pt x="416" y="865"/>
                  </a:lnTo>
                  <a:lnTo>
                    <a:pt x="416" y="865"/>
                  </a:lnTo>
                  <a:lnTo>
                    <a:pt x="416" y="865"/>
                  </a:lnTo>
                  <a:lnTo>
                    <a:pt x="412" y="869"/>
                  </a:lnTo>
                  <a:lnTo>
                    <a:pt x="416" y="874"/>
                  </a:lnTo>
                  <a:lnTo>
                    <a:pt x="412" y="874"/>
                  </a:lnTo>
                  <a:lnTo>
                    <a:pt x="412" y="878"/>
                  </a:lnTo>
                  <a:lnTo>
                    <a:pt x="412" y="878"/>
                  </a:lnTo>
                  <a:lnTo>
                    <a:pt x="407" y="878"/>
                  </a:lnTo>
                  <a:lnTo>
                    <a:pt x="407" y="883"/>
                  </a:lnTo>
                  <a:lnTo>
                    <a:pt x="403" y="887"/>
                  </a:lnTo>
                  <a:lnTo>
                    <a:pt x="403" y="887"/>
                  </a:lnTo>
                  <a:lnTo>
                    <a:pt x="403" y="892"/>
                  </a:lnTo>
                  <a:lnTo>
                    <a:pt x="403" y="897"/>
                  </a:lnTo>
                  <a:lnTo>
                    <a:pt x="403" y="901"/>
                  </a:lnTo>
                  <a:lnTo>
                    <a:pt x="394" y="910"/>
                  </a:lnTo>
                  <a:lnTo>
                    <a:pt x="394" y="915"/>
                  </a:lnTo>
                  <a:lnTo>
                    <a:pt x="389" y="915"/>
                  </a:lnTo>
                  <a:lnTo>
                    <a:pt x="389" y="915"/>
                  </a:lnTo>
                  <a:lnTo>
                    <a:pt x="380" y="915"/>
                  </a:lnTo>
                  <a:lnTo>
                    <a:pt x="380" y="915"/>
                  </a:lnTo>
                  <a:lnTo>
                    <a:pt x="375" y="915"/>
                  </a:lnTo>
                  <a:lnTo>
                    <a:pt x="371" y="919"/>
                  </a:lnTo>
                  <a:lnTo>
                    <a:pt x="371" y="919"/>
                  </a:lnTo>
                  <a:lnTo>
                    <a:pt x="371" y="919"/>
                  </a:lnTo>
                  <a:lnTo>
                    <a:pt x="366" y="924"/>
                  </a:lnTo>
                  <a:lnTo>
                    <a:pt x="357" y="919"/>
                  </a:lnTo>
                  <a:lnTo>
                    <a:pt x="352" y="919"/>
                  </a:lnTo>
                  <a:lnTo>
                    <a:pt x="352" y="919"/>
                  </a:lnTo>
                  <a:lnTo>
                    <a:pt x="343" y="924"/>
                  </a:lnTo>
                  <a:lnTo>
                    <a:pt x="343" y="924"/>
                  </a:lnTo>
                  <a:lnTo>
                    <a:pt x="343" y="924"/>
                  </a:lnTo>
                  <a:lnTo>
                    <a:pt x="343" y="929"/>
                  </a:lnTo>
                  <a:lnTo>
                    <a:pt x="339" y="929"/>
                  </a:lnTo>
                  <a:lnTo>
                    <a:pt x="334" y="929"/>
                  </a:lnTo>
                  <a:lnTo>
                    <a:pt x="330" y="929"/>
                  </a:lnTo>
                  <a:lnTo>
                    <a:pt x="330" y="933"/>
                  </a:lnTo>
                  <a:lnTo>
                    <a:pt x="325" y="933"/>
                  </a:lnTo>
                  <a:lnTo>
                    <a:pt x="325" y="942"/>
                  </a:lnTo>
                  <a:lnTo>
                    <a:pt x="320" y="956"/>
                  </a:lnTo>
                  <a:lnTo>
                    <a:pt x="320" y="961"/>
                  </a:lnTo>
                  <a:lnTo>
                    <a:pt x="325" y="961"/>
                  </a:lnTo>
                  <a:lnTo>
                    <a:pt x="325" y="965"/>
                  </a:lnTo>
                  <a:lnTo>
                    <a:pt x="325" y="974"/>
                  </a:lnTo>
                  <a:lnTo>
                    <a:pt x="330" y="979"/>
                  </a:lnTo>
                  <a:lnTo>
                    <a:pt x="330" y="993"/>
                  </a:lnTo>
                  <a:lnTo>
                    <a:pt x="334" y="1011"/>
                  </a:lnTo>
                  <a:lnTo>
                    <a:pt x="334" y="1025"/>
                  </a:lnTo>
                  <a:lnTo>
                    <a:pt x="334" y="1034"/>
                  </a:lnTo>
                  <a:lnTo>
                    <a:pt x="334" y="1034"/>
                  </a:lnTo>
                  <a:lnTo>
                    <a:pt x="330" y="1034"/>
                  </a:lnTo>
                  <a:lnTo>
                    <a:pt x="330" y="1043"/>
                  </a:lnTo>
                  <a:lnTo>
                    <a:pt x="325" y="1047"/>
                  </a:lnTo>
                  <a:lnTo>
                    <a:pt x="320" y="1052"/>
                  </a:lnTo>
                  <a:lnTo>
                    <a:pt x="316" y="1057"/>
                  </a:lnTo>
                  <a:lnTo>
                    <a:pt x="316" y="1061"/>
                  </a:lnTo>
                  <a:lnTo>
                    <a:pt x="316" y="1061"/>
                  </a:lnTo>
                  <a:lnTo>
                    <a:pt x="316" y="1070"/>
                  </a:lnTo>
                  <a:lnTo>
                    <a:pt x="316" y="1070"/>
                  </a:lnTo>
                  <a:lnTo>
                    <a:pt x="320" y="1079"/>
                  </a:lnTo>
                  <a:lnTo>
                    <a:pt x="316" y="1084"/>
                  </a:lnTo>
                  <a:lnTo>
                    <a:pt x="316" y="1089"/>
                  </a:lnTo>
                  <a:lnTo>
                    <a:pt x="320" y="1089"/>
                  </a:lnTo>
                  <a:lnTo>
                    <a:pt x="320" y="1093"/>
                  </a:lnTo>
                  <a:lnTo>
                    <a:pt x="320" y="1093"/>
                  </a:lnTo>
                  <a:lnTo>
                    <a:pt x="320" y="1098"/>
                  </a:lnTo>
                  <a:lnTo>
                    <a:pt x="320" y="1102"/>
                  </a:lnTo>
                  <a:lnTo>
                    <a:pt x="316" y="1107"/>
                  </a:lnTo>
                  <a:lnTo>
                    <a:pt x="311" y="1111"/>
                  </a:lnTo>
                  <a:lnTo>
                    <a:pt x="311" y="1116"/>
                  </a:lnTo>
                  <a:lnTo>
                    <a:pt x="311" y="1121"/>
                  </a:lnTo>
                  <a:lnTo>
                    <a:pt x="307" y="1121"/>
                  </a:lnTo>
                  <a:lnTo>
                    <a:pt x="307" y="1121"/>
                  </a:lnTo>
                  <a:lnTo>
                    <a:pt x="302" y="1125"/>
                  </a:lnTo>
                  <a:lnTo>
                    <a:pt x="302" y="1125"/>
                  </a:lnTo>
                  <a:lnTo>
                    <a:pt x="298" y="1130"/>
                  </a:lnTo>
                  <a:lnTo>
                    <a:pt x="298" y="1134"/>
                  </a:lnTo>
                  <a:lnTo>
                    <a:pt x="293" y="1139"/>
                  </a:lnTo>
                  <a:lnTo>
                    <a:pt x="288" y="1143"/>
                  </a:lnTo>
                  <a:lnTo>
                    <a:pt x="288" y="1148"/>
                  </a:lnTo>
                  <a:lnTo>
                    <a:pt x="279" y="1153"/>
                  </a:lnTo>
                  <a:lnTo>
                    <a:pt x="275" y="1157"/>
                  </a:lnTo>
                  <a:lnTo>
                    <a:pt x="270" y="1162"/>
                  </a:lnTo>
                  <a:lnTo>
                    <a:pt x="270" y="1171"/>
                  </a:lnTo>
                  <a:lnTo>
                    <a:pt x="266" y="1175"/>
                  </a:lnTo>
                  <a:lnTo>
                    <a:pt x="266" y="1175"/>
                  </a:lnTo>
                  <a:lnTo>
                    <a:pt x="261" y="1175"/>
                  </a:lnTo>
                  <a:lnTo>
                    <a:pt x="261" y="1180"/>
                  </a:lnTo>
                  <a:lnTo>
                    <a:pt x="261" y="1185"/>
                  </a:lnTo>
                  <a:lnTo>
                    <a:pt x="261" y="1189"/>
                  </a:lnTo>
                  <a:lnTo>
                    <a:pt x="256" y="1194"/>
                  </a:lnTo>
                  <a:lnTo>
                    <a:pt x="256" y="1194"/>
                  </a:lnTo>
                  <a:lnTo>
                    <a:pt x="252" y="1198"/>
                  </a:lnTo>
                  <a:lnTo>
                    <a:pt x="252" y="1203"/>
                  </a:lnTo>
                  <a:lnTo>
                    <a:pt x="252" y="1207"/>
                  </a:lnTo>
                  <a:lnTo>
                    <a:pt x="252" y="1217"/>
                  </a:lnTo>
                  <a:lnTo>
                    <a:pt x="252" y="1221"/>
                  </a:lnTo>
                  <a:lnTo>
                    <a:pt x="247" y="1221"/>
                  </a:lnTo>
                  <a:lnTo>
                    <a:pt x="247" y="1221"/>
                  </a:lnTo>
                  <a:lnTo>
                    <a:pt x="243" y="1226"/>
                  </a:lnTo>
                  <a:lnTo>
                    <a:pt x="243" y="1230"/>
                  </a:lnTo>
                  <a:lnTo>
                    <a:pt x="247" y="1235"/>
                  </a:lnTo>
                  <a:lnTo>
                    <a:pt x="247" y="1249"/>
                  </a:lnTo>
                  <a:lnTo>
                    <a:pt x="247" y="1258"/>
                  </a:lnTo>
                  <a:lnTo>
                    <a:pt x="247" y="1267"/>
                  </a:lnTo>
                  <a:lnTo>
                    <a:pt x="247" y="1271"/>
                  </a:lnTo>
                  <a:lnTo>
                    <a:pt x="252" y="1276"/>
                  </a:lnTo>
                  <a:lnTo>
                    <a:pt x="243" y="1281"/>
                  </a:lnTo>
                  <a:lnTo>
                    <a:pt x="238" y="1281"/>
                  </a:lnTo>
                  <a:lnTo>
                    <a:pt x="238" y="1285"/>
                  </a:lnTo>
                  <a:lnTo>
                    <a:pt x="234" y="1285"/>
                  </a:lnTo>
                  <a:lnTo>
                    <a:pt x="224" y="1285"/>
                  </a:lnTo>
                  <a:lnTo>
                    <a:pt x="220" y="1290"/>
                  </a:lnTo>
                  <a:lnTo>
                    <a:pt x="220" y="1290"/>
                  </a:lnTo>
                  <a:lnTo>
                    <a:pt x="211" y="1299"/>
                  </a:lnTo>
                  <a:lnTo>
                    <a:pt x="206" y="1303"/>
                  </a:lnTo>
                  <a:lnTo>
                    <a:pt x="202" y="1313"/>
                  </a:lnTo>
                  <a:lnTo>
                    <a:pt x="197" y="1313"/>
                  </a:lnTo>
                  <a:lnTo>
                    <a:pt x="197" y="1313"/>
                  </a:lnTo>
                  <a:lnTo>
                    <a:pt x="197" y="1303"/>
                  </a:lnTo>
                  <a:lnTo>
                    <a:pt x="192" y="1299"/>
                  </a:lnTo>
                  <a:lnTo>
                    <a:pt x="188" y="1290"/>
                  </a:lnTo>
                  <a:lnTo>
                    <a:pt x="188" y="1276"/>
                  </a:lnTo>
                  <a:lnTo>
                    <a:pt x="183" y="1276"/>
                  </a:lnTo>
                  <a:lnTo>
                    <a:pt x="183" y="1276"/>
                  </a:lnTo>
                  <a:lnTo>
                    <a:pt x="183" y="1271"/>
                  </a:lnTo>
                  <a:lnTo>
                    <a:pt x="179" y="1258"/>
                  </a:lnTo>
                  <a:lnTo>
                    <a:pt x="179" y="1244"/>
                  </a:lnTo>
                  <a:lnTo>
                    <a:pt x="179" y="1239"/>
                  </a:lnTo>
                  <a:lnTo>
                    <a:pt x="179" y="1235"/>
                  </a:lnTo>
                  <a:lnTo>
                    <a:pt x="179" y="1230"/>
                  </a:lnTo>
                  <a:lnTo>
                    <a:pt x="179" y="1226"/>
                  </a:lnTo>
                  <a:lnTo>
                    <a:pt x="179" y="1217"/>
                  </a:lnTo>
                  <a:lnTo>
                    <a:pt x="179" y="1212"/>
                  </a:lnTo>
                  <a:lnTo>
                    <a:pt x="179" y="1203"/>
                  </a:lnTo>
                  <a:lnTo>
                    <a:pt x="174" y="1194"/>
                  </a:lnTo>
                  <a:lnTo>
                    <a:pt x="174" y="1189"/>
                  </a:lnTo>
                  <a:lnTo>
                    <a:pt x="170" y="1189"/>
                  </a:lnTo>
                  <a:lnTo>
                    <a:pt x="165" y="1185"/>
                  </a:lnTo>
                  <a:lnTo>
                    <a:pt x="165" y="1180"/>
                  </a:lnTo>
                  <a:lnTo>
                    <a:pt x="160" y="1180"/>
                  </a:lnTo>
                  <a:lnTo>
                    <a:pt x="160" y="1175"/>
                  </a:lnTo>
                  <a:lnTo>
                    <a:pt x="156" y="1175"/>
                  </a:lnTo>
                  <a:lnTo>
                    <a:pt x="156" y="1175"/>
                  </a:lnTo>
                  <a:lnTo>
                    <a:pt x="156" y="1171"/>
                  </a:lnTo>
                  <a:lnTo>
                    <a:pt x="151" y="1171"/>
                  </a:lnTo>
                  <a:lnTo>
                    <a:pt x="142" y="1166"/>
                  </a:lnTo>
                  <a:lnTo>
                    <a:pt x="138" y="1162"/>
                  </a:lnTo>
                  <a:lnTo>
                    <a:pt x="133" y="1153"/>
                  </a:lnTo>
                  <a:lnTo>
                    <a:pt x="133" y="1153"/>
                  </a:lnTo>
                  <a:lnTo>
                    <a:pt x="133" y="1148"/>
                  </a:lnTo>
                  <a:lnTo>
                    <a:pt x="128" y="1148"/>
                  </a:lnTo>
                  <a:lnTo>
                    <a:pt x="119" y="1139"/>
                  </a:lnTo>
                  <a:lnTo>
                    <a:pt x="119" y="1134"/>
                  </a:lnTo>
                  <a:lnTo>
                    <a:pt x="115" y="1134"/>
                  </a:lnTo>
                  <a:lnTo>
                    <a:pt x="115" y="1130"/>
                  </a:lnTo>
                  <a:lnTo>
                    <a:pt x="110" y="1130"/>
                  </a:lnTo>
                  <a:lnTo>
                    <a:pt x="110" y="1125"/>
                  </a:lnTo>
                  <a:lnTo>
                    <a:pt x="106" y="1125"/>
                  </a:lnTo>
                  <a:lnTo>
                    <a:pt x="101" y="1125"/>
                  </a:lnTo>
                  <a:lnTo>
                    <a:pt x="96" y="1125"/>
                  </a:lnTo>
                  <a:lnTo>
                    <a:pt x="92" y="1125"/>
                  </a:lnTo>
                  <a:lnTo>
                    <a:pt x="92" y="1130"/>
                  </a:lnTo>
                  <a:lnTo>
                    <a:pt x="87" y="1134"/>
                  </a:lnTo>
                  <a:lnTo>
                    <a:pt x="87" y="1139"/>
                  </a:lnTo>
                  <a:lnTo>
                    <a:pt x="87" y="1143"/>
                  </a:lnTo>
                  <a:lnTo>
                    <a:pt x="83" y="1148"/>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black"/>
                </a:solidFill>
                <a:effectLst/>
                <a:uLnTx/>
                <a:uFillTx/>
                <a:latin typeface="Georgia" panose="02040502050405020303" pitchFamily="18" charset="0"/>
                <a:cs typeface="Arial" panose="020B0604020202020204" pitchFamily="34" charset="0"/>
                <a:sym typeface="Arial"/>
              </a:endParaRPr>
            </a:p>
          </p:txBody>
        </p:sp>
        <p:sp>
          <p:nvSpPr>
            <p:cNvPr id="91" name="Freeform 8">
              <a:extLst>
                <a:ext uri="{FF2B5EF4-FFF2-40B4-BE49-F238E27FC236}">
                  <a16:creationId xmlns:a16="http://schemas.microsoft.com/office/drawing/2014/main" id="{C0F199FE-29F0-40D4-B259-C38CF8647973}"/>
                </a:ext>
              </a:extLst>
            </p:cNvPr>
            <p:cNvSpPr>
              <a:spLocks noEditPoints="1"/>
            </p:cNvSpPr>
            <p:nvPr>
              <p:custDataLst>
                <p:tags r:id="rId3"/>
              </p:custDataLst>
            </p:nvPr>
          </p:nvSpPr>
          <p:spPr bwMode="auto">
            <a:xfrm>
              <a:off x="1712200" y="4004935"/>
              <a:ext cx="299783" cy="402487"/>
            </a:xfrm>
            <a:custGeom>
              <a:avLst/>
              <a:gdLst/>
              <a:ahLst/>
              <a:cxnLst>
                <a:cxn ang="0">
                  <a:pos x="320" y="265"/>
                </a:cxn>
                <a:cxn ang="0">
                  <a:pos x="329" y="275"/>
                </a:cxn>
                <a:cxn ang="0">
                  <a:pos x="338" y="339"/>
                </a:cxn>
                <a:cxn ang="0">
                  <a:pos x="343" y="348"/>
                </a:cxn>
                <a:cxn ang="0">
                  <a:pos x="334" y="357"/>
                </a:cxn>
                <a:cxn ang="0">
                  <a:pos x="338" y="339"/>
                </a:cxn>
                <a:cxn ang="0">
                  <a:pos x="46" y="371"/>
                </a:cxn>
                <a:cxn ang="0">
                  <a:pos x="41" y="343"/>
                </a:cxn>
                <a:cxn ang="0">
                  <a:pos x="46" y="316"/>
                </a:cxn>
                <a:cxn ang="0">
                  <a:pos x="41" y="293"/>
                </a:cxn>
                <a:cxn ang="0">
                  <a:pos x="28" y="275"/>
                </a:cxn>
                <a:cxn ang="0">
                  <a:pos x="18" y="265"/>
                </a:cxn>
                <a:cxn ang="0">
                  <a:pos x="18" y="247"/>
                </a:cxn>
                <a:cxn ang="0">
                  <a:pos x="9" y="229"/>
                </a:cxn>
                <a:cxn ang="0">
                  <a:pos x="23" y="211"/>
                </a:cxn>
                <a:cxn ang="0">
                  <a:pos x="9" y="206"/>
                </a:cxn>
                <a:cxn ang="0">
                  <a:pos x="9" y="192"/>
                </a:cxn>
                <a:cxn ang="0">
                  <a:pos x="28" y="165"/>
                </a:cxn>
                <a:cxn ang="0">
                  <a:pos x="28" y="128"/>
                </a:cxn>
                <a:cxn ang="0">
                  <a:pos x="41" y="101"/>
                </a:cxn>
                <a:cxn ang="0">
                  <a:pos x="28" y="83"/>
                </a:cxn>
                <a:cxn ang="0">
                  <a:pos x="69" y="78"/>
                </a:cxn>
                <a:cxn ang="0">
                  <a:pos x="60" y="51"/>
                </a:cxn>
                <a:cxn ang="0">
                  <a:pos x="87" y="28"/>
                </a:cxn>
                <a:cxn ang="0">
                  <a:pos x="110" y="0"/>
                </a:cxn>
                <a:cxn ang="0">
                  <a:pos x="128" y="37"/>
                </a:cxn>
                <a:cxn ang="0">
                  <a:pos x="160" y="64"/>
                </a:cxn>
                <a:cxn ang="0">
                  <a:pos x="146" y="78"/>
                </a:cxn>
                <a:cxn ang="0">
                  <a:pos x="174" y="92"/>
                </a:cxn>
                <a:cxn ang="0">
                  <a:pos x="206" y="101"/>
                </a:cxn>
                <a:cxn ang="0">
                  <a:pos x="242" y="124"/>
                </a:cxn>
                <a:cxn ang="0">
                  <a:pos x="247" y="174"/>
                </a:cxn>
                <a:cxn ang="0">
                  <a:pos x="297" y="215"/>
                </a:cxn>
                <a:cxn ang="0">
                  <a:pos x="316" y="261"/>
                </a:cxn>
                <a:cxn ang="0">
                  <a:pos x="311" y="265"/>
                </a:cxn>
                <a:cxn ang="0">
                  <a:pos x="320" y="284"/>
                </a:cxn>
                <a:cxn ang="0">
                  <a:pos x="334" y="297"/>
                </a:cxn>
                <a:cxn ang="0">
                  <a:pos x="334" y="307"/>
                </a:cxn>
                <a:cxn ang="0">
                  <a:pos x="334" y="325"/>
                </a:cxn>
                <a:cxn ang="0">
                  <a:pos x="338" y="334"/>
                </a:cxn>
                <a:cxn ang="0">
                  <a:pos x="329" y="348"/>
                </a:cxn>
                <a:cxn ang="0">
                  <a:pos x="325" y="361"/>
                </a:cxn>
                <a:cxn ang="0">
                  <a:pos x="320" y="375"/>
                </a:cxn>
                <a:cxn ang="0">
                  <a:pos x="293" y="375"/>
                </a:cxn>
                <a:cxn ang="0">
                  <a:pos x="256" y="375"/>
                </a:cxn>
                <a:cxn ang="0">
                  <a:pos x="210" y="375"/>
                </a:cxn>
                <a:cxn ang="0">
                  <a:pos x="188" y="375"/>
                </a:cxn>
                <a:cxn ang="0">
                  <a:pos x="142" y="384"/>
                </a:cxn>
                <a:cxn ang="0">
                  <a:pos x="124" y="389"/>
                </a:cxn>
                <a:cxn ang="0">
                  <a:pos x="92" y="393"/>
                </a:cxn>
                <a:cxn ang="0">
                  <a:pos x="87" y="393"/>
                </a:cxn>
                <a:cxn ang="0">
                  <a:pos x="69" y="398"/>
                </a:cxn>
                <a:cxn ang="0">
                  <a:pos x="64" y="398"/>
                </a:cxn>
                <a:cxn ang="0">
                  <a:pos x="55" y="384"/>
                </a:cxn>
              </a:cxnLst>
              <a:rect l="0" t="0" r="r" b="b"/>
              <a:pathLst>
                <a:path w="343" h="398">
                  <a:moveTo>
                    <a:pt x="329" y="279"/>
                  </a:moveTo>
                  <a:lnTo>
                    <a:pt x="325" y="279"/>
                  </a:lnTo>
                  <a:lnTo>
                    <a:pt x="320" y="275"/>
                  </a:lnTo>
                  <a:lnTo>
                    <a:pt x="320" y="265"/>
                  </a:lnTo>
                  <a:lnTo>
                    <a:pt x="320" y="265"/>
                  </a:lnTo>
                  <a:lnTo>
                    <a:pt x="320" y="265"/>
                  </a:lnTo>
                  <a:lnTo>
                    <a:pt x="325" y="265"/>
                  </a:lnTo>
                  <a:lnTo>
                    <a:pt x="325" y="270"/>
                  </a:lnTo>
                  <a:lnTo>
                    <a:pt x="329" y="275"/>
                  </a:lnTo>
                  <a:lnTo>
                    <a:pt x="329" y="275"/>
                  </a:lnTo>
                  <a:lnTo>
                    <a:pt x="329" y="279"/>
                  </a:lnTo>
                  <a:lnTo>
                    <a:pt x="329" y="279"/>
                  </a:lnTo>
                  <a:lnTo>
                    <a:pt x="329" y="279"/>
                  </a:lnTo>
                  <a:close/>
                  <a:moveTo>
                    <a:pt x="338" y="339"/>
                  </a:moveTo>
                  <a:lnTo>
                    <a:pt x="338" y="339"/>
                  </a:lnTo>
                  <a:lnTo>
                    <a:pt x="338" y="339"/>
                  </a:lnTo>
                  <a:lnTo>
                    <a:pt x="343" y="339"/>
                  </a:lnTo>
                  <a:lnTo>
                    <a:pt x="343" y="343"/>
                  </a:lnTo>
                  <a:lnTo>
                    <a:pt x="343" y="348"/>
                  </a:lnTo>
                  <a:lnTo>
                    <a:pt x="343" y="348"/>
                  </a:lnTo>
                  <a:lnTo>
                    <a:pt x="343" y="352"/>
                  </a:lnTo>
                  <a:lnTo>
                    <a:pt x="343" y="357"/>
                  </a:lnTo>
                  <a:lnTo>
                    <a:pt x="338" y="357"/>
                  </a:lnTo>
                  <a:lnTo>
                    <a:pt x="334" y="357"/>
                  </a:lnTo>
                  <a:lnTo>
                    <a:pt x="334" y="357"/>
                  </a:lnTo>
                  <a:lnTo>
                    <a:pt x="329" y="348"/>
                  </a:lnTo>
                  <a:lnTo>
                    <a:pt x="329" y="348"/>
                  </a:lnTo>
                  <a:lnTo>
                    <a:pt x="334" y="348"/>
                  </a:lnTo>
                  <a:lnTo>
                    <a:pt x="338" y="343"/>
                  </a:lnTo>
                  <a:lnTo>
                    <a:pt x="338" y="339"/>
                  </a:lnTo>
                  <a:lnTo>
                    <a:pt x="338" y="339"/>
                  </a:lnTo>
                  <a:close/>
                  <a:moveTo>
                    <a:pt x="55" y="384"/>
                  </a:moveTo>
                  <a:lnTo>
                    <a:pt x="50" y="384"/>
                  </a:lnTo>
                  <a:lnTo>
                    <a:pt x="46" y="380"/>
                  </a:lnTo>
                  <a:lnTo>
                    <a:pt x="46" y="371"/>
                  </a:lnTo>
                  <a:lnTo>
                    <a:pt x="46" y="366"/>
                  </a:lnTo>
                  <a:lnTo>
                    <a:pt x="46" y="357"/>
                  </a:lnTo>
                  <a:lnTo>
                    <a:pt x="41" y="357"/>
                  </a:lnTo>
                  <a:lnTo>
                    <a:pt x="41" y="343"/>
                  </a:lnTo>
                  <a:lnTo>
                    <a:pt x="41" y="343"/>
                  </a:lnTo>
                  <a:lnTo>
                    <a:pt x="41" y="339"/>
                  </a:lnTo>
                  <a:lnTo>
                    <a:pt x="41" y="329"/>
                  </a:lnTo>
                  <a:lnTo>
                    <a:pt x="41" y="325"/>
                  </a:lnTo>
                  <a:lnTo>
                    <a:pt x="41" y="320"/>
                  </a:lnTo>
                  <a:lnTo>
                    <a:pt x="46" y="316"/>
                  </a:lnTo>
                  <a:lnTo>
                    <a:pt x="46" y="311"/>
                  </a:lnTo>
                  <a:lnTo>
                    <a:pt x="46" y="307"/>
                  </a:lnTo>
                  <a:lnTo>
                    <a:pt x="46" y="302"/>
                  </a:lnTo>
                  <a:lnTo>
                    <a:pt x="46" y="302"/>
                  </a:lnTo>
                  <a:lnTo>
                    <a:pt x="41" y="293"/>
                  </a:lnTo>
                  <a:lnTo>
                    <a:pt x="41" y="288"/>
                  </a:lnTo>
                  <a:lnTo>
                    <a:pt x="37" y="279"/>
                  </a:lnTo>
                  <a:lnTo>
                    <a:pt x="37" y="279"/>
                  </a:lnTo>
                  <a:lnTo>
                    <a:pt x="32" y="275"/>
                  </a:lnTo>
                  <a:lnTo>
                    <a:pt x="28" y="275"/>
                  </a:lnTo>
                  <a:lnTo>
                    <a:pt x="28" y="270"/>
                  </a:lnTo>
                  <a:lnTo>
                    <a:pt x="23" y="270"/>
                  </a:lnTo>
                  <a:lnTo>
                    <a:pt x="23" y="265"/>
                  </a:lnTo>
                  <a:lnTo>
                    <a:pt x="18" y="265"/>
                  </a:lnTo>
                  <a:lnTo>
                    <a:pt x="18" y="265"/>
                  </a:lnTo>
                  <a:lnTo>
                    <a:pt x="9" y="261"/>
                  </a:lnTo>
                  <a:lnTo>
                    <a:pt x="14" y="256"/>
                  </a:lnTo>
                  <a:lnTo>
                    <a:pt x="18" y="256"/>
                  </a:lnTo>
                  <a:lnTo>
                    <a:pt x="18" y="252"/>
                  </a:lnTo>
                  <a:lnTo>
                    <a:pt x="18" y="247"/>
                  </a:lnTo>
                  <a:lnTo>
                    <a:pt x="18" y="243"/>
                  </a:lnTo>
                  <a:lnTo>
                    <a:pt x="18" y="238"/>
                  </a:lnTo>
                  <a:lnTo>
                    <a:pt x="14" y="233"/>
                  </a:lnTo>
                  <a:lnTo>
                    <a:pt x="5" y="229"/>
                  </a:lnTo>
                  <a:lnTo>
                    <a:pt x="9" y="229"/>
                  </a:lnTo>
                  <a:lnTo>
                    <a:pt x="9" y="224"/>
                  </a:lnTo>
                  <a:lnTo>
                    <a:pt x="14" y="224"/>
                  </a:lnTo>
                  <a:lnTo>
                    <a:pt x="18" y="220"/>
                  </a:lnTo>
                  <a:lnTo>
                    <a:pt x="18" y="211"/>
                  </a:lnTo>
                  <a:lnTo>
                    <a:pt x="23" y="211"/>
                  </a:lnTo>
                  <a:lnTo>
                    <a:pt x="28" y="206"/>
                  </a:lnTo>
                  <a:lnTo>
                    <a:pt x="28" y="206"/>
                  </a:lnTo>
                  <a:lnTo>
                    <a:pt x="23" y="201"/>
                  </a:lnTo>
                  <a:lnTo>
                    <a:pt x="18" y="206"/>
                  </a:lnTo>
                  <a:lnTo>
                    <a:pt x="9" y="206"/>
                  </a:lnTo>
                  <a:lnTo>
                    <a:pt x="5" y="206"/>
                  </a:lnTo>
                  <a:lnTo>
                    <a:pt x="0" y="201"/>
                  </a:lnTo>
                  <a:lnTo>
                    <a:pt x="5" y="201"/>
                  </a:lnTo>
                  <a:lnTo>
                    <a:pt x="5" y="197"/>
                  </a:lnTo>
                  <a:lnTo>
                    <a:pt x="9" y="192"/>
                  </a:lnTo>
                  <a:lnTo>
                    <a:pt x="14" y="192"/>
                  </a:lnTo>
                  <a:lnTo>
                    <a:pt x="18" y="188"/>
                  </a:lnTo>
                  <a:lnTo>
                    <a:pt x="18" y="183"/>
                  </a:lnTo>
                  <a:lnTo>
                    <a:pt x="23" y="174"/>
                  </a:lnTo>
                  <a:lnTo>
                    <a:pt x="28" y="165"/>
                  </a:lnTo>
                  <a:lnTo>
                    <a:pt x="32" y="151"/>
                  </a:lnTo>
                  <a:lnTo>
                    <a:pt x="28" y="147"/>
                  </a:lnTo>
                  <a:lnTo>
                    <a:pt x="28" y="142"/>
                  </a:lnTo>
                  <a:lnTo>
                    <a:pt x="28" y="137"/>
                  </a:lnTo>
                  <a:lnTo>
                    <a:pt x="28" y="128"/>
                  </a:lnTo>
                  <a:lnTo>
                    <a:pt x="28" y="119"/>
                  </a:lnTo>
                  <a:lnTo>
                    <a:pt x="28" y="115"/>
                  </a:lnTo>
                  <a:lnTo>
                    <a:pt x="32" y="101"/>
                  </a:lnTo>
                  <a:lnTo>
                    <a:pt x="37" y="101"/>
                  </a:lnTo>
                  <a:lnTo>
                    <a:pt x="41" y="101"/>
                  </a:lnTo>
                  <a:lnTo>
                    <a:pt x="41" y="101"/>
                  </a:lnTo>
                  <a:lnTo>
                    <a:pt x="37" y="96"/>
                  </a:lnTo>
                  <a:lnTo>
                    <a:pt x="32" y="92"/>
                  </a:lnTo>
                  <a:lnTo>
                    <a:pt x="28" y="87"/>
                  </a:lnTo>
                  <a:lnTo>
                    <a:pt x="28" y="83"/>
                  </a:lnTo>
                  <a:lnTo>
                    <a:pt x="32" y="83"/>
                  </a:lnTo>
                  <a:lnTo>
                    <a:pt x="32" y="83"/>
                  </a:lnTo>
                  <a:lnTo>
                    <a:pt x="41" y="83"/>
                  </a:lnTo>
                  <a:lnTo>
                    <a:pt x="60" y="78"/>
                  </a:lnTo>
                  <a:lnTo>
                    <a:pt x="69" y="78"/>
                  </a:lnTo>
                  <a:lnTo>
                    <a:pt x="73" y="73"/>
                  </a:lnTo>
                  <a:lnTo>
                    <a:pt x="73" y="69"/>
                  </a:lnTo>
                  <a:lnTo>
                    <a:pt x="69" y="60"/>
                  </a:lnTo>
                  <a:lnTo>
                    <a:pt x="60" y="60"/>
                  </a:lnTo>
                  <a:lnTo>
                    <a:pt x="60" y="51"/>
                  </a:lnTo>
                  <a:lnTo>
                    <a:pt x="64" y="41"/>
                  </a:lnTo>
                  <a:lnTo>
                    <a:pt x="69" y="37"/>
                  </a:lnTo>
                  <a:lnTo>
                    <a:pt x="73" y="37"/>
                  </a:lnTo>
                  <a:lnTo>
                    <a:pt x="82" y="37"/>
                  </a:lnTo>
                  <a:lnTo>
                    <a:pt x="87" y="28"/>
                  </a:lnTo>
                  <a:lnTo>
                    <a:pt x="96" y="23"/>
                  </a:lnTo>
                  <a:lnTo>
                    <a:pt x="96" y="14"/>
                  </a:lnTo>
                  <a:lnTo>
                    <a:pt x="96" y="9"/>
                  </a:lnTo>
                  <a:lnTo>
                    <a:pt x="101" y="0"/>
                  </a:lnTo>
                  <a:lnTo>
                    <a:pt x="110" y="0"/>
                  </a:lnTo>
                  <a:lnTo>
                    <a:pt x="114" y="5"/>
                  </a:lnTo>
                  <a:lnTo>
                    <a:pt x="119" y="9"/>
                  </a:lnTo>
                  <a:lnTo>
                    <a:pt x="124" y="19"/>
                  </a:lnTo>
                  <a:lnTo>
                    <a:pt x="128" y="28"/>
                  </a:lnTo>
                  <a:lnTo>
                    <a:pt x="128" y="37"/>
                  </a:lnTo>
                  <a:lnTo>
                    <a:pt x="142" y="46"/>
                  </a:lnTo>
                  <a:lnTo>
                    <a:pt x="146" y="55"/>
                  </a:lnTo>
                  <a:lnTo>
                    <a:pt x="151" y="60"/>
                  </a:lnTo>
                  <a:lnTo>
                    <a:pt x="156" y="60"/>
                  </a:lnTo>
                  <a:lnTo>
                    <a:pt x="160" y="64"/>
                  </a:lnTo>
                  <a:lnTo>
                    <a:pt x="160" y="73"/>
                  </a:lnTo>
                  <a:lnTo>
                    <a:pt x="156" y="73"/>
                  </a:lnTo>
                  <a:lnTo>
                    <a:pt x="151" y="73"/>
                  </a:lnTo>
                  <a:lnTo>
                    <a:pt x="146" y="73"/>
                  </a:lnTo>
                  <a:lnTo>
                    <a:pt x="146" y="78"/>
                  </a:lnTo>
                  <a:lnTo>
                    <a:pt x="146" y="83"/>
                  </a:lnTo>
                  <a:lnTo>
                    <a:pt x="151" y="83"/>
                  </a:lnTo>
                  <a:lnTo>
                    <a:pt x="156" y="83"/>
                  </a:lnTo>
                  <a:lnTo>
                    <a:pt x="165" y="87"/>
                  </a:lnTo>
                  <a:lnTo>
                    <a:pt x="174" y="92"/>
                  </a:lnTo>
                  <a:lnTo>
                    <a:pt x="174" y="96"/>
                  </a:lnTo>
                  <a:lnTo>
                    <a:pt x="183" y="101"/>
                  </a:lnTo>
                  <a:lnTo>
                    <a:pt x="188" y="101"/>
                  </a:lnTo>
                  <a:lnTo>
                    <a:pt x="197" y="101"/>
                  </a:lnTo>
                  <a:lnTo>
                    <a:pt x="206" y="101"/>
                  </a:lnTo>
                  <a:lnTo>
                    <a:pt x="215" y="101"/>
                  </a:lnTo>
                  <a:lnTo>
                    <a:pt x="229" y="101"/>
                  </a:lnTo>
                  <a:lnTo>
                    <a:pt x="238" y="105"/>
                  </a:lnTo>
                  <a:lnTo>
                    <a:pt x="242" y="119"/>
                  </a:lnTo>
                  <a:lnTo>
                    <a:pt x="242" y="124"/>
                  </a:lnTo>
                  <a:lnTo>
                    <a:pt x="238" y="137"/>
                  </a:lnTo>
                  <a:lnTo>
                    <a:pt x="238" y="142"/>
                  </a:lnTo>
                  <a:lnTo>
                    <a:pt x="238" y="147"/>
                  </a:lnTo>
                  <a:lnTo>
                    <a:pt x="238" y="160"/>
                  </a:lnTo>
                  <a:lnTo>
                    <a:pt x="247" y="174"/>
                  </a:lnTo>
                  <a:lnTo>
                    <a:pt x="261" y="192"/>
                  </a:lnTo>
                  <a:lnTo>
                    <a:pt x="270" y="206"/>
                  </a:lnTo>
                  <a:lnTo>
                    <a:pt x="274" y="206"/>
                  </a:lnTo>
                  <a:lnTo>
                    <a:pt x="284" y="211"/>
                  </a:lnTo>
                  <a:lnTo>
                    <a:pt x="297" y="215"/>
                  </a:lnTo>
                  <a:lnTo>
                    <a:pt x="297" y="220"/>
                  </a:lnTo>
                  <a:lnTo>
                    <a:pt x="316" y="243"/>
                  </a:lnTo>
                  <a:lnTo>
                    <a:pt x="320" y="256"/>
                  </a:lnTo>
                  <a:lnTo>
                    <a:pt x="316" y="261"/>
                  </a:lnTo>
                  <a:lnTo>
                    <a:pt x="316" y="261"/>
                  </a:lnTo>
                  <a:lnTo>
                    <a:pt x="311" y="261"/>
                  </a:lnTo>
                  <a:lnTo>
                    <a:pt x="316" y="265"/>
                  </a:lnTo>
                  <a:lnTo>
                    <a:pt x="316" y="265"/>
                  </a:lnTo>
                  <a:lnTo>
                    <a:pt x="311" y="270"/>
                  </a:lnTo>
                  <a:lnTo>
                    <a:pt x="311" y="265"/>
                  </a:lnTo>
                  <a:lnTo>
                    <a:pt x="306" y="270"/>
                  </a:lnTo>
                  <a:lnTo>
                    <a:pt x="311" y="275"/>
                  </a:lnTo>
                  <a:lnTo>
                    <a:pt x="316" y="279"/>
                  </a:lnTo>
                  <a:lnTo>
                    <a:pt x="316" y="279"/>
                  </a:lnTo>
                  <a:lnTo>
                    <a:pt x="320" y="284"/>
                  </a:lnTo>
                  <a:lnTo>
                    <a:pt x="320" y="284"/>
                  </a:lnTo>
                  <a:lnTo>
                    <a:pt x="329" y="288"/>
                  </a:lnTo>
                  <a:lnTo>
                    <a:pt x="334" y="293"/>
                  </a:lnTo>
                  <a:lnTo>
                    <a:pt x="334" y="297"/>
                  </a:lnTo>
                  <a:lnTo>
                    <a:pt x="334" y="297"/>
                  </a:lnTo>
                  <a:lnTo>
                    <a:pt x="334" y="302"/>
                  </a:lnTo>
                  <a:lnTo>
                    <a:pt x="334" y="307"/>
                  </a:lnTo>
                  <a:lnTo>
                    <a:pt x="329" y="307"/>
                  </a:lnTo>
                  <a:lnTo>
                    <a:pt x="334" y="307"/>
                  </a:lnTo>
                  <a:lnTo>
                    <a:pt x="334" y="307"/>
                  </a:lnTo>
                  <a:lnTo>
                    <a:pt x="329" y="307"/>
                  </a:lnTo>
                  <a:lnTo>
                    <a:pt x="334" y="307"/>
                  </a:lnTo>
                  <a:lnTo>
                    <a:pt x="334" y="307"/>
                  </a:lnTo>
                  <a:lnTo>
                    <a:pt x="338" y="311"/>
                  </a:lnTo>
                  <a:lnTo>
                    <a:pt x="334" y="325"/>
                  </a:lnTo>
                  <a:lnTo>
                    <a:pt x="334" y="329"/>
                  </a:lnTo>
                  <a:lnTo>
                    <a:pt x="334" y="329"/>
                  </a:lnTo>
                  <a:lnTo>
                    <a:pt x="334" y="329"/>
                  </a:lnTo>
                  <a:lnTo>
                    <a:pt x="334" y="334"/>
                  </a:lnTo>
                  <a:lnTo>
                    <a:pt x="338" y="334"/>
                  </a:lnTo>
                  <a:lnTo>
                    <a:pt x="338" y="339"/>
                  </a:lnTo>
                  <a:lnTo>
                    <a:pt x="334" y="343"/>
                  </a:lnTo>
                  <a:lnTo>
                    <a:pt x="334" y="348"/>
                  </a:lnTo>
                  <a:lnTo>
                    <a:pt x="334" y="348"/>
                  </a:lnTo>
                  <a:lnTo>
                    <a:pt x="329" y="348"/>
                  </a:lnTo>
                  <a:lnTo>
                    <a:pt x="329" y="348"/>
                  </a:lnTo>
                  <a:lnTo>
                    <a:pt x="329" y="352"/>
                  </a:lnTo>
                  <a:lnTo>
                    <a:pt x="329" y="357"/>
                  </a:lnTo>
                  <a:lnTo>
                    <a:pt x="325" y="361"/>
                  </a:lnTo>
                  <a:lnTo>
                    <a:pt x="325" y="361"/>
                  </a:lnTo>
                  <a:lnTo>
                    <a:pt x="325" y="361"/>
                  </a:lnTo>
                  <a:lnTo>
                    <a:pt x="325" y="361"/>
                  </a:lnTo>
                  <a:lnTo>
                    <a:pt x="320" y="371"/>
                  </a:lnTo>
                  <a:lnTo>
                    <a:pt x="320" y="375"/>
                  </a:lnTo>
                  <a:lnTo>
                    <a:pt x="320" y="375"/>
                  </a:lnTo>
                  <a:lnTo>
                    <a:pt x="320" y="375"/>
                  </a:lnTo>
                  <a:lnTo>
                    <a:pt x="316" y="375"/>
                  </a:lnTo>
                  <a:lnTo>
                    <a:pt x="306" y="375"/>
                  </a:lnTo>
                  <a:lnTo>
                    <a:pt x="302" y="375"/>
                  </a:lnTo>
                  <a:lnTo>
                    <a:pt x="293" y="375"/>
                  </a:lnTo>
                  <a:lnTo>
                    <a:pt x="293" y="375"/>
                  </a:lnTo>
                  <a:lnTo>
                    <a:pt x="288" y="375"/>
                  </a:lnTo>
                  <a:lnTo>
                    <a:pt x="270" y="375"/>
                  </a:lnTo>
                  <a:lnTo>
                    <a:pt x="261" y="375"/>
                  </a:lnTo>
                  <a:lnTo>
                    <a:pt x="256" y="375"/>
                  </a:lnTo>
                  <a:lnTo>
                    <a:pt x="229" y="375"/>
                  </a:lnTo>
                  <a:lnTo>
                    <a:pt x="220" y="375"/>
                  </a:lnTo>
                  <a:lnTo>
                    <a:pt x="215" y="375"/>
                  </a:lnTo>
                  <a:lnTo>
                    <a:pt x="210" y="375"/>
                  </a:lnTo>
                  <a:lnTo>
                    <a:pt x="210" y="375"/>
                  </a:lnTo>
                  <a:lnTo>
                    <a:pt x="210" y="375"/>
                  </a:lnTo>
                  <a:lnTo>
                    <a:pt x="206" y="375"/>
                  </a:lnTo>
                  <a:lnTo>
                    <a:pt x="201" y="375"/>
                  </a:lnTo>
                  <a:lnTo>
                    <a:pt x="192" y="375"/>
                  </a:lnTo>
                  <a:lnTo>
                    <a:pt x="188" y="375"/>
                  </a:lnTo>
                  <a:lnTo>
                    <a:pt x="188" y="375"/>
                  </a:lnTo>
                  <a:lnTo>
                    <a:pt x="188" y="380"/>
                  </a:lnTo>
                  <a:lnTo>
                    <a:pt x="174" y="380"/>
                  </a:lnTo>
                  <a:lnTo>
                    <a:pt x="169" y="380"/>
                  </a:lnTo>
                  <a:lnTo>
                    <a:pt x="142" y="384"/>
                  </a:lnTo>
                  <a:lnTo>
                    <a:pt x="137" y="384"/>
                  </a:lnTo>
                  <a:lnTo>
                    <a:pt x="133" y="384"/>
                  </a:lnTo>
                  <a:lnTo>
                    <a:pt x="128" y="384"/>
                  </a:lnTo>
                  <a:lnTo>
                    <a:pt x="128" y="384"/>
                  </a:lnTo>
                  <a:lnTo>
                    <a:pt x="124" y="389"/>
                  </a:lnTo>
                  <a:lnTo>
                    <a:pt x="105" y="389"/>
                  </a:lnTo>
                  <a:lnTo>
                    <a:pt x="101" y="389"/>
                  </a:lnTo>
                  <a:lnTo>
                    <a:pt x="96" y="389"/>
                  </a:lnTo>
                  <a:lnTo>
                    <a:pt x="92" y="393"/>
                  </a:lnTo>
                  <a:lnTo>
                    <a:pt x="92" y="393"/>
                  </a:lnTo>
                  <a:lnTo>
                    <a:pt x="87" y="393"/>
                  </a:lnTo>
                  <a:lnTo>
                    <a:pt x="87" y="389"/>
                  </a:lnTo>
                  <a:lnTo>
                    <a:pt x="87" y="389"/>
                  </a:lnTo>
                  <a:lnTo>
                    <a:pt x="87" y="393"/>
                  </a:lnTo>
                  <a:lnTo>
                    <a:pt x="87" y="393"/>
                  </a:lnTo>
                  <a:lnTo>
                    <a:pt x="82" y="393"/>
                  </a:lnTo>
                  <a:lnTo>
                    <a:pt x="73" y="398"/>
                  </a:lnTo>
                  <a:lnTo>
                    <a:pt x="73" y="398"/>
                  </a:lnTo>
                  <a:lnTo>
                    <a:pt x="69" y="398"/>
                  </a:lnTo>
                  <a:lnTo>
                    <a:pt x="69" y="398"/>
                  </a:lnTo>
                  <a:lnTo>
                    <a:pt x="64" y="398"/>
                  </a:lnTo>
                  <a:lnTo>
                    <a:pt x="64" y="398"/>
                  </a:lnTo>
                  <a:lnTo>
                    <a:pt x="64" y="398"/>
                  </a:lnTo>
                  <a:lnTo>
                    <a:pt x="64" y="398"/>
                  </a:lnTo>
                  <a:lnTo>
                    <a:pt x="64" y="398"/>
                  </a:lnTo>
                  <a:lnTo>
                    <a:pt x="64" y="393"/>
                  </a:lnTo>
                  <a:lnTo>
                    <a:pt x="60" y="393"/>
                  </a:lnTo>
                  <a:lnTo>
                    <a:pt x="60" y="389"/>
                  </a:lnTo>
                  <a:lnTo>
                    <a:pt x="55" y="389"/>
                  </a:lnTo>
                  <a:lnTo>
                    <a:pt x="55" y="384"/>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2" name="Freeform 9">
              <a:extLst>
                <a:ext uri="{FF2B5EF4-FFF2-40B4-BE49-F238E27FC236}">
                  <a16:creationId xmlns:a16="http://schemas.microsoft.com/office/drawing/2014/main" id="{D3F7BC92-891E-4770-976C-69BF3C27FE1D}"/>
                </a:ext>
              </a:extLst>
            </p:cNvPr>
            <p:cNvSpPr>
              <a:spLocks/>
            </p:cNvSpPr>
            <p:nvPr>
              <p:custDataLst>
                <p:tags r:id="rId4"/>
              </p:custDataLst>
            </p:nvPr>
          </p:nvSpPr>
          <p:spPr bwMode="auto">
            <a:xfrm>
              <a:off x="1444941" y="3538585"/>
              <a:ext cx="247462" cy="389120"/>
            </a:xfrm>
            <a:custGeom>
              <a:avLst/>
              <a:gdLst/>
              <a:ahLst/>
              <a:cxnLst>
                <a:cxn ang="0">
                  <a:pos x="68" y="77"/>
                </a:cxn>
                <a:cxn ang="0">
                  <a:pos x="82" y="64"/>
                </a:cxn>
                <a:cxn ang="0">
                  <a:pos x="87" y="27"/>
                </a:cxn>
                <a:cxn ang="0">
                  <a:pos x="96" y="18"/>
                </a:cxn>
                <a:cxn ang="0">
                  <a:pos x="114" y="0"/>
                </a:cxn>
                <a:cxn ang="0">
                  <a:pos x="119" y="18"/>
                </a:cxn>
                <a:cxn ang="0">
                  <a:pos x="132" y="18"/>
                </a:cxn>
                <a:cxn ang="0">
                  <a:pos x="155" y="22"/>
                </a:cxn>
                <a:cxn ang="0">
                  <a:pos x="174" y="27"/>
                </a:cxn>
                <a:cxn ang="0">
                  <a:pos x="196" y="36"/>
                </a:cxn>
                <a:cxn ang="0">
                  <a:pos x="192" y="54"/>
                </a:cxn>
                <a:cxn ang="0">
                  <a:pos x="183" y="64"/>
                </a:cxn>
                <a:cxn ang="0">
                  <a:pos x="164" y="82"/>
                </a:cxn>
                <a:cxn ang="0">
                  <a:pos x="164" y="105"/>
                </a:cxn>
                <a:cxn ang="0">
                  <a:pos x="155" y="109"/>
                </a:cxn>
                <a:cxn ang="0">
                  <a:pos x="164" y="123"/>
                </a:cxn>
                <a:cxn ang="0">
                  <a:pos x="183" y="132"/>
                </a:cxn>
                <a:cxn ang="0">
                  <a:pos x="192" y="141"/>
                </a:cxn>
                <a:cxn ang="0">
                  <a:pos x="201" y="155"/>
                </a:cxn>
                <a:cxn ang="0">
                  <a:pos x="206" y="173"/>
                </a:cxn>
                <a:cxn ang="0">
                  <a:pos x="196" y="187"/>
                </a:cxn>
                <a:cxn ang="0">
                  <a:pos x="206" y="196"/>
                </a:cxn>
                <a:cxn ang="0">
                  <a:pos x="219" y="201"/>
                </a:cxn>
                <a:cxn ang="0">
                  <a:pos x="224" y="214"/>
                </a:cxn>
                <a:cxn ang="0">
                  <a:pos x="233" y="237"/>
                </a:cxn>
                <a:cxn ang="0">
                  <a:pos x="242" y="260"/>
                </a:cxn>
                <a:cxn ang="0">
                  <a:pos x="260" y="269"/>
                </a:cxn>
                <a:cxn ang="0">
                  <a:pos x="279" y="269"/>
                </a:cxn>
                <a:cxn ang="0">
                  <a:pos x="270" y="278"/>
                </a:cxn>
                <a:cxn ang="0">
                  <a:pos x="247" y="288"/>
                </a:cxn>
                <a:cxn ang="0">
                  <a:pos x="238" y="306"/>
                </a:cxn>
                <a:cxn ang="0">
                  <a:pos x="210" y="315"/>
                </a:cxn>
                <a:cxn ang="0">
                  <a:pos x="169" y="310"/>
                </a:cxn>
                <a:cxn ang="0">
                  <a:pos x="128" y="320"/>
                </a:cxn>
                <a:cxn ang="0">
                  <a:pos x="119" y="329"/>
                </a:cxn>
                <a:cxn ang="0">
                  <a:pos x="110" y="356"/>
                </a:cxn>
                <a:cxn ang="0">
                  <a:pos x="87" y="374"/>
                </a:cxn>
                <a:cxn ang="0">
                  <a:pos x="55" y="365"/>
                </a:cxn>
                <a:cxn ang="0">
                  <a:pos x="18" y="379"/>
                </a:cxn>
                <a:cxn ang="0">
                  <a:pos x="0" y="370"/>
                </a:cxn>
                <a:cxn ang="0">
                  <a:pos x="9" y="329"/>
                </a:cxn>
                <a:cxn ang="0">
                  <a:pos x="23" y="297"/>
                </a:cxn>
                <a:cxn ang="0">
                  <a:pos x="32" y="256"/>
                </a:cxn>
                <a:cxn ang="0">
                  <a:pos x="41" y="233"/>
                </a:cxn>
                <a:cxn ang="0">
                  <a:pos x="36" y="192"/>
                </a:cxn>
                <a:cxn ang="0">
                  <a:pos x="23" y="141"/>
                </a:cxn>
                <a:cxn ang="0">
                  <a:pos x="14" y="96"/>
                </a:cxn>
                <a:cxn ang="0">
                  <a:pos x="18" y="82"/>
                </a:cxn>
                <a:cxn ang="0">
                  <a:pos x="50" y="82"/>
                </a:cxn>
              </a:cxnLst>
              <a:rect l="0" t="0" r="r" b="b"/>
              <a:pathLst>
                <a:path w="283" h="384">
                  <a:moveTo>
                    <a:pt x="59" y="82"/>
                  </a:moveTo>
                  <a:lnTo>
                    <a:pt x="64" y="82"/>
                  </a:lnTo>
                  <a:lnTo>
                    <a:pt x="64" y="77"/>
                  </a:lnTo>
                  <a:lnTo>
                    <a:pt x="68" y="77"/>
                  </a:lnTo>
                  <a:lnTo>
                    <a:pt x="73" y="77"/>
                  </a:lnTo>
                  <a:lnTo>
                    <a:pt x="78" y="73"/>
                  </a:lnTo>
                  <a:lnTo>
                    <a:pt x="82" y="68"/>
                  </a:lnTo>
                  <a:lnTo>
                    <a:pt x="82" y="64"/>
                  </a:lnTo>
                  <a:lnTo>
                    <a:pt x="82" y="59"/>
                  </a:lnTo>
                  <a:lnTo>
                    <a:pt x="87" y="45"/>
                  </a:lnTo>
                  <a:lnTo>
                    <a:pt x="87" y="36"/>
                  </a:lnTo>
                  <a:lnTo>
                    <a:pt x="87" y="27"/>
                  </a:lnTo>
                  <a:lnTo>
                    <a:pt x="87" y="27"/>
                  </a:lnTo>
                  <a:lnTo>
                    <a:pt x="91" y="18"/>
                  </a:lnTo>
                  <a:lnTo>
                    <a:pt x="96" y="18"/>
                  </a:lnTo>
                  <a:lnTo>
                    <a:pt x="96" y="18"/>
                  </a:lnTo>
                  <a:lnTo>
                    <a:pt x="100" y="18"/>
                  </a:lnTo>
                  <a:lnTo>
                    <a:pt x="105" y="13"/>
                  </a:lnTo>
                  <a:lnTo>
                    <a:pt x="110" y="0"/>
                  </a:lnTo>
                  <a:lnTo>
                    <a:pt x="114" y="0"/>
                  </a:lnTo>
                  <a:lnTo>
                    <a:pt x="114" y="4"/>
                  </a:lnTo>
                  <a:lnTo>
                    <a:pt x="114" y="13"/>
                  </a:lnTo>
                  <a:lnTo>
                    <a:pt x="114" y="18"/>
                  </a:lnTo>
                  <a:lnTo>
                    <a:pt x="119" y="18"/>
                  </a:lnTo>
                  <a:lnTo>
                    <a:pt x="123" y="18"/>
                  </a:lnTo>
                  <a:lnTo>
                    <a:pt x="128" y="18"/>
                  </a:lnTo>
                  <a:lnTo>
                    <a:pt x="128" y="18"/>
                  </a:lnTo>
                  <a:lnTo>
                    <a:pt x="132" y="18"/>
                  </a:lnTo>
                  <a:lnTo>
                    <a:pt x="142" y="18"/>
                  </a:lnTo>
                  <a:lnTo>
                    <a:pt x="146" y="18"/>
                  </a:lnTo>
                  <a:lnTo>
                    <a:pt x="151" y="18"/>
                  </a:lnTo>
                  <a:lnTo>
                    <a:pt x="155" y="22"/>
                  </a:lnTo>
                  <a:lnTo>
                    <a:pt x="160" y="22"/>
                  </a:lnTo>
                  <a:lnTo>
                    <a:pt x="164" y="27"/>
                  </a:lnTo>
                  <a:lnTo>
                    <a:pt x="169" y="27"/>
                  </a:lnTo>
                  <a:lnTo>
                    <a:pt x="174" y="27"/>
                  </a:lnTo>
                  <a:lnTo>
                    <a:pt x="178" y="27"/>
                  </a:lnTo>
                  <a:lnTo>
                    <a:pt x="183" y="32"/>
                  </a:lnTo>
                  <a:lnTo>
                    <a:pt x="192" y="36"/>
                  </a:lnTo>
                  <a:lnTo>
                    <a:pt x="196" y="36"/>
                  </a:lnTo>
                  <a:lnTo>
                    <a:pt x="196" y="41"/>
                  </a:lnTo>
                  <a:lnTo>
                    <a:pt x="196" y="45"/>
                  </a:lnTo>
                  <a:lnTo>
                    <a:pt x="192" y="50"/>
                  </a:lnTo>
                  <a:lnTo>
                    <a:pt x="192" y="54"/>
                  </a:lnTo>
                  <a:lnTo>
                    <a:pt x="187" y="54"/>
                  </a:lnTo>
                  <a:lnTo>
                    <a:pt x="187" y="59"/>
                  </a:lnTo>
                  <a:lnTo>
                    <a:pt x="187" y="64"/>
                  </a:lnTo>
                  <a:lnTo>
                    <a:pt x="183" y="64"/>
                  </a:lnTo>
                  <a:lnTo>
                    <a:pt x="183" y="68"/>
                  </a:lnTo>
                  <a:lnTo>
                    <a:pt x="178" y="73"/>
                  </a:lnTo>
                  <a:lnTo>
                    <a:pt x="169" y="77"/>
                  </a:lnTo>
                  <a:lnTo>
                    <a:pt x="164" y="82"/>
                  </a:lnTo>
                  <a:lnTo>
                    <a:pt x="164" y="86"/>
                  </a:lnTo>
                  <a:lnTo>
                    <a:pt x="160" y="91"/>
                  </a:lnTo>
                  <a:lnTo>
                    <a:pt x="160" y="100"/>
                  </a:lnTo>
                  <a:lnTo>
                    <a:pt x="164" y="105"/>
                  </a:lnTo>
                  <a:lnTo>
                    <a:pt x="164" y="105"/>
                  </a:lnTo>
                  <a:lnTo>
                    <a:pt x="160" y="105"/>
                  </a:lnTo>
                  <a:lnTo>
                    <a:pt x="160" y="109"/>
                  </a:lnTo>
                  <a:lnTo>
                    <a:pt x="155" y="109"/>
                  </a:lnTo>
                  <a:lnTo>
                    <a:pt x="155" y="114"/>
                  </a:lnTo>
                  <a:lnTo>
                    <a:pt x="155" y="118"/>
                  </a:lnTo>
                  <a:lnTo>
                    <a:pt x="155" y="123"/>
                  </a:lnTo>
                  <a:lnTo>
                    <a:pt x="164" y="123"/>
                  </a:lnTo>
                  <a:lnTo>
                    <a:pt x="174" y="123"/>
                  </a:lnTo>
                  <a:lnTo>
                    <a:pt x="174" y="128"/>
                  </a:lnTo>
                  <a:lnTo>
                    <a:pt x="178" y="128"/>
                  </a:lnTo>
                  <a:lnTo>
                    <a:pt x="183" y="132"/>
                  </a:lnTo>
                  <a:lnTo>
                    <a:pt x="187" y="132"/>
                  </a:lnTo>
                  <a:lnTo>
                    <a:pt x="187" y="137"/>
                  </a:lnTo>
                  <a:lnTo>
                    <a:pt x="192" y="137"/>
                  </a:lnTo>
                  <a:lnTo>
                    <a:pt x="192" y="141"/>
                  </a:lnTo>
                  <a:lnTo>
                    <a:pt x="196" y="146"/>
                  </a:lnTo>
                  <a:lnTo>
                    <a:pt x="196" y="146"/>
                  </a:lnTo>
                  <a:lnTo>
                    <a:pt x="196" y="155"/>
                  </a:lnTo>
                  <a:lnTo>
                    <a:pt x="201" y="155"/>
                  </a:lnTo>
                  <a:lnTo>
                    <a:pt x="201" y="164"/>
                  </a:lnTo>
                  <a:lnTo>
                    <a:pt x="206" y="169"/>
                  </a:lnTo>
                  <a:lnTo>
                    <a:pt x="206" y="169"/>
                  </a:lnTo>
                  <a:lnTo>
                    <a:pt x="206" y="173"/>
                  </a:lnTo>
                  <a:lnTo>
                    <a:pt x="201" y="178"/>
                  </a:lnTo>
                  <a:lnTo>
                    <a:pt x="196" y="178"/>
                  </a:lnTo>
                  <a:lnTo>
                    <a:pt x="196" y="182"/>
                  </a:lnTo>
                  <a:lnTo>
                    <a:pt x="196" y="187"/>
                  </a:lnTo>
                  <a:lnTo>
                    <a:pt x="201" y="192"/>
                  </a:lnTo>
                  <a:lnTo>
                    <a:pt x="201" y="192"/>
                  </a:lnTo>
                  <a:lnTo>
                    <a:pt x="201" y="196"/>
                  </a:lnTo>
                  <a:lnTo>
                    <a:pt x="206" y="196"/>
                  </a:lnTo>
                  <a:lnTo>
                    <a:pt x="215" y="196"/>
                  </a:lnTo>
                  <a:lnTo>
                    <a:pt x="219" y="196"/>
                  </a:lnTo>
                  <a:lnTo>
                    <a:pt x="219" y="196"/>
                  </a:lnTo>
                  <a:lnTo>
                    <a:pt x="219" y="201"/>
                  </a:lnTo>
                  <a:lnTo>
                    <a:pt x="219" y="205"/>
                  </a:lnTo>
                  <a:lnTo>
                    <a:pt x="219" y="210"/>
                  </a:lnTo>
                  <a:lnTo>
                    <a:pt x="219" y="214"/>
                  </a:lnTo>
                  <a:lnTo>
                    <a:pt x="224" y="214"/>
                  </a:lnTo>
                  <a:lnTo>
                    <a:pt x="228" y="214"/>
                  </a:lnTo>
                  <a:lnTo>
                    <a:pt x="228" y="219"/>
                  </a:lnTo>
                  <a:lnTo>
                    <a:pt x="228" y="233"/>
                  </a:lnTo>
                  <a:lnTo>
                    <a:pt x="233" y="237"/>
                  </a:lnTo>
                  <a:lnTo>
                    <a:pt x="238" y="246"/>
                  </a:lnTo>
                  <a:lnTo>
                    <a:pt x="238" y="246"/>
                  </a:lnTo>
                  <a:lnTo>
                    <a:pt x="238" y="256"/>
                  </a:lnTo>
                  <a:lnTo>
                    <a:pt x="242" y="260"/>
                  </a:lnTo>
                  <a:lnTo>
                    <a:pt x="247" y="265"/>
                  </a:lnTo>
                  <a:lnTo>
                    <a:pt x="251" y="269"/>
                  </a:lnTo>
                  <a:lnTo>
                    <a:pt x="256" y="269"/>
                  </a:lnTo>
                  <a:lnTo>
                    <a:pt x="260" y="269"/>
                  </a:lnTo>
                  <a:lnTo>
                    <a:pt x="265" y="269"/>
                  </a:lnTo>
                  <a:lnTo>
                    <a:pt x="270" y="269"/>
                  </a:lnTo>
                  <a:lnTo>
                    <a:pt x="274" y="269"/>
                  </a:lnTo>
                  <a:lnTo>
                    <a:pt x="279" y="269"/>
                  </a:lnTo>
                  <a:lnTo>
                    <a:pt x="283" y="269"/>
                  </a:lnTo>
                  <a:lnTo>
                    <a:pt x="283" y="274"/>
                  </a:lnTo>
                  <a:lnTo>
                    <a:pt x="274" y="278"/>
                  </a:lnTo>
                  <a:lnTo>
                    <a:pt x="270" y="278"/>
                  </a:lnTo>
                  <a:lnTo>
                    <a:pt x="260" y="278"/>
                  </a:lnTo>
                  <a:lnTo>
                    <a:pt x="260" y="278"/>
                  </a:lnTo>
                  <a:lnTo>
                    <a:pt x="251" y="278"/>
                  </a:lnTo>
                  <a:lnTo>
                    <a:pt x="247" y="288"/>
                  </a:lnTo>
                  <a:lnTo>
                    <a:pt x="242" y="297"/>
                  </a:lnTo>
                  <a:lnTo>
                    <a:pt x="242" y="301"/>
                  </a:lnTo>
                  <a:lnTo>
                    <a:pt x="242" y="301"/>
                  </a:lnTo>
                  <a:lnTo>
                    <a:pt x="238" y="306"/>
                  </a:lnTo>
                  <a:lnTo>
                    <a:pt x="233" y="310"/>
                  </a:lnTo>
                  <a:lnTo>
                    <a:pt x="219" y="315"/>
                  </a:lnTo>
                  <a:lnTo>
                    <a:pt x="219" y="315"/>
                  </a:lnTo>
                  <a:lnTo>
                    <a:pt x="210" y="315"/>
                  </a:lnTo>
                  <a:lnTo>
                    <a:pt x="196" y="315"/>
                  </a:lnTo>
                  <a:lnTo>
                    <a:pt x="187" y="315"/>
                  </a:lnTo>
                  <a:lnTo>
                    <a:pt x="174" y="310"/>
                  </a:lnTo>
                  <a:lnTo>
                    <a:pt x="169" y="310"/>
                  </a:lnTo>
                  <a:lnTo>
                    <a:pt x="151" y="315"/>
                  </a:lnTo>
                  <a:lnTo>
                    <a:pt x="137" y="315"/>
                  </a:lnTo>
                  <a:lnTo>
                    <a:pt x="132" y="320"/>
                  </a:lnTo>
                  <a:lnTo>
                    <a:pt x="128" y="320"/>
                  </a:lnTo>
                  <a:lnTo>
                    <a:pt x="123" y="320"/>
                  </a:lnTo>
                  <a:lnTo>
                    <a:pt x="114" y="324"/>
                  </a:lnTo>
                  <a:lnTo>
                    <a:pt x="119" y="324"/>
                  </a:lnTo>
                  <a:lnTo>
                    <a:pt x="119" y="329"/>
                  </a:lnTo>
                  <a:lnTo>
                    <a:pt x="123" y="338"/>
                  </a:lnTo>
                  <a:lnTo>
                    <a:pt x="123" y="342"/>
                  </a:lnTo>
                  <a:lnTo>
                    <a:pt x="119" y="352"/>
                  </a:lnTo>
                  <a:lnTo>
                    <a:pt x="110" y="356"/>
                  </a:lnTo>
                  <a:lnTo>
                    <a:pt x="110" y="361"/>
                  </a:lnTo>
                  <a:lnTo>
                    <a:pt x="100" y="365"/>
                  </a:lnTo>
                  <a:lnTo>
                    <a:pt x="96" y="374"/>
                  </a:lnTo>
                  <a:lnTo>
                    <a:pt x="87" y="374"/>
                  </a:lnTo>
                  <a:lnTo>
                    <a:pt x="78" y="370"/>
                  </a:lnTo>
                  <a:lnTo>
                    <a:pt x="64" y="365"/>
                  </a:lnTo>
                  <a:lnTo>
                    <a:pt x="55" y="365"/>
                  </a:lnTo>
                  <a:lnTo>
                    <a:pt x="55" y="365"/>
                  </a:lnTo>
                  <a:lnTo>
                    <a:pt x="46" y="365"/>
                  </a:lnTo>
                  <a:lnTo>
                    <a:pt x="36" y="365"/>
                  </a:lnTo>
                  <a:lnTo>
                    <a:pt x="23" y="370"/>
                  </a:lnTo>
                  <a:lnTo>
                    <a:pt x="18" y="379"/>
                  </a:lnTo>
                  <a:lnTo>
                    <a:pt x="18" y="384"/>
                  </a:lnTo>
                  <a:lnTo>
                    <a:pt x="0" y="379"/>
                  </a:lnTo>
                  <a:lnTo>
                    <a:pt x="0" y="374"/>
                  </a:lnTo>
                  <a:lnTo>
                    <a:pt x="0" y="370"/>
                  </a:lnTo>
                  <a:lnTo>
                    <a:pt x="0" y="361"/>
                  </a:lnTo>
                  <a:lnTo>
                    <a:pt x="4" y="342"/>
                  </a:lnTo>
                  <a:lnTo>
                    <a:pt x="4" y="333"/>
                  </a:lnTo>
                  <a:lnTo>
                    <a:pt x="9" y="329"/>
                  </a:lnTo>
                  <a:lnTo>
                    <a:pt x="14" y="324"/>
                  </a:lnTo>
                  <a:lnTo>
                    <a:pt x="18" y="320"/>
                  </a:lnTo>
                  <a:lnTo>
                    <a:pt x="18" y="306"/>
                  </a:lnTo>
                  <a:lnTo>
                    <a:pt x="23" y="297"/>
                  </a:lnTo>
                  <a:lnTo>
                    <a:pt x="27" y="283"/>
                  </a:lnTo>
                  <a:lnTo>
                    <a:pt x="27" y="274"/>
                  </a:lnTo>
                  <a:lnTo>
                    <a:pt x="32" y="269"/>
                  </a:lnTo>
                  <a:lnTo>
                    <a:pt x="32" y="256"/>
                  </a:lnTo>
                  <a:lnTo>
                    <a:pt x="36" y="246"/>
                  </a:lnTo>
                  <a:lnTo>
                    <a:pt x="41" y="246"/>
                  </a:lnTo>
                  <a:lnTo>
                    <a:pt x="41" y="237"/>
                  </a:lnTo>
                  <a:lnTo>
                    <a:pt x="41" y="233"/>
                  </a:lnTo>
                  <a:lnTo>
                    <a:pt x="41" y="224"/>
                  </a:lnTo>
                  <a:lnTo>
                    <a:pt x="41" y="214"/>
                  </a:lnTo>
                  <a:lnTo>
                    <a:pt x="36" y="196"/>
                  </a:lnTo>
                  <a:lnTo>
                    <a:pt x="36" y="192"/>
                  </a:lnTo>
                  <a:lnTo>
                    <a:pt x="36" y="178"/>
                  </a:lnTo>
                  <a:lnTo>
                    <a:pt x="32" y="164"/>
                  </a:lnTo>
                  <a:lnTo>
                    <a:pt x="27" y="146"/>
                  </a:lnTo>
                  <a:lnTo>
                    <a:pt x="23" y="141"/>
                  </a:lnTo>
                  <a:lnTo>
                    <a:pt x="18" y="128"/>
                  </a:lnTo>
                  <a:lnTo>
                    <a:pt x="18" y="114"/>
                  </a:lnTo>
                  <a:lnTo>
                    <a:pt x="18" y="105"/>
                  </a:lnTo>
                  <a:lnTo>
                    <a:pt x="14" y="96"/>
                  </a:lnTo>
                  <a:lnTo>
                    <a:pt x="18" y="96"/>
                  </a:lnTo>
                  <a:lnTo>
                    <a:pt x="18" y="96"/>
                  </a:lnTo>
                  <a:lnTo>
                    <a:pt x="23" y="96"/>
                  </a:lnTo>
                  <a:lnTo>
                    <a:pt x="18" y="82"/>
                  </a:lnTo>
                  <a:lnTo>
                    <a:pt x="36" y="82"/>
                  </a:lnTo>
                  <a:lnTo>
                    <a:pt x="41" y="82"/>
                  </a:lnTo>
                  <a:lnTo>
                    <a:pt x="46" y="82"/>
                  </a:lnTo>
                  <a:lnTo>
                    <a:pt x="50" y="82"/>
                  </a:lnTo>
                  <a:lnTo>
                    <a:pt x="59" y="82"/>
                  </a:lnTo>
                  <a:lnTo>
                    <a:pt x="59" y="82"/>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3" name="Freeform 10">
              <a:extLst>
                <a:ext uri="{FF2B5EF4-FFF2-40B4-BE49-F238E27FC236}">
                  <a16:creationId xmlns:a16="http://schemas.microsoft.com/office/drawing/2014/main" id="{B79BBC5F-282D-4E74-B6D5-5F01B621F4A7}"/>
                </a:ext>
              </a:extLst>
            </p:cNvPr>
            <p:cNvSpPr>
              <a:spLocks/>
            </p:cNvSpPr>
            <p:nvPr>
              <p:custDataLst>
                <p:tags r:id="rId5"/>
              </p:custDataLst>
            </p:nvPr>
          </p:nvSpPr>
          <p:spPr bwMode="auto">
            <a:xfrm>
              <a:off x="2150563" y="1337537"/>
              <a:ext cx="746631" cy="1170328"/>
            </a:xfrm>
            <a:custGeom>
              <a:avLst/>
              <a:gdLst/>
              <a:ahLst/>
              <a:cxnLst>
                <a:cxn ang="0">
                  <a:pos x="599" y="517"/>
                </a:cxn>
                <a:cxn ang="0">
                  <a:pos x="549" y="494"/>
                </a:cxn>
                <a:cxn ang="0">
                  <a:pos x="448" y="467"/>
                </a:cxn>
                <a:cxn ang="0">
                  <a:pos x="416" y="416"/>
                </a:cxn>
                <a:cxn ang="0">
                  <a:pos x="393" y="389"/>
                </a:cxn>
                <a:cxn ang="0">
                  <a:pos x="402" y="334"/>
                </a:cxn>
                <a:cxn ang="0">
                  <a:pos x="375" y="298"/>
                </a:cxn>
                <a:cxn ang="0">
                  <a:pos x="329" y="284"/>
                </a:cxn>
                <a:cxn ang="0">
                  <a:pos x="370" y="252"/>
                </a:cxn>
                <a:cxn ang="0">
                  <a:pos x="439" y="229"/>
                </a:cxn>
                <a:cxn ang="0">
                  <a:pos x="498" y="206"/>
                </a:cxn>
                <a:cxn ang="0">
                  <a:pos x="530" y="138"/>
                </a:cxn>
                <a:cxn ang="0">
                  <a:pos x="558" y="46"/>
                </a:cxn>
                <a:cxn ang="0">
                  <a:pos x="631" y="32"/>
                </a:cxn>
                <a:cxn ang="0">
                  <a:pos x="677" y="14"/>
                </a:cxn>
                <a:cxn ang="0">
                  <a:pos x="722" y="19"/>
                </a:cxn>
                <a:cxn ang="0">
                  <a:pos x="745" y="106"/>
                </a:cxn>
                <a:cxn ang="0">
                  <a:pos x="768" y="183"/>
                </a:cxn>
                <a:cxn ang="0">
                  <a:pos x="777" y="256"/>
                </a:cxn>
                <a:cxn ang="0">
                  <a:pos x="800" y="302"/>
                </a:cxn>
                <a:cxn ang="0">
                  <a:pos x="818" y="398"/>
                </a:cxn>
                <a:cxn ang="0">
                  <a:pos x="795" y="439"/>
                </a:cxn>
                <a:cxn ang="0">
                  <a:pos x="846" y="467"/>
                </a:cxn>
                <a:cxn ang="0">
                  <a:pos x="786" y="549"/>
                </a:cxn>
                <a:cxn ang="0">
                  <a:pos x="699" y="608"/>
                </a:cxn>
                <a:cxn ang="0">
                  <a:pos x="681" y="659"/>
                </a:cxn>
                <a:cxn ang="0">
                  <a:pos x="672" y="736"/>
                </a:cxn>
                <a:cxn ang="0">
                  <a:pos x="777" y="810"/>
                </a:cxn>
                <a:cxn ang="0">
                  <a:pos x="745" y="919"/>
                </a:cxn>
                <a:cxn ang="0">
                  <a:pos x="832" y="1038"/>
                </a:cxn>
                <a:cxn ang="0">
                  <a:pos x="791" y="1125"/>
                </a:cxn>
                <a:cxn ang="0">
                  <a:pos x="745" y="1148"/>
                </a:cxn>
                <a:cxn ang="0">
                  <a:pos x="658" y="1125"/>
                </a:cxn>
                <a:cxn ang="0">
                  <a:pos x="603" y="1093"/>
                </a:cxn>
                <a:cxn ang="0">
                  <a:pos x="526" y="1061"/>
                </a:cxn>
                <a:cxn ang="0">
                  <a:pos x="462" y="1034"/>
                </a:cxn>
                <a:cxn ang="0">
                  <a:pos x="416" y="1052"/>
                </a:cxn>
                <a:cxn ang="0">
                  <a:pos x="434" y="1084"/>
                </a:cxn>
                <a:cxn ang="0">
                  <a:pos x="379" y="1120"/>
                </a:cxn>
                <a:cxn ang="0">
                  <a:pos x="251" y="1125"/>
                </a:cxn>
                <a:cxn ang="0">
                  <a:pos x="210" y="1088"/>
                </a:cxn>
                <a:cxn ang="0">
                  <a:pos x="169" y="1066"/>
                </a:cxn>
                <a:cxn ang="0">
                  <a:pos x="183" y="1002"/>
                </a:cxn>
                <a:cxn ang="0">
                  <a:pos x="155" y="951"/>
                </a:cxn>
                <a:cxn ang="0">
                  <a:pos x="91" y="947"/>
                </a:cxn>
                <a:cxn ang="0">
                  <a:pos x="82" y="874"/>
                </a:cxn>
                <a:cxn ang="0">
                  <a:pos x="55" y="828"/>
                </a:cxn>
                <a:cxn ang="0">
                  <a:pos x="0" y="796"/>
                </a:cxn>
                <a:cxn ang="0">
                  <a:pos x="18" y="736"/>
                </a:cxn>
                <a:cxn ang="0">
                  <a:pos x="37" y="682"/>
                </a:cxn>
                <a:cxn ang="0">
                  <a:pos x="9" y="627"/>
                </a:cxn>
                <a:cxn ang="0">
                  <a:pos x="23" y="549"/>
                </a:cxn>
                <a:cxn ang="0">
                  <a:pos x="64" y="526"/>
                </a:cxn>
                <a:cxn ang="0">
                  <a:pos x="105" y="480"/>
                </a:cxn>
                <a:cxn ang="0">
                  <a:pos x="142" y="458"/>
                </a:cxn>
                <a:cxn ang="0">
                  <a:pos x="187" y="444"/>
                </a:cxn>
                <a:cxn ang="0">
                  <a:pos x="242" y="458"/>
                </a:cxn>
                <a:cxn ang="0">
                  <a:pos x="306" y="458"/>
                </a:cxn>
                <a:cxn ang="0">
                  <a:pos x="343" y="490"/>
                </a:cxn>
                <a:cxn ang="0">
                  <a:pos x="402" y="485"/>
                </a:cxn>
                <a:cxn ang="0">
                  <a:pos x="439" y="567"/>
                </a:cxn>
                <a:cxn ang="0">
                  <a:pos x="517" y="590"/>
                </a:cxn>
                <a:cxn ang="0">
                  <a:pos x="526" y="581"/>
                </a:cxn>
              </a:cxnLst>
              <a:rect l="0" t="0" r="r" b="b"/>
              <a:pathLst>
                <a:path w="855" h="1157">
                  <a:moveTo>
                    <a:pt x="553" y="544"/>
                  </a:moveTo>
                  <a:lnTo>
                    <a:pt x="567" y="544"/>
                  </a:lnTo>
                  <a:lnTo>
                    <a:pt x="571" y="544"/>
                  </a:lnTo>
                  <a:lnTo>
                    <a:pt x="576" y="540"/>
                  </a:lnTo>
                  <a:lnTo>
                    <a:pt x="581" y="540"/>
                  </a:lnTo>
                  <a:lnTo>
                    <a:pt x="585" y="535"/>
                  </a:lnTo>
                  <a:lnTo>
                    <a:pt x="590" y="531"/>
                  </a:lnTo>
                  <a:lnTo>
                    <a:pt x="594" y="526"/>
                  </a:lnTo>
                  <a:lnTo>
                    <a:pt x="594" y="526"/>
                  </a:lnTo>
                  <a:lnTo>
                    <a:pt x="594" y="526"/>
                  </a:lnTo>
                  <a:lnTo>
                    <a:pt x="594" y="522"/>
                  </a:lnTo>
                  <a:lnTo>
                    <a:pt x="599" y="522"/>
                  </a:lnTo>
                  <a:lnTo>
                    <a:pt x="599" y="517"/>
                  </a:lnTo>
                  <a:lnTo>
                    <a:pt x="599" y="512"/>
                  </a:lnTo>
                  <a:lnTo>
                    <a:pt x="603" y="512"/>
                  </a:lnTo>
                  <a:lnTo>
                    <a:pt x="603" y="508"/>
                  </a:lnTo>
                  <a:lnTo>
                    <a:pt x="599" y="503"/>
                  </a:lnTo>
                  <a:lnTo>
                    <a:pt x="594" y="503"/>
                  </a:lnTo>
                  <a:lnTo>
                    <a:pt x="594" y="503"/>
                  </a:lnTo>
                  <a:lnTo>
                    <a:pt x="585" y="503"/>
                  </a:lnTo>
                  <a:lnTo>
                    <a:pt x="581" y="503"/>
                  </a:lnTo>
                  <a:lnTo>
                    <a:pt x="576" y="499"/>
                  </a:lnTo>
                  <a:lnTo>
                    <a:pt x="571" y="499"/>
                  </a:lnTo>
                  <a:lnTo>
                    <a:pt x="567" y="499"/>
                  </a:lnTo>
                  <a:lnTo>
                    <a:pt x="553" y="494"/>
                  </a:lnTo>
                  <a:lnTo>
                    <a:pt x="549" y="494"/>
                  </a:lnTo>
                  <a:lnTo>
                    <a:pt x="539" y="490"/>
                  </a:lnTo>
                  <a:lnTo>
                    <a:pt x="530" y="490"/>
                  </a:lnTo>
                  <a:lnTo>
                    <a:pt x="521" y="485"/>
                  </a:lnTo>
                  <a:lnTo>
                    <a:pt x="507" y="480"/>
                  </a:lnTo>
                  <a:lnTo>
                    <a:pt x="503" y="480"/>
                  </a:lnTo>
                  <a:lnTo>
                    <a:pt x="494" y="480"/>
                  </a:lnTo>
                  <a:lnTo>
                    <a:pt x="485" y="480"/>
                  </a:lnTo>
                  <a:lnTo>
                    <a:pt x="485" y="480"/>
                  </a:lnTo>
                  <a:lnTo>
                    <a:pt x="471" y="480"/>
                  </a:lnTo>
                  <a:lnTo>
                    <a:pt x="466" y="480"/>
                  </a:lnTo>
                  <a:lnTo>
                    <a:pt x="457" y="476"/>
                  </a:lnTo>
                  <a:lnTo>
                    <a:pt x="453" y="471"/>
                  </a:lnTo>
                  <a:lnTo>
                    <a:pt x="448" y="467"/>
                  </a:lnTo>
                  <a:lnTo>
                    <a:pt x="448" y="462"/>
                  </a:lnTo>
                  <a:lnTo>
                    <a:pt x="443" y="458"/>
                  </a:lnTo>
                  <a:lnTo>
                    <a:pt x="439" y="458"/>
                  </a:lnTo>
                  <a:lnTo>
                    <a:pt x="439" y="453"/>
                  </a:lnTo>
                  <a:lnTo>
                    <a:pt x="439" y="448"/>
                  </a:lnTo>
                  <a:lnTo>
                    <a:pt x="439" y="444"/>
                  </a:lnTo>
                  <a:lnTo>
                    <a:pt x="434" y="444"/>
                  </a:lnTo>
                  <a:lnTo>
                    <a:pt x="434" y="439"/>
                  </a:lnTo>
                  <a:lnTo>
                    <a:pt x="434" y="439"/>
                  </a:lnTo>
                  <a:lnTo>
                    <a:pt x="430" y="439"/>
                  </a:lnTo>
                  <a:lnTo>
                    <a:pt x="430" y="435"/>
                  </a:lnTo>
                  <a:lnTo>
                    <a:pt x="421" y="416"/>
                  </a:lnTo>
                  <a:lnTo>
                    <a:pt x="416" y="416"/>
                  </a:lnTo>
                  <a:lnTo>
                    <a:pt x="416" y="416"/>
                  </a:lnTo>
                  <a:lnTo>
                    <a:pt x="416" y="412"/>
                  </a:lnTo>
                  <a:lnTo>
                    <a:pt x="416" y="407"/>
                  </a:lnTo>
                  <a:lnTo>
                    <a:pt x="411" y="407"/>
                  </a:lnTo>
                  <a:lnTo>
                    <a:pt x="407" y="407"/>
                  </a:lnTo>
                  <a:lnTo>
                    <a:pt x="398" y="407"/>
                  </a:lnTo>
                  <a:lnTo>
                    <a:pt x="398" y="403"/>
                  </a:lnTo>
                  <a:lnTo>
                    <a:pt x="393" y="403"/>
                  </a:lnTo>
                  <a:lnTo>
                    <a:pt x="393" y="398"/>
                  </a:lnTo>
                  <a:lnTo>
                    <a:pt x="393" y="398"/>
                  </a:lnTo>
                  <a:lnTo>
                    <a:pt x="393" y="394"/>
                  </a:lnTo>
                  <a:lnTo>
                    <a:pt x="393" y="394"/>
                  </a:lnTo>
                  <a:lnTo>
                    <a:pt x="393" y="389"/>
                  </a:lnTo>
                  <a:lnTo>
                    <a:pt x="393" y="384"/>
                  </a:lnTo>
                  <a:lnTo>
                    <a:pt x="393" y="380"/>
                  </a:lnTo>
                  <a:lnTo>
                    <a:pt x="393" y="380"/>
                  </a:lnTo>
                  <a:lnTo>
                    <a:pt x="393" y="375"/>
                  </a:lnTo>
                  <a:lnTo>
                    <a:pt x="393" y="371"/>
                  </a:lnTo>
                  <a:lnTo>
                    <a:pt x="398" y="371"/>
                  </a:lnTo>
                  <a:lnTo>
                    <a:pt x="398" y="371"/>
                  </a:lnTo>
                  <a:lnTo>
                    <a:pt x="398" y="366"/>
                  </a:lnTo>
                  <a:lnTo>
                    <a:pt x="402" y="362"/>
                  </a:lnTo>
                  <a:lnTo>
                    <a:pt x="402" y="352"/>
                  </a:lnTo>
                  <a:lnTo>
                    <a:pt x="402" y="348"/>
                  </a:lnTo>
                  <a:lnTo>
                    <a:pt x="407" y="339"/>
                  </a:lnTo>
                  <a:lnTo>
                    <a:pt x="402" y="334"/>
                  </a:lnTo>
                  <a:lnTo>
                    <a:pt x="402" y="330"/>
                  </a:lnTo>
                  <a:lnTo>
                    <a:pt x="402" y="330"/>
                  </a:lnTo>
                  <a:lnTo>
                    <a:pt x="402" y="325"/>
                  </a:lnTo>
                  <a:lnTo>
                    <a:pt x="398" y="320"/>
                  </a:lnTo>
                  <a:lnTo>
                    <a:pt x="398" y="316"/>
                  </a:lnTo>
                  <a:lnTo>
                    <a:pt x="393" y="311"/>
                  </a:lnTo>
                  <a:lnTo>
                    <a:pt x="393" y="307"/>
                  </a:lnTo>
                  <a:lnTo>
                    <a:pt x="393" y="307"/>
                  </a:lnTo>
                  <a:lnTo>
                    <a:pt x="389" y="302"/>
                  </a:lnTo>
                  <a:lnTo>
                    <a:pt x="384" y="298"/>
                  </a:lnTo>
                  <a:lnTo>
                    <a:pt x="379" y="298"/>
                  </a:lnTo>
                  <a:lnTo>
                    <a:pt x="375" y="298"/>
                  </a:lnTo>
                  <a:lnTo>
                    <a:pt x="375" y="298"/>
                  </a:lnTo>
                  <a:lnTo>
                    <a:pt x="370" y="302"/>
                  </a:lnTo>
                  <a:lnTo>
                    <a:pt x="366" y="302"/>
                  </a:lnTo>
                  <a:lnTo>
                    <a:pt x="361" y="302"/>
                  </a:lnTo>
                  <a:lnTo>
                    <a:pt x="357" y="302"/>
                  </a:lnTo>
                  <a:lnTo>
                    <a:pt x="352" y="307"/>
                  </a:lnTo>
                  <a:lnTo>
                    <a:pt x="347" y="307"/>
                  </a:lnTo>
                  <a:lnTo>
                    <a:pt x="343" y="307"/>
                  </a:lnTo>
                  <a:lnTo>
                    <a:pt x="338" y="307"/>
                  </a:lnTo>
                  <a:lnTo>
                    <a:pt x="334" y="307"/>
                  </a:lnTo>
                  <a:lnTo>
                    <a:pt x="334" y="302"/>
                  </a:lnTo>
                  <a:lnTo>
                    <a:pt x="329" y="298"/>
                  </a:lnTo>
                  <a:lnTo>
                    <a:pt x="329" y="293"/>
                  </a:lnTo>
                  <a:lnTo>
                    <a:pt x="329" y="284"/>
                  </a:lnTo>
                  <a:lnTo>
                    <a:pt x="334" y="284"/>
                  </a:lnTo>
                  <a:lnTo>
                    <a:pt x="334" y="284"/>
                  </a:lnTo>
                  <a:lnTo>
                    <a:pt x="338" y="284"/>
                  </a:lnTo>
                  <a:lnTo>
                    <a:pt x="343" y="279"/>
                  </a:lnTo>
                  <a:lnTo>
                    <a:pt x="347" y="275"/>
                  </a:lnTo>
                  <a:lnTo>
                    <a:pt x="352" y="275"/>
                  </a:lnTo>
                  <a:lnTo>
                    <a:pt x="352" y="270"/>
                  </a:lnTo>
                  <a:lnTo>
                    <a:pt x="352" y="266"/>
                  </a:lnTo>
                  <a:lnTo>
                    <a:pt x="352" y="261"/>
                  </a:lnTo>
                  <a:lnTo>
                    <a:pt x="357" y="261"/>
                  </a:lnTo>
                  <a:lnTo>
                    <a:pt x="361" y="261"/>
                  </a:lnTo>
                  <a:lnTo>
                    <a:pt x="366" y="256"/>
                  </a:lnTo>
                  <a:lnTo>
                    <a:pt x="370" y="252"/>
                  </a:lnTo>
                  <a:lnTo>
                    <a:pt x="375" y="252"/>
                  </a:lnTo>
                  <a:lnTo>
                    <a:pt x="375" y="252"/>
                  </a:lnTo>
                  <a:lnTo>
                    <a:pt x="384" y="247"/>
                  </a:lnTo>
                  <a:lnTo>
                    <a:pt x="389" y="247"/>
                  </a:lnTo>
                  <a:lnTo>
                    <a:pt x="393" y="247"/>
                  </a:lnTo>
                  <a:lnTo>
                    <a:pt x="398" y="247"/>
                  </a:lnTo>
                  <a:lnTo>
                    <a:pt x="402" y="243"/>
                  </a:lnTo>
                  <a:lnTo>
                    <a:pt x="407" y="243"/>
                  </a:lnTo>
                  <a:lnTo>
                    <a:pt x="411" y="238"/>
                  </a:lnTo>
                  <a:lnTo>
                    <a:pt x="416" y="238"/>
                  </a:lnTo>
                  <a:lnTo>
                    <a:pt x="430" y="234"/>
                  </a:lnTo>
                  <a:lnTo>
                    <a:pt x="439" y="229"/>
                  </a:lnTo>
                  <a:lnTo>
                    <a:pt x="439" y="229"/>
                  </a:lnTo>
                  <a:lnTo>
                    <a:pt x="443" y="224"/>
                  </a:lnTo>
                  <a:lnTo>
                    <a:pt x="448" y="224"/>
                  </a:lnTo>
                  <a:lnTo>
                    <a:pt x="453" y="220"/>
                  </a:lnTo>
                  <a:lnTo>
                    <a:pt x="457" y="220"/>
                  </a:lnTo>
                  <a:lnTo>
                    <a:pt x="462" y="220"/>
                  </a:lnTo>
                  <a:lnTo>
                    <a:pt x="462" y="220"/>
                  </a:lnTo>
                  <a:lnTo>
                    <a:pt x="466" y="215"/>
                  </a:lnTo>
                  <a:lnTo>
                    <a:pt x="471" y="215"/>
                  </a:lnTo>
                  <a:lnTo>
                    <a:pt x="475" y="211"/>
                  </a:lnTo>
                  <a:lnTo>
                    <a:pt x="480" y="211"/>
                  </a:lnTo>
                  <a:lnTo>
                    <a:pt x="485" y="211"/>
                  </a:lnTo>
                  <a:lnTo>
                    <a:pt x="489" y="206"/>
                  </a:lnTo>
                  <a:lnTo>
                    <a:pt x="498" y="206"/>
                  </a:lnTo>
                  <a:lnTo>
                    <a:pt x="503" y="202"/>
                  </a:lnTo>
                  <a:lnTo>
                    <a:pt x="503" y="202"/>
                  </a:lnTo>
                  <a:lnTo>
                    <a:pt x="507" y="202"/>
                  </a:lnTo>
                  <a:lnTo>
                    <a:pt x="507" y="197"/>
                  </a:lnTo>
                  <a:lnTo>
                    <a:pt x="512" y="197"/>
                  </a:lnTo>
                  <a:lnTo>
                    <a:pt x="517" y="192"/>
                  </a:lnTo>
                  <a:lnTo>
                    <a:pt x="521" y="188"/>
                  </a:lnTo>
                  <a:lnTo>
                    <a:pt x="526" y="179"/>
                  </a:lnTo>
                  <a:lnTo>
                    <a:pt x="526" y="174"/>
                  </a:lnTo>
                  <a:lnTo>
                    <a:pt x="526" y="174"/>
                  </a:lnTo>
                  <a:lnTo>
                    <a:pt x="526" y="170"/>
                  </a:lnTo>
                  <a:lnTo>
                    <a:pt x="530" y="160"/>
                  </a:lnTo>
                  <a:lnTo>
                    <a:pt x="530" y="138"/>
                  </a:lnTo>
                  <a:lnTo>
                    <a:pt x="530" y="110"/>
                  </a:lnTo>
                  <a:lnTo>
                    <a:pt x="535" y="106"/>
                  </a:lnTo>
                  <a:lnTo>
                    <a:pt x="535" y="92"/>
                  </a:lnTo>
                  <a:lnTo>
                    <a:pt x="539" y="83"/>
                  </a:lnTo>
                  <a:lnTo>
                    <a:pt x="544" y="74"/>
                  </a:lnTo>
                  <a:lnTo>
                    <a:pt x="544" y="69"/>
                  </a:lnTo>
                  <a:lnTo>
                    <a:pt x="549" y="64"/>
                  </a:lnTo>
                  <a:lnTo>
                    <a:pt x="549" y="64"/>
                  </a:lnTo>
                  <a:lnTo>
                    <a:pt x="549" y="60"/>
                  </a:lnTo>
                  <a:lnTo>
                    <a:pt x="549" y="55"/>
                  </a:lnTo>
                  <a:lnTo>
                    <a:pt x="553" y="51"/>
                  </a:lnTo>
                  <a:lnTo>
                    <a:pt x="558" y="51"/>
                  </a:lnTo>
                  <a:lnTo>
                    <a:pt x="558" y="46"/>
                  </a:lnTo>
                  <a:lnTo>
                    <a:pt x="562" y="46"/>
                  </a:lnTo>
                  <a:lnTo>
                    <a:pt x="567" y="42"/>
                  </a:lnTo>
                  <a:lnTo>
                    <a:pt x="567" y="42"/>
                  </a:lnTo>
                  <a:lnTo>
                    <a:pt x="571" y="42"/>
                  </a:lnTo>
                  <a:lnTo>
                    <a:pt x="576" y="37"/>
                  </a:lnTo>
                  <a:lnTo>
                    <a:pt x="585" y="37"/>
                  </a:lnTo>
                  <a:lnTo>
                    <a:pt x="594" y="32"/>
                  </a:lnTo>
                  <a:lnTo>
                    <a:pt x="603" y="32"/>
                  </a:lnTo>
                  <a:lnTo>
                    <a:pt x="608" y="32"/>
                  </a:lnTo>
                  <a:lnTo>
                    <a:pt x="617" y="28"/>
                  </a:lnTo>
                  <a:lnTo>
                    <a:pt x="622" y="28"/>
                  </a:lnTo>
                  <a:lnTo>
                    <a:pt x="626" y="28"/>
                  </a:lnTo>
                  <a:lnTo>
                    <a:pt x="631" y="32"/>
                  </a:lnTo>
                  <a:lnTo>
                    <a:pt x="635" y="37"/>
                  </a:lnTo>
                  <a:lnTo>
                    <a:pt x="635" y="37"/>
                  </a:lnTo>
                  <a:lnTo>
                    <a:pt x="640" y="37"/>
                  </a:lnTo>
                  <a:lnTo>
                    <a:pt x="645" y="37"/>
                  </a:lnTo>
                  <a:lnTo>
                    <a:pt x="645" y="32"/>
                  </a:lnTo>
                  <a:lnTo>
                    <a:pt x="649" y="32"/>
                  </a:lnTo>
                  <a:lnTo>
                    <a:pt x="649" y="28"/>
                  </a:lnTo>
                  <a:lnTo>
                    <a:pt x="654" y="28"/>
                  </a:lnTo>
                  <a:lnTo>
                    <a:pt x="654" y="23"/>
                  </a:lnTo>
                  <a:lnTo>
                    <a:pt x="658" y="23"/>
                  </a:lnTo>
                  <a:lnTo>
                    <a:pt x="658" y="23"/>
                  </a:lnTo>
                  <a:lnTo>
                    <a:pt x="667" y="19"/>
                  </a:lnTo>
                  <a:lnTo>
                    <a:pt x="677" y="14"/>
                  </a:lnTo>
                  <a:lnTo>
                    <a:pt x="681" y="10"/>
                  </a:lnTo>
                  <a:lnTo>
                    <a:pt x="681" y="10"/>
                  </a:lnTo>
                  <a:lnTo>
                    <a:pt x="681" y="5"/>
                  </a:lnTo>
                  <a:lnTo>
                    <a:pt x="686" y="5"/>
                  </a:lnTo>
                  <a:lnTo>
                    <a:pt x="690" y="0"/>
                  </a:lnTo>
                  <a:lnTo>
                    <a:pt x="690" y="0"/>
                  </a:lnTo>
                  <a:lnTo>
                    <a:pt x="704" y="0"/>
                  </a:lnTo>
                  <a:lnTo>
                    <a:pt x="704" y="5"/>
                  </a:lnTo>
                  <a:lnTo>
                    <a:pt x="709" y="10"/>
                  </a:lnTo>
                  <a:lnTo>
                    <a:pt x="713" y="10"/>
                  </a:lnTo>
                  <a:lnTo>
                    <a:pt x="713" y="14"/>
                  </a:lnTo>
                  <a:lnTo>
                    <a:pt x="718" y="14"/>
                  </a:lnTo>
                  <a:lnTo>
                    <a:pt x="722" y="19"/>
                  </a:lnTo>
                  <a:lnTo>
                    <a:pt x="722" y="23"/>
                  </a:lnTo>
                  <a:lnTo>
                    <a:pt x="736" y="32"/>
                  </a:lnTo>
                  <a:lnTo>
                    <a:pt x="736" y="37"/>
                  </a:lnTo>
                  <a:lnTo>
                    <a:pt x="736" y="42"/>
                  </a:lnTo>
                  <a:lnTo>
                    <a:pt x="741" y="46"/>
                  </a:lnTo>
                  <a:lnTo>
                    <a:pt x="745" y="51"/>
                  </a:lnTo>
                  <a:lnTo>
                    <a:pt x="745" y="55"/>
                  </a:lnTo>
                  <a:lnTo>
                    <a:pt x="745" y="64"/>
                  </a:lnTo>
                  <a:lnTo>
                    <a:pt x="745" y="64"/>
                  </a:lnTo>
                  <a:lnTo>
                    <a:pt x="745" y="78"/>
                  </a:lnTo>
                  <a:lnTo>
                    <a:pt x="745" y="87"/>
                  </a:lnTo>
                  <a:lnTo>
                    <a:pt x="745" y="101"/>
                  </a:lnTo>
                  <a:lnTo>
                    <a:pt x="745" y="106"/>
                  </a:lnTo>
                  <a:lnTo>
                    <a:pt x="745" y="110"/>
                  </a:lnTo>
                  <a:lnTo>
                    <a:pt x="745" y="119"/>
                  </a:lnTo>
                  <a:lnTo>
                    <a:pt x="745" y="128"/>
                  </a:lnTo>
                  <a:lnTo>
                    <a:pt x="750" y="133"/>
                  </a:lnTo>
                  <a:lnTo>
                    <a:pt x="750" y="138"/>
                  </a:lnTo>
                  <a:lnTo>
                    <a:pt x="754" y="142"/>
                  </a:lnTo>
                  <a:lnTo>
                    <a:pt x="754" y="147"/>
                  </a:lnTo>
                  <a:lnTo>
                    <a:pt x="759" y="156"/>
                  </a:lnTo>
                  <a:lnTo>
                    <a:pt x="763" y="160"/>
                  </a:lnTo>
                  <a:lnTo>
                    <a:pt x="763" y="165"/>
                  </a:lnTo>
                  <a:lnTo>
                    <a:pt x="768" y="170"/>
                  </a:lnTo>
                  <a:lnTo>
                    <a:pt x="768" y="174"/>
                  </a:lnTo>
                  <a:lnTo>
                    <a:pt x="768" y="183"/>
                  </a:lnTo>
                  <a:lnTo>
                    <a:pt x="768" y="192"/>
                  </a:lnTo>
                  <a:lnTo>
                    <a:pt x="768" y="202"/>
                  </a:lnTo>
                  <a:lnTo>
                    <a:pt x="768" y="206"/>
                  </a:lnTo>
                  <a:lnTo>
                    <a:pt x="768" y="215"/>
                  </a:lnTo>
                  <a:lnTo>
                    <a:pt x="768" y="220"/>
                  </a:lnTo>
                  <a:lnTo>
                    <a:pt x="768" y="224"/>
                  </a:lnTo>
                  <a:lnTo>
                    <a:pt x="768" y="229"/>
                  </a:lnTo>
                  <a:lnTo>
                    <a:pt x="773" y="234"/>
                  </a:lnTo>
                  <a:lnTo>
                    <a:pt x="773" y="238"/>
                  </a:lnTo>
                  <a:lnTo>
                    <a:pt x="777" y="238"/>
                  </a:lnTo>
                  <a:lnTo>
                    <a:pt x="777" y="238"/>
                  </a:lnTo>
                  <a:lnTo>
                    <a:pt x="777" y="243"/>
                  </a:lnTo>
                  <a:lnTo>
                    <a:pt x="777" y="256"/>
                  </a:lnTo>
                  <a:lnTo>
                    <a:pt x="777" y="261"/>
                  </a:lnTo>
                  <a:lnTo>
                    <a:pt x="777" y="261"/>
                  </a:lnTo>
                  <a:lnTo>
                    <a:pt x="777" y="266"/>
                  </a:lnTo>
                  <a:lnTo>
                    <a:pt x="782" y="270"/>
                  </a:lnTo>
                  <a:lnTo>
                    <a:pt x="782" y="275"/>
                  </a:lnTo>
                  <a:lnTo>
                    <a:pt x="791" y="284"/>
                  </a:lnTo>
                  <a:lnTo>
                    <a:pt x="791" y="284"/>
                  </a:lnTo>
                  <a:lnTo>
                    <a:pt x="791" y="288"/>
                  </a:lnTo>
                  <a:lnTo>
                    <a:pt x="791" y="288"/>
                  </a:lnTo>
                  <a:lnTo>
                    <a:pt x="791" y="293"/>
                  </a:lnTo>
                  <a:lnTo>
                    <a:pt x="795" y="298"/>
                  </a:lnTo>
                  <a:lnTo>
                    <a:pt x="795" y="302"/>
                  </a:lnTo>
                  <a:lnTo>
                    <a:pt x="800" y="302"/>
                  </a:lnTo>
                  <a:lnTo>
                    <a:pt x="800" y="307"/>
                  </a:lnTo>
                  <a:lnTo>
                    <a:pt x="805" y="311"/>
                  </a:lnTo>
                  <a:lnTo>
                    <a:pt x="805" y="320"/>
                  </a:lnTo>
                  <a:lnTo>
                    <a:pt x="809" y="330"/>
                  </a:lnTo>
                  <a:lnTo>
                    <a:pt x="814" y="348"/>
                  </a:lnTo>
                  <a:lnTo>
                    <a:pt x="814" y="357"/>
                  </a:lnTo>
                  <a:lnTo>
                    <a:pt x="814" y="366"/>
                  </a:lnTo>
                  <a:lnTo>
                    <a:pt x="818" y="371"/>
                  </a:lnTo>
                  <a:lnTo>
                    <a:pt x="818" y="380"/>
                  </a:lnTo>
                  <a:lnTo>
                    <a:pt x="818" y="389"/>
                  </a:lnTo>
                  <a:lnTo>
                    <a:pt x="818" y="394"/>
                  </a:lnTo>
                  <a:lnTo>
                    <a:pt x="818" y="394"/>
                  </a:lnTo>
                  <a:lnTo>
                    <a:pt x="818" y="398"/>
                  </a:lnTo>
                  <a:lnTo>
                    <a:pt x="818" y="403"/>
                  </a:lnTo>
                  <a:lnTo>
                    <a:pt x="818" y="407"/>
                  </a:lnTo>
                  <a:lnTo>
                    <a:pt x="818" y="412"/>
                  </a:lnTo>
                  <a:lnTo>
                    <a:pt x="814" y="416"/>
                  </a:lnTo>
                  <a:lnTo>
                    <a:pt x="814" y="416"/>
                  </a:lnTo>
                  <a:lnTo>
                    <a:pt x="814" y="421"/>
                  </a:lnTo>
                  <a:lnTo>
                    <a:pt x="809" y="426"/>
                  </a:lnTo>
                  <a:lnTo>
                    <a:pt x="809" y="430"/>
                  </a:lnTo>
                  <a:lnTo>
                    <a:pt x="805" y="430"/>
                  </a:lnTo>
                  <a:lnTo>
                    <a:pt x="805" y="435"/>
                  </a:lnTo>
                  <a:lnTo>
                    <a:pt x="800" y="439"/>
                  </a:lnTo>
                  <a:lnTo>
                    <a:pt x="800" y="439"/>
                  </a:lnTo>
                  <a:lnTo>
                    <a:pt x="795" y="439"/>
                  </a:lnTo>
                  <a:lnTo>
                    <a:pt x="795" y="444"/>
                  </a:lnTo>
                  <a:lnTo>
                    <a:pt x="795" y="448"/>
                  </a:lnTo>
                  <a:lnTo>
                    <a:pt x="800" y="453"/>
                  </a:lnTo>
                  <a:lnTo>
                    <a:pt x="800" y="458"/>
                  </a:lnTo>
                  <a:lnTo>
                    <a:pt x="805" y="458"/>
                  </a:lnTo>
                  <a:lnTo>
                    <a:pt x="809" y="462"/>
                  </a:lnTo>
                  <a:lnTo>
                    <a:pt x="814" y="462"/>
                  </a:lnTo>
                  <a:lnTo>
                    <a:pt x="814" y="467"/>
                  </a:lnTo>
                  <a:lnTo>
                    <a:pt x="818" y="467"/>
                  </a:lnTo>
                  <a:lnTo>
                    <a:pt x="827" y="467"/>
                  </a:lnTo>
                  <a:lnTo>
                    <a:pt x="832" y="467"/>
                  </a:lnTo>
                  <a:lnTo>
                    <a:pt x="832" y="467"/>
                  </a:lnTo>
                  <a:lnTo>
                    <a:pt x="846" y="467"/>
                  </a:lnTo>
                  <a:lnTo>
                    <a:pt x="855" y="467"/>
                  </a:lnTo>
                  <a:lnTo>
                    <a:pt x="855" y="471"/>
                  </a:lnTo>
                  <a:lnTo>
                    <a:pt x="850" y="476"/>
                  </a:lnTo>
                  <a:lnTo>
                    <a:pt x="850" y="480"/>
                  </a:lnTo>
                  <a:lnTo>
                    <a:pt x="841" y="490"/>
                  </a:lnTo>
                  <a:lnTo>
                    <a:pt x="837" y="503"/>
                  </a:lnTo>
                  <a:lnTo>
                    <a:pt x="832" y="508"/>
                  </a:lnTo>
                  <a:lnTo>
                    <a:pt x="823" y="517"/>
                  </a:lnTo>
                  <a:lnTo>
                    <a:pt x="814" y="526"/>
                  </a:lnTo>
                  <a:lnTo>
                    <a:pt x="805" y="531"/>
                  </a:lnTo>
                  <a:lnTo>
                    <a:pt x="800" y="540"/>
                  </a:lnTo>
                  <a:lnTo>
                    <a:pt x="791" y="549"/>
                  </a:lnTo>
                  <a:lnTo>
                    <a:pt x="786" y="549"/>
                  </a:lnTo>
                  <a:lnTo>
                    <a:pt x="777" y="549"/>
                  </a:lnTo>
                  <a:lnTo>
                    <a:pt x="768" y="544"/>
                  </a:lnTo>
                  <a:lnTo>
                    <a:pt x="763" y="535"/>
                  </a:lnTo>
                  <a:lnTo>
                    <a:pt x="750" y="540"/>
                  </a:lnTo>
                  <a:lnTo>
                    <a:pt x="741" y="544"/>
                  </a:lnTo>
                  <a:lnTo>
                    <a:pt x="736" y="549"/>
                  </a:lnTo>
                  <a:lnTo>
                    <a:pt x="731" y="558"/>
                  </a:lnTo>
                  <a:lnTo>
                    <a:pt x="722" y="567"/>
                  </a:lnTo>
                  <a:lnTo>
                    <a:pt x="718" y="572"/>
                  </a:lnTo>
                  <a:lnTo>
                    <a:pt x="704" y="581"/>
                  </a:lnTo>
                  <a:lnTo>
                    <a:pt x="695" y="590"/>
                  </a:lnTo>
                  <a:lnTo>
                    <a:pt x="699" y="595"/>
                  </a:lnTo>
                  <a:lnTo>
                    <a:pt x="699" y="608"/>
                  </a:lnTo>
                  <a:lnTo>
                    <a:pt x="704" y="613"/>
                  </a:lnTo>
                  <a:lnTo>
                    <a:pt x="709" y="618"/>
                  </a:lnTo>
                  <a:lnTo>
                    <a:pt x="713" y="627"/>
                  </a:lnTo>
                  <a:lnTo>
                    <a:pt x="713" y="636"/>
                  </a:lnTo>
                  <a:lnTo>
                    <a:pt x="704" y="636"/>
                  </a:lnTo>
                  <a:lnTo>
                    <a:pt x="699" y="627"/>
                  </a:lnTo>
                  <a:lnTo>
                    <a:pt x="695" y="622"/>
                  </a:lnTo>
                  <a:lnTo>
                    <a:pt x="686" y="622"/>
                  </a:lnTo>
                  <a:lnTo>
                    <a:pt x="681" y="622"/>
                  </a:lnTo>
                  <a:lnTo>
                    <a:pt x="681" y="631"/>
                  </a:lnTo>
                  <a:lnTo>
                    <a:pt x="681" y="636"/>
                  </a:lnTo>
                  <a:lnTo>
                    <a:pt x="681" y="645"/>
                  </a:lnTo>
                  <a:lnTo>
                    <a:pt x="681" y="659"/>
                  </a:lnTo>
                  <a:lnTo>
                    <a:pt x="677" y="668"/>
                  </a:lnTo>
                  <a:lnTo>
                    <a:pt x="672" y="672"/>
                  </a:lnTo>
                  <a:lnTo>
                    <a:pt x="672" y="677"/>
                  </a:lnTo>
                  <a:lnTo>
                    <a:pt x="667" y="677"/>
                  </a:lnTo>
                  <a:lnTo>
                    <a:pt x="658" y="686"/>
                  </a:lnTo>
                  <a:lnTo>
                    <a:pt x="658" y="695"/>
                  </a:lnTo>
                  <a:lnTo>
                    <a:pt x="658" y="700"/>
                  </a:lnTo>
                  <a:lnTo>
                    <a:pt x="654" y="704"/>
                  </a:lnTo>
                  <a:lnTo>
                    <a:pt x="654" y="714"/>
                  </a:lnTo>
                  <a:lnTo>
                    <a:pt x="654" y="718"/>
                  </a:lnTo>
                  <a:lnTo>
                    <a:pt x="654" y="723"/>
                  </a:lnTo>
                  <a:lnTo>
                    <a:pt x="658" y="723"/>
                  </a:lnTo>
                  <a:lnTo>
                    <a:pt x="672" y="736"/>
                  </a:lnTo>
                  <a:lnTo>
                    <a:pt x="672" y="746"/>
                  </a:lnTo>
                  <a:lnTo>
                    <a:pt x="681" y="755"/>
                  </a:lnTo>
                  <a:lnTo>
                    <a:pt x="681" y="759"/>
                  </a:lnTo>
                  <a:lnTo>
                    <a:pt x="681" y="768"/>
                  </a:lnTo>
                  <a:lnTo>
                    <a:pt x="686" y="768"/>
                  </a:lnTo>
                  <a:lnTo>
                    <a:pt x="695" y="773"/>
                  </a:lnTo>
                  <a:lnTo>
                    <a:pt x="709" y="773"/>
                  </a:lnTo>
                  <a:lnTo>
                    <a:pt x="722" y="773"/>
                  </a:lnTo>
                  <a:lnTo>
                    <a:pt x="731" y="782"/>
                  </a:lnTo>
                  <a:lnTo>
                    <a:pt x="754" y="787"/>
                  </a:lnTo>
                  <a:lnTo>
                    <a:pt x="768" y="791"/>
                  </a:lnTo>
                  <a:lnTo>
                    <a:pt x="777" y="800"/>
                  </a:lnTo>
                  <a:lnTo>
                    <a:pt x="777" y="810"/>
                  </a:lnTo>
                  <a:lnTo>
                    <a:pt x="777" y="810"/>
                  </a:lnTo>
                  <a:lnTo>
                    <a:pt x="777" y="828"/>
                  </a:lnTo>
                  <a:lnTo>
                    <a:pt x="777" y="837"/>
                  </a:lnTo>
                  <a:lnTo>
                    <a:pt x="777" y="851"/>
                  </a:lnTo>
                  <a:lnTo>
                    <a:pt x="782" y="860"/>
                  </a:lnTo>
                  <a:lnTo>
                    <a:pt x="791" y="869"/>
                  </a:lnTo>
                  <a:lnTo>
                    <a:pt x="782" y="878"/>
                  </a:lnTo>
                  <a:lnTo>
                    <a:pt x="777" y="887"/>
                  </a:lnTo>
                  <a:lnTo>
                    <a:pt x="773" y="896"/>
                  </a:lnTo>
                  <a:lnTo>
                    <a:pt x="773" y="906"/>
                  </a:lnTo>
                  <a:lnTo>
                    <a:pt x="768" y="910"/>
                  </a:lnTo>
                  <a:lnTo>
                    <a:pt x="754" y="915"/>
                  </a:lnTo>
                  <a:lnTo>
                    <a:pt x="745" y="919"/>
                  </a:lnTo>
                  <a:lnTo>
                    <a:pt x="736" y="919"/>
                  </a:lnTo>
                  <a:lnTo>
                    <a:pt x="731" y="919"/>
                  </a:lnTo>
                  <a:lnTo>
                    <a:pt x="722" y="928"/>
                  </a:lnTo>
                  <a:lnTo>
                    <a:pt x="727" y="942"/>
                  </a:lnTo>
                  <a:lnTo>
                    <a:pt x="745" y="947"/>
                  </a:lnTo>
                  <a:lnTo>
                    <a:pt x="763" y="960"/>
                  </a:lnTo>
                  <a:lnTo>
                    <a:pt x="777" y="970"/>
                  </a:lnTo>
                  <a:lnTo>
                    <a:pt x="800" y="983"/>
                  </a:lnTo>
                  <a:lnTo>
                    <a:pt x="818" y="997"/>
                  </a:lnTo>
                  <a:lnTo>
                    <a:pt x="832" y="1011"/>
                  </a:lnTo>
                  <a:lnTo>
                    <a:pt x="837" y="1020"/>
                  </a:lnTo>
                  <a:lnTo>
                    <a:pt x="832" y="1029"/>
                  </a:lnTo>
                  <a:lnTo>
                    <a:pt x="832" y="1038"/>
                  </a:lnTo>
                  <a:lnTo>
                    <a:pt x="832" y="1052"/>
                  </a:lnTo>
                  <a:lnTo>
                    <a:pt x="832" y="1075"/>
                  </a:lnTo>
                  <a:lnTo>
                    <a:pt x="837" y="1079"/>
                  </a:lnTo>
                  <a:lnTo>
                    <a:pt x="841" y="1116"/>
                  </a:lnTo>
                  <a:lnTo>
                    <a:pt x="832" y="1116"/>
                  </a:lnTo>
                  <a:lnTo>
                    <a:pt x="823" y="1116"/>
                  </a:lnTo>
                  <a:lnTo>
                    <a:pt x="818" y="1116"/>
                  </a:lnTo>
                  <a:lnTo>
                    <a:pt x="814" y="1116"/>
                  </a:lnTo>
                  <a:lnTo>
                    <a:pt x="809" y="1116"/>
                  </a:lnTo>
                  <a:lnTo>
                    <a:pt x="805" y="1120"/>
                  </a:lnTo>
                  <a:lnTo>
                    <a:pt x="800" y="1120"/>
                  </a:lnTo>
                  <a:lnTo>
                    <a:pt x="791" y="1125"/>
                  </a:lnTo>
                  <a:lnTo>
                    <a:pt x="791" y="1125"/>
                  </a:lnTo>
                  <a:lnTo>
                    <a:pt x="786" y="1130"/>
                  </a:lnTo>
                  <a:lnTo>
                    <a:pt x="782" y="1130"/>
                  </a:lnTo>
                  <a:lnTo>
                    <a:pt x="782" y="1134"/>
                  </a:lnTo>
                  <a:lnTo>
                    <a:pt x="777" y="1134"/>
                  </a:lnTo>
                  <a:lnTo>
                    <a:pt x="773" y="1134"/>
                  </a:lnTo>
                  <a:lnTo>
                    <a:pt x="768" y="1139"/>
                  </a:lnTo>
                  <a:lnTo>
                    <a:pt x="768" y="1139"/>
                  </a:lnTo>
                  <a:lnTo>
                    <a:pt x="763" y="1139"/>
                  </a:lnTo>
                  <a:lnTo>
                    <a:pt x="763" y="1143"/>
                  </a:lnTo>
                  <a:lnTo>
                    <a:pt x="759" y="1143"/>
                  </a:lnTo>
                  <a:lnTo>
                    <a:pt x="754" y="1143"/>
                  </a:lnTo>
                  <a:lnTo>
                    <a:pt x="750" y="1148"/>
                  </a:lnTo>
                  <a:lnTo>
                    <a:pt x="745" y="1148"/>
                  </a:lnTo>
                  <a:lnTo>
                    <a:pt x="741" y="1152"/>
                  </a:lnTo>
                  <a:lnTo>
                    <a:pt x="727" y="1152"/>
                  </a:lnTo>
                  <a:lnTo>
                    <a:pt x="722" y="1152"/>
                  </a:lnTo>
                  <a:lnTo>
                    <a:pt x="718" y="1152"/>
                  </a:lnTo>
                  <a:lnTo>
                    <a:pt x="713" y="1152"/>
                  </a:lnTo>
                  <a:lnTo>
                    <a:pt x="695" y="1157"/>
                  </a:lnTo>
                  <a:lnTo>
                    <a:pt x="690" y="1152"/>
                  </a:lnTo>
                  <a:lnTo>
                    <a:pt x="681" y="1148"/>
                  </a:lnTo>
                  <a:lnTo>
                    <a:pt x="681" y="1148"/>
                  </a:lnTo>
                  <a:lnTo>
                    <a:pt x="681" y="1143"/>
                  </a:lnTo>
                  <a:lnTo>
                    <a:pt x="677" y="1139"/>
                  </a:lnTo>
                  <a:lnTo>
                    <a:pt x="663" y="1134"/>
                  </a:lnTo>
                  <a:lnTo>
                    <a:pt x="658" y="1125"/>
                  </a:lnTo>
                  <a:lnTo>
                    <a:pt x="649" y="1120"/>
                  </a:lnTo>
                  <a:lnTo>
                    <a:pt x="645" y="1116"/>
                  </a:lnTo>
                  <a:lnTo>
                    <a:pt x="640" y="1116"/>
                  </a:lnTo>
                  <a:lnTo>
                    <a:pt x="635" y="1116"/>
                  </a:lnTo>
                  <a:lnTo>
                    <a:pt x="635" y="1116"/>
                  </a:lnTo>
                  <a:lnTo>
                    <a:pt x="631" y="1111"/>
                  </a:lnTo>
                  <a:lnTo>
                    <a:pt x="626" y="1107"/>
                  </a:lnTo>
                  <a:lnTo>
                    <a:pt x="622" y="1107"/>
                  </a:lnTo>
                  <a:lnTo>
                    <a:pt x="617" y="1102"/>
                  </a:lnTo>
                  <a:lnTo>
                    <a:pt x="613" y="1098"/>
                  </a:lnTo>
                  <a:lnTo>
                    <a:pt x="613" y="1098"/>
                  </a:lnTo>
                  <a:lnTo>
                    <a:pt x="608" y="1098"/>
                  </a:lnTo>
                  <a:lnTo>
                    <a:pt x="603" y="1093"/>
                  </a:lnTo>
                  <a:lnTo>
                    <a:pt x="599" y="1093"/>
                  </a:lnTo>
                  <a:lnTo>
                    <a:pt x="594" y="1088"/>
                  </a:lnTo>
                  <a:lnTo>
                    <a:pt x="585" y="1088"/>
                  </a:lnTo>
                  <a:lnTo>
                    <a:pt x="581" y="1084"/>
                  </a:lnTo>
                  <a:lnTo>
                    <a:pt x="571" y="1079"/>
                  </a:lnTo>
                  <a:lnTo>
                    <a:pt x="553" y="1079"/>
                  </a:lnTo>
                  <a:lnTo>
                    <a:pt x="549" y="1075"/>
                  </a:lnTo>
                  <a:lnTo>
                    <a:pt x="544" y="1075"/>
                  </a:lnTo>
                  <a:lnTo>
                    <a:pt x="539" y="1075"/>
                  </a:lnTo>
                  <a:lnTo>
                    <a:pt x="535" y="1070"/>
                  </a:lnTo>
                  <a:lnTo>
                    <a:pt x="530" y="1066"/>
                  </a:lnTo>
                  <a:lnTo>
                    <a:pt x="530" y="1061"/>
                  </a:lnTo>
                  <a:lnTo>
                    <a:pt x="526" y="1061"/>
                  </a:lnTo>
                  <a:lnTo>
                    <a:pt x="526" y="1056"/>
                  </a:lnTo>
                  <a:lnTo>
                    <a:pt x="521" y="1056"/>
                  </a:lnTo>
                  <a:lnTo>
                    <a:pt x="517" y="1052"/>
                  </a:lnTo>
                  <a:lnTo>
                    <a:pt x="512" y="1052"/>
                  </a:lnTo>
                  <a:lnTo>
                    <a:pt x="507" y="1052"/>
                  </a:lnTo>
                  <a:lnTo>
                    <a:pt x="503" y="1047"/>
                  </a:lnTo>
                  <a:lnTo>
                    <a:pt x="494" y="1043"/>
                  </a:lnTo>
                  <a:lnTo>
                    <a:pt x="480" y="1043"/>
                  </a:lnTo>
                  <a:lnTo>
                    <a:pt x="475" y="1043"/>
                  </a:lnTo>
                  <a:lnTo>
                    <a:pt x="475" y="1038"/>
                  </a:lnTo>
                  <a:lnTo>
                    <a:pt x="471" y="1038"/>
                  </a:lnTo>
                  <a:lnTo>
                    <a:pt x="466" y="1038"/>
                  </a:lnTo>
                  <a:lnTo>
                    <a:pt x="462" y="1034"/>
                  </a:lnTo>
                  <a:lnTo>
                    <a:pt x="462" y="1034"/>
                  </a:lnTo>
                  <a:lnTo>
                    <a:pt x="448" y="1029"/>
                  </a:lnTo>
                  <a:lnTo>
                    <a:pt x="448" y="1029"/>
                  </a:lnTo>
                  <a:lnTo>
                    <a:pt x="443" y="1029"/>
                  </a:lnTo>
                  <a:lnTo>
                    <a:pt x="439" y="1029"/>
                  </a:lnTo>
                  <a:lnTo>
                    <a:pt x="430" y="1029"/>
                  </a:lnTo>
                  <a:lnTo>
                    <a:pt x="425" y="1029"/>
                  </a:lnTo>
                  <a:lnTo>
                    <a:pt x="421" y="1029"/>
                  </a:lnTo>
                  <a:lnTo>
                    <a:pt x="416" y="1034"/>
                  </a:lnTo>
                  <a:lnTo>
                    <a:pt x="416" y="1038"/>
                  </a:lnTo>
                  <a:lnTo>
                    <a:pt x="416" y="1043"/>
                  </a:lnTo>
                  <a:lnTo>
                    <a:pt x="416" y="1047"/>
                  </a:lnTo>
                  <a:lnTo>
                    <a:pt x="416" y="1052"/>
                  </a:lnTo>
                  <a:lnTo>
                    <a:pt x="421" y="1052"/>
                  </a:lnTo>
                  <a:lnTo>
                    <a:pt x="421" y="1052"/>
                  </a:lnTo>
                  <a:lnTo>
                    <a:pt x="425" y="1052"/>
                  </a:lnTo>
                  <a:lnTo>
                    <a:pt x="425" y="1056"/>
                  </a:lnTo>
                  <a:lnTo>
                    <a:pt x="430" y="1056"/>
                  </a:lnTo>
                  <a:lnTo>
                    <a:pt x="430" y="1061"/>
                  </a:lnTo>
                  <a:lnTo>
                    <a:pt x="434" y="1061"/>
                  </a:lnTo>
                  <a:lnTo>
                    <a:pt x="434" y="1066"/>
                  </a:lnTo>
                  <a:lnTo>
                    <a:pt x="439" y="1070"/>
                  </a:lnTo>
                  <a:lnTo>
                    <a:pt x="439" y="1075"/>
                  </a:lnTo>
                  <a:lnTo>
                    <a:pt x="439" y="1075"/>
                  </a:lnTo>
                  <a:lnTo>
                    <a:pt x="439" y="1079"/>
                  </a:lnTo>
                  <a:lnTo>
                    <a:pt x="434" y="1084"/>
                  </a:lnTo>
                  <a:lnTo>
                    <a:pt x="430" y="1084"/>
                  </a:lnTo>
                  <a:lnTo>
                    <a:pt x="416" y="1088"/>
                  </a:lnTo>
                  <a:lnTo>
                    <a:pt x="411" y="1088"/>
                  </a:lnTo>
                  <a:lnTo>
                    <a:pt x="402" y="1093"/>
                  </a:lnTo>
                  <a:lnTo>
                    <a:pt x="398" y="1098"/>
                  </a:lnTo>
                  <a:lnTo>
                    <a:pt x="393" y="1098"/>
                  </a:lnTo>
                  <a:lnTo>
                    <a:pt x="393" y="1102"/>
                  </a:lnTo>
                  <a:lnTo>
                    <a:pt x="393" y="1111"/>
                  </a:lnTo>
                  <a:lnTo>
                    <a:pt x="393" y="1116"/>
                  </a:lnTo>
                  <a:lnTo>
                    <a:pt x="389" y="1116"/>
                  </a:lnTo>
                  <a:lnTo>
                    <a:pt x="389" y="1116"/>
                  </a:lnTo>
                  <a:lnTo>
                    <a:pt x="384" y="1120"/>
                  </a:lnTo>
                  <a:lnTo>
                    <a:pt x="379" y="1120"/>
                  </a:lnTo>
                  <a:lnTo>
                    <a:pt x="379" y="1125"/>
                  </a:lnTo>
                  <a:lnTo>
                    <a:pt x="375" y="1125"/>
                  </a:lnTo>
                  <a:lnTo>
                    <a:pt x="366" y="1130"/>
                  </a:lnTo>
                  <a:lnTo>
                    <a:pt x="361" y="1130"/>
                  </a:lnTo>
                  <a:lnTo>
                    <a:pt x="347" y="1134"/>
                  </a:lnTo>
                  <a:lnTo>
                    <a:pt x="329" y="1134"/>
                  </a:lnTo>
                  <a:lnTo>
                    <a:pt x="329" y="1134"/>
                  </a:lnTo>
                  <a:lnTo>
                    <a:pt x="306" y="1134"/>
                  </a:lnTo>
                  <a:lnTo>
                    <a:pt x="302" y="1134"/>
                  </a:lnTo>
                  <a:lnTo>
                    <a:pt x="288" y="1134"/>
                  </a:lnTo>
                  <a:lnTo>
                    <a:pt x="283" y="1134"/>
                  </a:lnTo>
                  <a:lnTo>
                    <a:pt x="283" y="1134"/>
                  </a:lnTo>
                  <a:lnTo>
                    <a:pt x="251" y="1125"/>
                  </a:lnTo>
                  <a:lnTo>
                    <a:pt x="242" y="1120"/>
                  </a:lnTo>
                  <a:lnTo>
                    <a:pt x="238" y="1116"/>
                  </a:lnTo>
                  <a:lnTo>
                    <a:pt x="233" y="1116"/>
                  </a:lnTo>
                  <a:lnTo>
                    <a:pt x="229" y="1116"/>
                  </a:lnTo>
                  <a:lnTo>
                    <a:pt x="224" y="1116"/>
                  </a:lnTo>
                  <a:lnTo>
                    <a:pt x="224" y="1111"/>
                  </a:lnTo>
                  <a:lnTo>
                    <a:pt x="219" y="1111"/>
                  </a:lnTo>
                  <a:lnTo>
                    <a:pt x="219" y="1107"/>
                  </a:lnTo>
                  <a:lnTo>
                    <a:pt x="219" y="1102"/>
                  </a:lnTo>
                  <a:lnTo>
                    <a:pt x="215" y="1098"/>
                  </a:lnTo>
                  <a:lnTo>
                    <a:pt x="210" y="1098"/>
                  </a:lnTo>
                  <a:lnTo>
                    <a:pt x="210" y="1093"/>
                  </a:lnTo>
                  <a:lnTo>
                    <a:pt x="210" y="1088"/>
                  </a:lnTo>
                  <a:lnTo>
                    <a:pt x="210" y="1088"/>
                  </a:lnTo>
                  <a:lnTo>
                    <a:pt x="206" y="1084"/>
                  </a:lnTo>
                  <a:lnTo>
                    <a:pt x="201" y="1075"/>
                  </a:lnTo>
                  <a:lnTo>
                    <a:pt x="197" y="1075"/>
                  </a:lnTo>
                  <a:lnTo>
                    <a:pt x="197" y="1075"/>
                  </a:lnTo>
                  <a:lnTo>
                    <a:pt x="192" y="1075"/>
                  </a:lnTo>
                  <a:lnTo>
                    <a:pt x="192" y="1070"/>
                  </a:lnTo>
                  <a:lnTo>
                    <a:pt x="187" y="1070"/>
                  </a:lnTo>
                  <a:lnTo>
                    <a:pt x="183" y="1070"/>
                  </a:lnTo>
                  <a:lnTo>
                    <a:pt x="178" y="1070"/>
                  </a:lnTo>
                  <a:lnTo>
                    <a:pt x="174" y="1070"/>
                  </a:lnTo>
                  <a:lnTo>
                    <a:pt x="174" y="1070"/>
                  </a:lnTo>
                  <a:lnTo>
                    <a:pt x="169" y="1066"/>
                  </a:lnTo>
                  <a:lnTo>
                    <a:pt x="169" y="1061"/>
                  </a:lnTo>
                  <a:lnTo>
                    <a:pt x="165" y="1052"/>
                  </a:lnTo>
                  <a:lnTo>
                    <a:pt x="165" y="1052"/>
                  </a:lnTo>
                  <a:lnTo>
                    <a:pt x="165" y="1047"/>
                  </a:lnTo>
                  <a:lnTo>
                    <a:pt x="169" y="1034"/>
                  </a:lnTo>
                  <a:lnTo>
                    <a:pt x="174" y="1029"/>
                  </a:lnTo>
                  <a:lnTo>
                    <a:pt x="174" y="1029"/>
                  </a:lnTo>
                  <a:lnTo>
                    <a:pt x="174" y="1029"/>
                  </a:lnTo>
                  <a:lnTo>
                    <a:pt x="174" y="1024"/>
                  </a:lnTo>
                  <a:lnTo>
                    <a:pt x="178" y="1020"/>
                  </a:lnTo>
                  <a:lnTo>
                    <a:pt x="178" y="1015"/>
                  </a:lnTo>
                  <a:lnTo>
                    <a:pt x="183" y="1006"/>
                  </a:lnTo>
                  <a:lnTo>
                    <a:pt x="183" y="1002"/>
                  </a:lnTo>
                  <a:lnTo>
                    <a:pt x="183" y="997"/>
                  </a:lnTo>
                  <a:lnTo>
                    <a:pt x="183" y="992"/>
                  </a:lnTo>
                  <a:lnTo>
                    <a:pt x="183" y="988"/>
                  </a:lnTo>
                  <a:lnTo>
                    <a:pt x="178" y="988"/>
                  </a:lnTo>
                  <a:lnTo>
                    <a:pt x="178" y="988"/>
                  </a:lnTo>
                  <a:lnTo>
                    <a:pt x="178" y="983"/>
                  </a:lnTo>
                  <a:lnTo>
                    <a:pt x="174" y="979"/>
                  </a:lnTo>
                  <a:lnTo>
                    <a:pt x="174" y="970"/>
                  </a:lnTo>
                  <a:lnTo>
                    <a:pt x="174" y="965"/>
                  </a:lnTo>
                  <a:lnTo>
                    <a:pt x="169" y="965"/>
                  </a:lnTo>
                  <a:lnTo>
                    <a:pt x="160" y="956"/>
                  </a:lnTo>
                  <a:lnTo>
                    <a:pt x="155" y="951"/>
                  </a:lnTo>
                  <a:lnTo>
                    <a:pt x="155" y="951"/>
                  </a:lnTo>
                  <a:lnTo>
                    <a:pt x="142" y="947"/>
                  </a:lnTo>
                  <a:lnTo>
                    <a:pt x="133" y="947"/>
                  </a:lnTo>
                  <a:lnTo>
                    <a:pt x="128" y="947"/>
                  </a:lnTo>
                  <a:lnTo>
                    <a:pt x="123" y="951"/>
                  </a:lnTo>
                  <a:lnTo>
                    <a:pt x="119" y="956"/>
                  </a:lnTo>
                  <a:lnTo>
                    <a:pt x="110" y="960"/>
                  </a:lnTo>
                  <a:lnTo>
                    <a:pt x="105" y="965"/>
                  </a:lnTo>
                  <a:lnTo>
                    <a:pt x="101" y="965"/>
                  </a:lnTo>
                  <a:lnTo>
                    <a:pt x="96" y="965"/>
                  </a:lnTo>
                  <a:lnTo>
                    <a:pt x="96" y="965"/>
                  </a:lnTo>
                  <a:lnTo>
                    <a:pt x="91" y="960"/>
                  </a:lnTo>
                  <a:lnTo>
                    <a:pt x="91" y="951"/>
                  </a:lnTo>
                  <a:lnTo>
                    <a:pt x="91" y="947"/>
                  </a:lnTo>
                  <a:lnTo>
                    <a:pt x="91" y="933"/>
                  </a:lnTo>
                  <a:lnTo>
                    <a:pt x="91" y="919"/>
                  </a:lnTo>
                  <a:lnTo>
                    <a:pt x="91" y="915"/>
                  </a:lnTo>
                  <a:lnTo>
                    <a:pt x="91" y="910"/>
                  </a:lnTo>
                  <a:lnTo>
                    <a:pt x="91" y="901"/>
                  </a:lnTo>
                  <a:lnTo>
                    <a:pt x="91" y="896"/>
                  </a:lnTo>
                  <a:lnTo>
                    <a:pt x="91" y="896"/>
                  </a:lnTo>
                  <a:lnTo>
                    <a:pt x="87" y="892"/>
                  </a:lnTo>
                  <a:lnTo>
                    <a:pt x="87" y="887"/>
                  </a:lnTo>
                  <a:lnTo>
                    <a:pt x="87" y="883"/>
                  </a:lnTo>
                  <a:lnTo>
                    <a:pt x="87" y="878"/>
                  </a:lnTo>
                  <a:lnTo>
                    <a:pt x="87" y="878"/>
                  </a:lnTo>
                  <a:lnTo>
                    <a:pt x="82" y="874"/>
                  </a:lnTo>
                  <a:lnTo>
                    <a:pt x="82" y="869"/>
                  </a:lnTo>
                  <a:lnTo>
                    <a:pt x="82" y="864"/>
                  </a:lnTo>
                  <a:lnTo>
                    <a:pt x="82" y="860"/>
                  </a:lnTo>
                  <a:lnTo>
                    <a:pt x="82" y="855"/>
                  </a:lnTo>
                  <a:lnTo>
                    <a:pt x="82" y="846"/>
                  </a:lnTo>
                  <a:lnTo>
                    <a:pt x="82" y="842"/>
                  </a:lnTo>
                  <a:lnTo>
                    <a:pt x="78" y="837"/>
                  </a:lnTo>
                  <a:lnTo>
                    <a:pt x="73" y="832"/>
                  </a:lnTo>
                  <a:lnTo>
                    <a:pt x="73" y="832"/>
                  </a:lnTo>
                  <a:lnTo>
                    <a:pt x="69" y="832"/>
                  </a:lnTo>
                  <a:lnTo>
                    <a:pt x="64" y="828"/>
                  </a:lnTo>
                  <a:lnTo>
                    <a:pt x="59" y="828"/>
                  </a:lnTo>
                  <a:lnTo>
                    <a:pt x="55" y="828"/>
                  </a:lnTo>
                  <a:lnTo>
                    <a:pt x="50" y="828"/>
                  </a:lnTo>
                  <a:lnTo>
                    <a:pt x="46" y="828"/>
                  </a:lnTo>
                  <a:lnTo>
                    <a:pt x="46" y="828"/>
                  </a:lnTo>
                  <a:lnTo>
                    <a:pt x="32" y="823"/>
                  </a:lnTo>
                  <a:lnTo>
                    <a:pt x="27" y="819"/>
                  </a:lnTo>
                  <a:lnTo>
                    <a:pt x="23" y="814"/>
                  </a:lnTo>
                  <a:lnTo>
                    <a:pt x="23" y="814"/>
                  </a:lnTo>
                  <a:lnTo>
                    <a:pt x="18" y="814"/>
                  </a:lnTo>
                  <a:lnTo>
                    <a:pt x="14" y="814"/>
                  </a:lnTo>
                  <a:lnTo>
                    <a:pt x="14" y="810"/>
                  </a:lnTo>
                  <a:lnTo>
                    <a:pt x="9" y="810"/>
                  </a:lnTo>
                  <a:lnTo>
                    <a:pt x="5" y="810"/>
                  </a:lnTo>
                  <a:lnTo>
                    <a:pt x="0" y="796"/>
                  </a:lnTo>
                  <a:lnTo>
                    <a:pt x="0" y="791"/>
                  </a:lnTo>
                  <a:lnTo>
                    <a:pt x="0" y="787"/>
                  </a:lnTo>
                  <a:lnTo>
                    <a:pt x="0" y="773"/>
                  </a:lnTo>
                  <a:lnTo>
                    <a:pt x="0" y="768"/>
                  </a:lnTo>
                  <a:lnTo>
                    <a:pt x="0" y="764"/>
                  </a:lnTo>
                  <a:lnTo>
                    <a:pt x="0" y="759"/>
                  </a:lnTo>
                  <a:lnTo>
                    <a:pt x="0" y="755"/>
                  </a:lnTo>
                  <a:lnTo>
                    <a:pt x="5" y="755"/>
                  </a:lnTo>
                  <a:lnTo>
                    <a:pt x="5" y="750"/>
                  </a:lnTo>
                  <a:lnTo>
                    <a:pt x="9" y="746"/>
                  </a:lnTo>
                  <a:lnTo>
                    <a:pt x="14" y="746"/>
                  </a:lnTo>
                  <a:lnTo>
                    <a:pt x="14" y="741"/>
                  </a:lnTo>
                  <a:lnTo>
                    <a:pt x="18" y="736"/>
                  </a:lnTo>
                  <a:lnTo>
                    <a:pt x="18" y="732"/>
                  </a:lnTo>
                  <a:lnTo>
                    <a:pt x="23" y="727"/>
                  </a:lnTo>
                  <a:lnTo>
                    <a:pt x="23" y="723"/>
                  </a:lnTo>
                  <a:lnTo>
                    <a:pt x="27" y="723"/>
                  </a:lnTo>
                  <a:lnTo>
                    <a:pt x="27" y="718"/>
                  </a:lnTo>
                  <a:lnTo>
                    <a:pt x="32" y="718"/>
                  </a:lnTo>
                  <a:lnTo>
                    <a:pt x="32" y="714"/>
                  </a:lnTo>
                  <a:lnTo>
                    <a:pt x="37" y="709"/>
                  </a:lnTo>
                  <a:lnTo>
                    <a:pt x="37" y="700"/>
                  </a:lnTo>
                  <a:lnTo>
                    <a:pt x="37" y="700"/>
                  </a:lnTo>
                  <a:lnTo>
                    <a:pt x="37" y="695"/>
                  </a:lnTo>
                  <a:lnTo>
                    <a:pt x="37" y="691"/>
                  </a:lnTo>
                  <a:lnTo>
                    <a:pt x="37" y="682"/>
                  </a:lnTo>
                  <a:lnTo>
                    <a:pt x="37" y="677"/>
                  </a:lnTo>
                  <a:lnTo>
                    <a:pt x="37" y="668"/>
                  </a:lnTo>
                  <a:lnTo>
                    <a:pt x="32" y="663"/>
                  </a:lnTo>
                  <a:lnTo>
                    <a:pt x="27" y="663"/>
                  </a:lnTo>
                  <a:lnTo>
                    <a:pt x="27" y="659"/>
                  </a:lnTo>
                  <a:lnTo>
                    <a:pt x="23" y="659"/>
                  </a:lnTo>
                  <a:lnTo>
                    <a:pt x="23" y="654"/>
                  </a:lnTo>
                  <a:lnTo>
                    <a:pt x="23" y="650"/>
                  </a:lnTo>
                  <a:lnTo>
                    <a:pt x="18" y="645"/>
                  </a:lnTo>
                  <a:lnTo>
                    <a:pt x="14" y="640"/>
                  </a:lnTo>
                  <a:lnTo>
                    <a:pt x="14" y="636"/>
                  </a:lnTo>
                  <a:lnTo>
                    <a:pt x="14" y="636"/>
                  </a:lnTo>
                  <a:lnTo>
                    <a:pt x="9" y="627"/>
                  </a:lnTo>
                  <a:lnTo>
                    <a:pt x="9" y="622"/>
                  </a:lnTo>
                  <a:lnTo>
                    <a:pt x="9" y="618"/>
                  </a:lnTo>
                  <a:lnTo>
                    <a:pt x="9" y="604"/>
                  </a:lnTo>
                  <a:lnTo>
                    <a:pt x="14" y="590"/>
                  </a:lnTo>
                  <a:lnTo>
                    <a:pt x="14" y="586"/>
                  </a:lnTo>
                  <a:lnTo>
                    <a:pt x="14" y="567"/>
                  </a:lnTo>
                  <a:lnTo>
                    <a:pt x="14" y="567"/>
                  </a:lnTo>
                  <a:lnTo>
                    <a:pt x="14" y="563"/>
                  </a:lnTo>
                  <a:lnTo>
                    <a:pt x="14" y="558"/>
                  </a:lnTo>
                  <a:lnTo>
                    <a:pt x="18" y="558"/>
                  </a:lnTo>
                  <a:lnTo>
                    <a:pt x="18" y="554"/>
                  </a:lnTo>
                  <a:lnTo>
                    <a:pt x="18" y="549"/>
                  </a:lnTo>
                  <a:lnTo>
                    <a:pt x="23" y="549"/>
                  </a:lnTo>
                  <a:lnTo>
                    <a:pt x="23" y="549"/>
                  </a:lnTo>
                  <a:lnTo>
                    <a:pt x="23" y="549"/>
                  </a:lnTo>
                  <a:lnTo>
                    <a:pt x="23" y="544"/>
                  </a:lnTo>
                  <a:lnTo>
                    <a:pt x="27" y="544"/>
                  </a:lnTo>
                  <a:lnTo>
                    <a:pt x="32" y="544"/>
                  </a:lnTo>
                  <a:lnTo>
                    <a:pt x="37" y="544"/>
                  </a:lnTo>
                  <a:lnTo>
                    <a:pt x="46" y="540"/>
                  </a:lnTo>
                  <a:lnTo>
                    <a:pt x="50" y="540"/>
                  </a:lnTo>
                  <a:lnTo>
                    <a:pt x="55" y="535"/>
                  </a:lnTo>
                  <a:lnTo>
                    <a:pt x="59" y="535"/>
                  </a:lnTo>
                  <a:lnTo>
                    <a:pt x="59" y="531"/>
                  </a:lnTo>
                  <a:lnTo>
                    <a:pt x="64" y="526"/>
                  </a:lnTo>
                  <a:lnTo>
                    <a:pt x="64" y="526"/>
                  </a:lnTo>
                  <a:lnTo>
                    <a:pt x="69" y="522"/>
                  </a:lnTo>
                  <a:lnTo>
                    <a:pt x="69" y="517"/>
                  </a:lnTo>
                  <a:lnTo>
                    <a:pt x="69" y="512"/>
                  </a:lnTo>
                  <a:lnTo>
                    <a:pt x="73" y="512"/>
                  </a:lnTo>
                  <a:lnTo>
                    <a:pt x="73" y="508"/>
                  </a:lnTo>
                  <a:lnTo>
                    <a:pt x="78" y="503"/>
                  </a:lnTo>
                  <a:lnTo>
                    <a:pt x="82" y="503"/>
                  </a:lnTo>
                  <a:lnTo>
                    <a:pt x="82" y="499"/>
                  </a:lnTo>
                  <a:lnTo>
                    <a:pt x="91" y="485"/>
                  </a:lnTo>
                  <a:lnTo>
                    <a:pt x="96" y="485"/>
                  </a:lnTo>
                  <a:lnTo>
                    <a:pt x="96" y="480"/>
                  </a:lnTo>
                  <a:lnTo>
                    <a:pt x="101" y="480"/>
                  </a:lnTo>
                  <a:lnTo>
                    <a:pt x="105" y="480"/>
                  </a:lnTo>
                  <a:lnTo>
                    <a:pt x="105" y="476"/>
                  </a:lnTo>
                  <a:lnTo>
                    <a:pt x="110" y="476"/>
                  </a:lnTo>
                  <a:lnTo>
                    <a:pt x="110" y="471"/>
                  </a:lnTo>
                  <a:lnTo>
                    <a:pt x="110" y="471"/>
                  </a:lnTo>
                  <a:lnTo>
                    <a:pt x="110" y="467"/>
                  </a:lnTo>
                  <a:lnTo>
                    <a:pt x="114" y="467"/>
                  </a:lnTo>
                  <a:lnTo>
                    <a:pt x="114" y="462"/>
                  </a:lnTo>
                  <a:lnTo>
                    <a:pt x="119" y="462"/>
                  </a:lnTo>
                  <a:lnTo>
                    <a:pt x="128" y="458"/>
                  </a:lnTo>
                  <a:lnTo>
                    <a:pt x="133" y="458"/>
                  </a:lnTo>
                  <a:lnTo>
                    <a:pt x="133" y="458"/>
                  </a:lnTo>
                  <a:lnTo>
                    <a:pt x="137" y="458"/>
                  </a:lnTo>
                  <a:lnTo>
                    <a:pt x="142" y="458"/>
                  </a:lnTo>
                  <a:lnTo>
                    <a:pt x="146" y="458"/>
                  </a:lnTo>
                  <a:lnTo>
                    <a:pt x="151" y="458"/>
                  </a:lnTo>
                  <a:lnTo>
                    <a:pt x="155" y="458"/>
                  </a:lnTo>
                  <a:lnTo>
                    <a:pt x="160" y="458"/>
                  </a:lnTo>
                  <a:lnTo>
                    <a:pt x="160" y="458"/>
                  </a:lnTo>
                  <a:lnTo>
                    <a:pt x="160" y="458"/>
                  </a:lnTo>
                  <a:lnTo>
                    <a:pt x="165" y="458"/>
                  </a:lnTo>
                  <a:lnTo>
                    <a:pt x="165" y="453"/>
                  </a:lnTo>
                  <a:lnTo>
                    <a:pt x="169" y="453"/>
                  </a:lnTo>
                  <a:lnTo>
                    <a:pt x="174" y="448"/>
                  </a:lnTo>
                  <a:lnTo>
                    <a:pt x="174" y="448"/>
                  </a:lnTo>
                  <a:lnTo>
                    <a:pt x="178" y="444"/>
                  </a:lnTo>
                  <a:lnTo>
                    <a:pt x="187" y="444"/>
                  </a:lnTo>
                  <a:lnTo>
                    <a:pt x="192" y="444"/>
                  </a:lnTo>
                  <a:lnTo>
                    <a:pt x="197" y="448"/>
                  </a:lnTo>
                  <a:lnTo>
                    <a:pt x="197" y="448"/>
                  </a:lnTo>
                  <a:lnTo>
                    <a:pt x="201" y="444"/>
                  </a:lnTo>
                  <a:lnTo>
                    <a:pt x="206" y="444"/>
                  </a:lnTo>
                  <a:lnTo>
                    <a:pt x="210" y="444"/>
                  </a:lnTo>
                  <a:lnTo>
                    <a:pt x="219" y="444"/>
                  </a:lnTo>
                  <a:lnTo>
                    <a:pt x="219" y="448"/>
                  </a:lnTo>
                  <a:lnTo>
                    <a:pt x="229" y="448"/>
                  </a:lnTo>
                  <a:lnTo>
                    <a:pt x="233" y="453"/>
                  </a:lnTo>
                  <a:lnTo>
                    <a:pt x="238" y="453"/>
                  </a:lnTo>
                  <a:lnTo>
                    <a:pt x="242" y="458"/>
                  </a:lnTo>
                  <a:lnTo>
                    <a:pt x="242" y="458"/>
                  </a:lnTo>
                  <a:lnTo>
                    <a:pt x="247" y="458"/>
                  </a:lnTo>
                  <a:lnTo>
                    <a:pt x="251" y="458"/>
                  </a:lnTo>
                  <a:lnTo>
                    <a:pt x="251" y="462"/>
                  </a:lnTo>
                  <a:lnTo>
                    <a:pt x="256" y="462"/>
                  </a:lnTo>
                  <a:lnTo>
                    <a:pt x="261" y="462"/>
                  </a:lnTo>
                  <a:lnTo>
                    <a:pt x="265" y="467"/>
                  </a:lnTo>
                  <a:lnTo>
                    <a:pt x="270" y="467"/>
                  </a:lnTo>
                  <a:lnTo>
                    <a:pt x="283" y="462"/>
                  </a:lnTo>
                  <a:lnTo>
                    <a:pt x="283" y="458"/>
                  </a:lnTo>
                  <a:lnTo>
                    <a:pt x="293" y="458"/>
                  </a:lnTo>
                  <a:lnTo>
                    <a:pt x="297" y="458"/>
                  </a:lnTo>
                  <a:lnTo>
                    <a:pt x="302" y="458"/>
                  </a:lnTo>
                  <a:lnTo>
                    <a:pt x="306" y="458"/>
                  </a:lnTo>
                  <a:lnTo>
                    <a:pt x="306" y="462"/>
                  </a:lnTo>
                  <a:lnTo>
                    <a:pt x="311" y="467"/>
                  </a:lnTo>
                  <a:lnTo>
                    <a:pt x="311" y="471"/>
                  </a:lnTo>
                  <a:lnTo>
                    <a:pt x="311" y="476"/>
                  </a:lnTo>
                  <a:lnTo>
                    <a:pt x="315" y="480"/>
                  </a:lnTo>
                  <a:lnTo>
                    <a:pt x="315" y="480"/>
                  </a:lnTo>
                  <a:lnTo>
                    <a:pt x="320" y="480"/>
                  </a:lnTo>
                  <a:lnTo>
                    <a:pt x="320" y="485"/>
                  </a:lnTo>
                  <a:lnTo>
                    <a:pt x="325" y="485"/>
                  </a:lnTo>
                  <a:lnTo>
                    <a:pt x="329" y="490"/>
                  </a:lnTo>
                  <a:lnTo>
                    <a:pt x="329" y="490"/>
                  </a:lnTo>
                  <a:lnTo>
                    <a:pt x="338" y="490"/>
                  </a:lnTo>
                  <a:lnTo>
                    <a:pt x="343" y="490"/>
                  </a:lnTo>
                  <a:lnTo>
                    <a:pt x="347" y="490"/>
                  </a:lnTo>
                  <a:lnTo>
                    <a:pt x="352" y="490"/>
                  </a:lnTo>
                  <a:lnTo>
                    <a:pt x="357" y="485"/>
                  </a:lnTo>
                  <a:lnTo>
                    <a:pt x="366" y="485"/>
                  </a:lnTo>
                  <a:lnTo>
                    <a:pt x="370" y="480"/>
                  </a:lnTo>
                  <a:lnTo>
                    <a:pt x="375" y="480"/>
                  </a:lnTo>
                  <a:lnTo>
                    <a:pt x="384" y="480"/>
                  </a:lnTo>
                  <a:lnTo>
                    <a:pt x="389" y="480"/>
                  </a:lnTo>
                  <a:lnTo>
                    <a:pt x="393" y="480"/>
                  </a:lnTo>
                  <a:lnTo>
                    <a:pt x="393" y="480"/>
                  </a:lnTo>
                  <a:lnTo>
                    <a:pt x="398" y="480"/>
                  </a:lnTo>
                  <a:lnTo>
                    <a:pt x="402" y="480"/>
                  </a:lnTo>
                  <a:lnTo>
                    <a:pt x="402" y="485"/>
                  </a:lnTo>
                  <a:lnTo>
                    <a:pt x="407" y="485"/>
                  </a:lnTo>
                  <a:lnTo>
                    <a:pt x="411" y="494"/>
                  </a:lnTo>
                  <a:lnTo>
                    <a:pt x="416" y="494"/>
                  </a:lnTo>
                  <a:lnTo>
                    <a:pt x="416" y="499"/>
                  </a:lnTo>
                  <a:lnTo>
                    <a:pt x="416" y="503"/>
                  </a:lnTo>
                  <a:lnTo>
                    <a:pt x="421" y="512"/>
                  </a:lnTo>
                  <a:lnTo>
                    <a:pt x="425" y="522"/>
                  </a:lnTo>
                  <a:lnTo>
                    <a:pt x="425" y="526"/>
                  </a:lnTo>
                  <a:lnTo>
                    <a:pt x="425" y="526"/>
                  </a:lnTo>
                  <a:lnTo>
                    <a:pt x="430" y="540"/>
                  </a:lnTo>
                  <a:lnTo>
                    <a:pt x="434" y="558"/>
                  </a:lnTo>
                  <a:lnTo>
                    <a:pt x="434" y="563"/>
                  </a:lnTo>
                  <a:lnTo>
                    <a:pt x="439" y="567"/>
                  </a:lnTo>
                  <a:lnTo>
                    <a:pt x="439" y="572"/>
                  </a:lnTo>
                  <a:lnTo>
                    <a:pt x="439" y="576"/>
                  </a:lnTo>
                  <a:lnTo>
                    <a:pt x="439" y="581"/>
                  </a:lnTo>
                  <a:lnTo>
                    <a:pt x="439" y="586"/>
                  </a:lnTo>
                  <a:lnTo>
                    <a:pt x="443" y="586"/>
                  </a:lnTo>
                  <a:lnTo>
                    <a:pt x="448" y="590"/>
                  </a:lnTo>
                  <a:lnTo>
                    <a:pt x="453" y="590"/>
                  </a:lnTo>
                  <a:lnTo>
                    <a:pt x="457" y="586"/>
                  </a:lnTo>
                  <a:lnTo>
                    <a:pt x="462" y="586"/>
                  </a:lnTo>
                  <a:lnTo>
                    <a:pt x="485" y="590"/>
                  </a:lnTo>
                  <a:lnTo>
                    <a:pt x="503" y="590"/>
                  </a:lnTo>
                  <a:lnTo>
                    <a:pt x="507" y="590"/>
                  </a:lnTo>
                  <a:lnTo>
                    <a:pt x="517" y="590"/>
                  </a:lnTo>
                  <a:lnTo>
                    <a:pt x="517" y="595"/>
                  </a:lnTo>
                  <a:lnTo>
                    <a:pt x="521" y="595"/>
                  </a:lnTo>
                  <a:lnTo>
                    <a:pt x="526" y="595"/>
                  </a:lnTo>
                  <a:lnTo>
                    <a:pt x="526" y="599"/>
                  </a:lnTo>
                  <a:lnTo>
                    <a:pt x="530" y="599"/>
                  </a:lnTo>
                  <a:lnTo>
                    <a:pt x="535" y="599"/>
                  </a:lnTo>
                  <a:lnTo>
                    <a:pt x="539" y="599"/>
                  </a:lnTo>
                  <a:lnTo>
                    <a:pt x="539" y="595"/>
                  </a:lnTo>
                  <a:lnTo>
                    <a:pt x="535" y="590"/>
                  </a:lnTo>
                  <a:lnTo>
                    <a:pt x="530" y="590"/>
                  </a:lnTo>
                  <a:lnTo>
                    <a:pt x="526" y="586"/>
                  </a:lnTo>
                  <a:lnTo>
                    <a:pt x="526" y="581"/>
                  </a:lnTo>
                  <a:lnTo>
                    <a:pt x="526" y="581"/>
                  </a:lnTo>
                  <a:lnTo>
                    <a:pt x="526" y="576"/>
                  </a:lnTo>
                  <a:lnTo>
                    <a:pt x="526" y="567"/>
                  </a:lnTo>
                  <a:lnTo>
                    <a:pt x="526" y="563"/>
                  </a:lnTo>
                  <a:lnTo>
                    <a:pt x="526" y="558"/>
                  </a:lnTo>
                  <a:lnTo>
                    <a:pt x="526" y="554"/>
                  </a:lnTo>
                  <a:lnTo>
                    <a:pt x="535" y="549"/>
                  </a:lnTo>
                  <a:lnTo>
                    <a:pt x="539" y="549"/>
                  </a:lnTo>
                  <a:lnTo>
                    <a:pt x="549" y="549"/>
                  </a:lnTo>
                  <a:lnTo>
                    <a:pt x="549" y="544"/>
                  </a:lnTo>
                  <a:lnTo>
                    <a:pt x="553" y="544"/>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4" name="Freeform 11">
              <a:extLst>
                <a:ext uri="{FF2B5EF4-FFF2-40B4-BE49-F238E27FC236}">
                  <a16:creationId xmlns:a16="http://schemas.microsoft.com/office/drawing/2014/main" id="{9E48B183-0915-40EE-B0AD-448024C8FEB2}"/>
                </a:ext>
              </a:extLst>
            </p:cNvPr>
            <p:cNvSpPr>
              <a:spLocks/>
            </p:cNvSpPr>
            <p:nvPr>
              <p:custDataLst>
                <p:tags r:id="rId6"/>
              </p:custDataLst>
            </p:nvPr>
          </p:nvSpPr>
          <p:spPr bwMode="auto">
            <a:xfrm>
              <a:off x="1029204" y="4065828"/>
              <a:ext cx="403009" cy="420308"/>
            </a:xfrm>
            <a:custGeom>
              <a:avLst/>
              <a:gdLst/>
              <a:ahLst/>
              <a:cxnLst>
                <a:cxn ang="0">
                  <a:pos x="430" y="306"/>
                </a:cxn>
                <a:cxn ang="0">
                  <a:pos x="430" y="329"/>
                </a:cxn>
                <a:cxn ang="0">
                  <a:pos x="416" y="352"/>
                </a:cxn>
                <a:cxn ang="0">
                  <a:pos x="412" y="388"/>
                </a:cxn>
                <a:cxn ang="0">
                  <a:pos x="412" y="402"/>
                </a:cxn>
                <a:cxn ang="0">
                  <a:pos x="403" y="393"/>
                </a:cxn>
                <a:cxn ang="0">
                  <a:pos x="389" y="393"/>
                </a:cxn>
                <a:cxn ang="0">
                  <a:pos x="348" y="407"/>
                </a:cxn>
                <a:cxn ang="0">
                  <a:pos x="325" y="407"/>
                </a:cxn>
                <a:cxn ang="0">
                  <a:pos x="284" y="416"/>
                </a:cxn>
                <a:cxn ang="0">
                  <a:pos x="270" y="411"/>
                </a:cxn>
                <a:cxn ang="0">
                  <a:pos x="247" y="407"/>
                </a:cxn>
                <a:cxn ang="0">
                  <a:pos x="224" y="393"/>
                </a:cxn>
                <a:cxn ang="0">
                  <a:pos x="183" y="365"/>
                </a:cxn>
                <a:cxn ang="0">
                  <a:pos x="174" y="356"/>
                </a:cxn>
                <a:cxn ang="0">
                  <a:pos x="147" y="338"/>
                </a:cxn>
                <a:cxn ang="0">
                  <a:pos x="133" y="320"/>
                </a:cxn>
                <a:cxn ang="0">
                  <a:pos x="124" y="315"/>
                </a:cxn>
                <a:cxn ang="0">
                  <a:pos x="92" y="279"/>
                </a:cxn>
                <a:cxn ang="0">
                  <a:pos x="64" y="237"/>
                </a:cxn>
                <a:cxn ang="0">
                  <a:pos x="51" y="215"/>
                </a:cxn>
                <a:cxn ang="0">
                  <a:pos x="37" y="178"/>
                </a:cxn>
                <a:cxn ang="0">
                  <a:pos x="28" y="164"/>
                </a:cxn>
                <a:cxn ang="0">
                  <a:pos x="19" y="132"/>
                </a:cxn>
                <a:cxn ang="0">
                  <a:pos x="0" y="91"/>
                </a:cxn>
                <a:cxn ang="0">
                  <a:pos x="19" y="87"/>
                </a:cxn>
                <a:cxn ang="0">
                  <a:pos x="37" y="100"/>
                </a:cxn>
                <a:cxn ang="0">
                  <a:pos x="64" y="114"/>
                </a:cxn>
                <a:cxn ang="0">
                  <a:pos x="101" y="128"/>
                </a:cxn>
                <a:cxn ang="0">
                  <a:pos x="124" y="141"/>
                </a:cxn>
                <a:cxn ang="0">
                  <a:pos x="147" y="132"/>
                </a:cxn>
                <a:cxn ang="0">
                  <a:pos x="179" y="114"/>
                </a:cxn>
                <a:cxn ang="0">
                  <a:pos x="202" y="105"/>
                </a:cxn>
                <a:cxn ang="0">
                  <a:pos x="211" y="87"/>
                </a:cxn>
                <a:cxn ang="0">
                  <a:pos x="229" y="87"/>
                </a:cxn>
                <a:cxn ang="0">
                  <a:pos x="252" y="105"/>
                </a:cxn>
                <a:cxn ang="0">
                  <a:pos x="275" y="87"/>
                </a:cxn>
                <a:cxn ang="0">
                  <a:pos x="298" y="87"/>
                </a:cxn>
                <a:cxn ang="0">
                  <a:pos x="311" y="64"/>
                </a:cxn>
                <a:cxn ang="0">
                  <a:pos x="334" y="55"/>
                </a:cxn>
                <a:cxn ang="0">
                  <a:pos x="371" y="32"/>
                </a:cxn>
                <a:cxn ang="0">
                  <a:pos x="407" y="23"/>
                </a:cxn>
                <a:cxn ang="0">
                  <a:pos x="426" y="0"/>
                </a:cxn>
                <a:cxn ang="0">
                  <a:pos x="448" y="0"/>
                </a:cxn>
                <a:cxn ang="0">
                  <a:pos x="439" y="23"/>
                </a:cxn>
                <a:cxn ang="0">
                  <a:pos x="453" y="55"/>
                </a:cxn>
                <a:cxn ang="0">
                  <a:pos x="430" y="82"/>
                </a:cxn>
                <a:cxn ang="0">
                  <a:pos x="407" y="91"/>
                </a:cxn>
                <a:cxn ang="0">
                  <a:pos x="384" y="137"/>
                </a:cxn>
                <a:cxn ang="0">
                  <a:pos x="394" y="160"/>
                </a:cxn>
                <a:cxn ang="0">
                  <a:pos x="384" y="178"/>
                </a:cxn>
                <a:cxn ang="0">
                  <a:pos x="380" y="219"/>
                </a:cxn>
                <a:cxn ang="0">
                  <a:pos x="394" y="242"/>
                </a:cxn>
                <a:cxn ang="0">
                  <a:pos x="426" y="242"/>
                </a:cxn>
                <a:cxn ang="0">
                  <a:pos x="453" y="251"/>
                </a:cxn>
                <a:cxn ang="0">
                  <a:pos x="421" y="279"/>
                </a:cxn>
              </a:cxnLst>
              <a:rect l="0" t="0" r="r" b="b"/>
              <a:pathLst>
                <a:path w="462" h="416">
                  <a:moveTo>
                    <a:pt x="416" y="283"/>
                  </a:moveTo>
                  <a:lnTo>
                    <a:pt x="421" y="288"/>
                  </a:lnTo>
                  <a:lnTo>
                    <a:pt x="426" y="297"/>
                  </a:lnTo>
                  <a:lnTo>
                    <a:pt x="430" y="306"/>
                  </a:lnTo>
                  <a:lnTo>
                    <a:pt x="430" y="306"/>
                  </a:lnTo>
                  <a:lnTo>
                    <a:pt x="430" y="311"/>
                  </a:lnTo>
                  <a:lnTo>
                    <a:pt x="435" y="315"/>
                  </a:lnTo>
                  <a:lnTo>
                    <a:pt x="430" y="324"/>
                  </a:lnTo>
                  <a:lnTo>
                    <a:pt x="430" y="329"/>
                  </a:lnTo>
                  <a:lnTo>
                    <a:pt x="430" y="329"/>
                  </a:lnTo>
                  <a:lnTo>
                    <a:pt x="430" y="338"/>
                  </a:lnTo>
                  <a:lnTo>
                    <a:pt x="421" y="343"/>
                  </a:lnTo>
                  <a:lnTo>
                    <a:pt x="421" y="343"/>
                  </a:lnTo>
                  <a:lnTo>
                    <a:pt x="416" y="347"/>
                  </a:lnTo>
                  <a:lnTo>
                    <a:pt x="416" y="352"/>
                  </a:lnTo>
                  <a:lnTo>
                    <a:pt x="416" y="356"/>
                  </a:lnTo>
                  <a:lnTo>
                    <a:pt x="412" y="370"/>
                  </a:lnTo>
                  <a:lnTo>
                    <a:pt x="407" y="375"/>
                  </a:lnTo>
                  <a:lnTo>
                    <a:pt x="407" y="384"/>
                  </a:lnTo>
                  <a:lnTo>
                    <a:pt x="412" y="388"/>
                  </a:lnTo>
                  <a:lnTo>
                    <a:pt x="412" y="393"/>
                  </a:lnTo>
                  <a:lnTo>
                    <a:pt x="421" y="393"/>
                  </a:lnTo>
                  <a:lnTo>
                    <a:pt x="426" y="397"/>
                  </a:lnTo>
                  <a:lnTo>
                    <a:pt x="416" y="402"/>
                  </a:lnTo>
                  <a:lnTo>
                    <a:pt x="412" y="402"/>
                  </a:lnTo>
                  <a:lnTo>
                    <a:pt x="412" y="402"/>
                  </a:lnTo>
                  <a:lnTo>
                    <a:pt x="407" y="397"/>
                  </a:lnTo>
                  <a:lnTo>
                    <a:pt x="403" y="397"/>
                  </a:lnTo>
                  <a:lnTo>
                    <a:pt x="403" y="393"/>
                  </a:lnTo>
                  <a:lnTo>
                    <a:pt x="403" y="393"/>
                  </a:lnTo>
                  <a:lnTo>
                    <a:pt x="403" y="388"/>
                  </a:lnTo>
                  <a:lnTo>
                    <a:pt x="398" y="393"/>
                  </a:lnTo>
                  <a:lnTo>
                    <a:pt x="394" y="393"/>
                  </a:lnTo>
                  <a:lnTo>
                    <a:pt x="394" y="393"/>
                  </a:lnTo>
                  <a:lnTo>
                    <a:pt x="389" y="393"/>
                  </a:lnTo>
                  <a:lnTo>
                    <a:pt x="398" y="402"/>
                  </a:lnTo>
                  <a:lnTo>
                    <a:pt x="394" y="402"/>
                  </a:lnTo>
                  <a:lnTo>
                    <a:pt x="366" y="407"/>
                  </a:lnTo>
                  <a:lnTo>
                    <a:pt x="352" y="407"/>
                  </a:lnTo>
                  <a:lnTo>
                    <a:pt x="348" y="407"/>
                  </a:lnTo>
                  <a:lnTo>
                    <a:pt x="334" y="407"/>
                  </a:lnTo>
                  <a:lnTo>
                    <a:pt x="330" y="407"/>
                  </a:lnTo>
                  <a:lnTo>
                    <a:pt x="330" y="407"/>
                  </a:lnTo>
                  <a:lnTo>
                    <a:pt x="330" y="407"/>
                  </a:lnTo>
                  <a:lnTo>
                    <a:pt x="325" y="407"/>
                  </a:lnTo>
                  <a:lnTo>
                    <a:pt x="320" y="411"/>
                  </a:lnTo>
                  <a:lnTo>
                    <a:pt x="320" y="411"/>
                  </a:lnTo>
                  <a:lnTo>
                    <a:pt x="302" y="411"/>
                  </a:lnTo>
                  <a:lnTo>
                    <a:pt x="293" y="416"/>
                  </a:lnTo>
                  <a:lnTo>
                    <a:pt x="284" y="416"/>
                  </a:lnTo>
                  <a:lnTo>
                    <a:pt x="279" y="416"/>
                  </a:lnTo>
                  <a:lnTo>
                    <a:pt x="275" y="416"/>
                  </a:lnTo>
                  <a:lnTo>
                    <a:pt x="270" y="416"/>
                  </a:lnTo>
                  <a:lnTo>
                    <a:pt x="270" y="416"/>
                  </a:lnTo>
                  <a:lnTo>
                    <a:pt x="270" y="411"/>
                  </a:lnTo>
                  <a:lnTo>
                    <a:pt x="261" y="407"/>
                  </a:lnTo>
                  <a:lnTo>
                    <a:pt x="261" y="407"/>
                  </a:lnTo>
                  <a:lnTo>
                    <a:pt x="256" y="407"/>
                  </a:lnTo>
                  <a:lnTo>
                    <a:pt x="252" y="407"/>
                  </a:lnTo>
                  <a:lnTo>
                    <a:pt x="247" y="407"/>
                  </a:lnTo>
                  <a:lnTo>
                    <a:pt x="238" y="402"/>
                  </a:lnTo>
                  <a:lnTo>
                    <a:pt x="238" y="402"/>
                  </a:lnTo>
                  <a:lnTo>
                    <a:pt x="234" y="402"/>
                  </a:lnTo>
                  <a:lnTo>
                    <a:pt x="234" y="402"/>
                  </a:lnTo>
                  <a:lnTo>
                    <a:pt x="224" y="393"/>
                  </a:lnTo>
                  <a:lnTo>
                    <a:pt x="224" y="393"/>
                  </a:lnTo>
                  <a:lnTo>
                    <a:pt x="220" y="393"/>
                  </a:lnTo>
                  <a:lnTo>
                    <a:pt x="192" y="375"/>
                  </a:lnTo>
                  <a:lnTo>
                    <a:pt x="183" y="370"/>
                  </a:lnTo>
                  <a:lnTo>
                    <a:pt x="183" y="365"/>
                  </a:lnTo>
                  <a:lnTo>
                    <a:pt x="183" y="365"/>
                  </a:lnTo>
                  <a:lnTo>
                    <a:pt x="183" y="365"/>
                  </a:lnTo>
                  <a:lnTo>
                    <a:pt x="179" y="365"/>
                  </a:lnTo>
                  <a:lnTo>
                    <a:pt x="174" y="361"/>
                  </a:lnTo>
                  <a:lnTo>
                    <a:pt x="174" y="356"/>
                  </a:lnTo>
                  <a:lnTo>
                    <a:pt x="170" y="356"/>
                  </a:lnTo>
                  <a:lnTo>
                    <a:pt x="165" y="352"/>
                  </a:lnTo>
                  <a:lnTo>
                    <a:pt x="156" y="347"/>
                  </a:lnTo>
                  <a:lnTo>
                    <a:pt x="151" y="343"/>
                  </a:lnTo>
                  <a:lnTo>
                    <a:pt x="147" y="338"/>
                  </a:lnTo>
                  <a:lnTo>
                    <a:pt x="147" y="338"/>
                  </a:lnTo>
                  <a:lnTo>
                    <a:pt x="142" y="329"/>
                  </a:lnTo>
                  <a:lnTo>
                    <a:pt x="138" y="329"/>
                  </a:lnTo>
                  <a:lnTo>
                    <a:pt x="138" y="324"/>
                  </a:lnTo>
                  <a:lnTo>
                    <a:pt x="133" y="320"/>
                  </a:lnTo>
                  <a:lnTo>
                    <a:pt x="128" y="320"/>
                  </a:lnTo>
                  <a:lnTo>
                    <a:pt x="128" y="315"/>
                  </a:lnTo>
                  <a:lnTo>
                    <a:pt x="124" y="315"/>
                  </a:lnTo>
                  <a:lnTo>
                    <a:pt x="124" y="315"/>
                  </a:lnTo>
                  <a:lnTo>
                    <a:pt x="124" y="315"/>
                  </a:lnTo>
                  <a:lnTo>
                    <a:pt x="119" y="315"/>
                  </a:lnTo>
                  <a:lnTo>
                    <a:pt x="115" y="311"/>
                  </a:lnTo>
                  <a:lnTo>
                    <a:pt x="106" y="297"/>
                  </a:lnTo>
                  <a:lnTo>
                    <a:pt x="96" y="288"/>
                  </a:lnTo>
                  <a:lnTo>
                    <a:pt x="92" y="279"/>
                  </a:lnTo>
                  <a:lnTo>
                    <a:pt x="83" y="269"/>
                  </a:lnTo>
                  <a:lnTo>
                    <a:pt x="74" y="256"/>
                  </a:lnTo>
                  <a:lnTo>
                    <a:pt x="69" y="247"/>
                  </a:lnTo>
                  <a:lnTo>
                    <a:pt x="64" y="242"/>
                  </a:lnTo>
                  <a:lnTo>
                    <a:pt x="64" y="237"/>
                  </a:lnTo>
                  <a:lnTo>
                    <a:pt x="64" y="237"/>
                  </a:lnTo>
                  <a:lnTo>
                    <a:pt x="60" y="228"/>
                  </a:lnTo>
                  <a:lnTo>
                    <a:pt x="55" y="228"/>
                  </a:lnTo>
                  <a:lnTo>
                    <a:pt x="55" y="224"/>
                  </a:lnTo>
                  <a:lnTo>
                    <a:pt x="51" y="215"/>
                  </a:lnTo>
                  <a:lnTo>
                    <a:pt x="42" y="201"/>
                  </a:lnTo>
                  <a:lnTo>
                    <a:pt x="32" y="187"/>
                  </a:lnTo>
                  <a:lnTo>
                    <a:pt x="32" y="183"/>
                  </a:lnTo>
                  <a:lnTo>
                    <a:pt x="32" y="183"/>
                  </a:lnTo>
                  <a:lnTo>
                    <a:pt x="37" y="178"/>
                  </a:lnTo>
                  <a:lnTo>
                    <a:pt x="37" y="178"/>
                  </a:lnTo>
                  <a:lnTo>
                    <a:pt x="32" y="178"/>
                  </a:lnTo>
                  <a:lnTo>
                    <a:pt x="32" y="173"/>
                  </a:lnTo>
                  <a:lnTo>
                    <a:pt x="32" y="169"/>
                  </a:lnTo>
                  <a:lnTo>
                    <a:pt x="28" y="164"/>
                  </a:lnTo>
                  <a:lnTo>
                    <a:pt x="28" y="164"/>
                  </a:lnTo>
                  <a:lnTo>
                    <a:pt x="28" y="160"/>
                  </a:lnTo>
                  <a:lnTo>
                    <a:pt x="28" y="155"/>
                  </a:lnTo>
                  <a:lnTo>
                    <a:pt x="23" y="141"/>
                  </a:lnTo>
                  <a:lnTo>
                    <a:pt x="19" y="132"/>
                  </a:lnTo>
                  <a:lnTo>
                    <a:pt x="19" y="132"/>
                  </a:lnTo>
                  <a:lnTo>
                    <a:pt x="19" y="128"/>
                  </a:lnTo>
                  <a:lnTo>
                    <a:pt x="14" y="119"/>
                  </a:lnTo>
                  <a:lnTo>
                    <a:pt x="0" y="96"/>
                  </a:lnTo>
                  <a:lnTo>
                    <a:pt x="0" y="91"/>
                  </a:lnTo>
                  <a:lnTo>
                    <a:pt x="0" y="91"/>
                  </a:lnTo>
                  <a:lnTo>
                    <a:pt x="0" y="91"/>
                  </a:lnTo>
                  <a:lnTo>
                    <a:pt x="0" y="91"/>
                  </a:lnTo>
                  <a:lnTo>
                    <a:pt x="14" y="87"/>
                  </a:lnTo>
                  <a:lnTo>
                    <a:pt x="19" y="87"/>
                  </a:lnTo>
                  <a:lnTo>
                    <a:pt x="23" y="87"/>
                  </a:lnTo>
                  <a:lnTo>
                    <a:pt x="28" y="91"/>
                  </a:lnTo>
                  <a:lnTo>
                    <a:pt x="32" y="91"/>
                  </a:lnTo>
                  <a:lnTo>
                    <a:pt x="37" y="96"/>
                  </a:lnTo>
                  <a:lnTo>
                    <a:pt x="37" y="100"/>
                  </a:lnTo>
                  <a:lnTo>
                    <a:pt x="55" y="109"/>
                  </a:lnTo>
                  <a:lnTo>
                    <a:pt x="55" y="109"/>
                  </a:lnTo>
                  <a:lnTo>
                    <a:pt x="55" y="114"/>
                  </a:lnTo>
                  <a:lnTo>
                    <a:pt x="60" y="114"/>
                  </a:lnTo>
                  <a:lnTo>
                    <a:pt x="64" y="114"/>
                  </a:lnTo>
                  <a:lnTo>
                    <a:pt x="74" y="119"/>
                  </a:lnTo>
                  <a:lnTo>
                    <a:pt x="78" y="123"/>
                  </a:lnTo>
                  <a:lnTo>
                    <a:pt x="83" y="123"/>
                  </a:lnTo>
                  <a:lnTo>
                    <a:pt x="92" y="128"/>
                  </a:lnTo>
                  <a:lnTo>
                    <a:pt x="101" y="128"/>
                  </a:lnTo>
                  <a:lnTo>
                    <a:pt x="106" y="132"/>
                  </a:lnTo>
                  <a:lnTo>
                    <a:pt x="110" y="132"/>
                  </a:lnTo>
                  <a:lnTo>
                    <a:pt x="115" y="137"/>
                  </a:lnTo>
                  <a:lnTo>
                    <a:pt x="119" y="141"/>
                  </a:lnTo>
                  <a:lnTo>
                    <a:pt x="124" y="141"/>
                  </a:lnTo>
                  <a:lnTo>
                    <a:pt x="124" y="141"/>
                  </a:lnTo>
                  <a:lnTo>
                    <a:pt x="128" y="141"/>
                  </a:lnTo>
                  <a:lnTo>
                    <a:pt x="133" y="137"/>
                  </a:lnTo>
                  <a:lnTo>
                    <a:pt x="138" y="132"/>
                  </a:lnTo>
                  <a:lnTo>
                    <a:pt x="147" y="132"/>
                  </a:lnTo>
                  <a:lnTo>
                    <a:pt x="160" y="128"/>
                  </a:lnTo>
                  <a:lnTo>
                    <a:pt x="165" y="123"/>
                  </a:lnTo>
                  <a:lnTo>
                    <a:pt x="170" y="123"/>
                  </a:lnTo>
                  <a:lnTo>
                    <a:pt x="174" y="119"/>
                  </a:lnTo>
                  <a:lnTo>
                    <a:pt x="179" y="114"/>
                  </a:lnTo>
                  <a:lnTo>
                    <a:pt x="183" y="109"/>
                  </a:lnTo>
                  <a:lnTo>
                    <a:pt x="188" y="109"/>
                  </a:lnTo>
                  <a:lnTo>
                    <a:pt x="188" y="109"/>
                  </a:lnTo>
                  <a:lnTo>
                    <a:pt x="188" y="109"/>
                  </a:lnTo>
                  <a:lnTo>
                    <a:pt x="202" y="105"/>
                  </a:lnTo>
                  <a:lnTo>
                    <a:pt x="202" y="100"/>
                  </a:lnTo>
                  <a:lnTo>
                    <a:pt x="206" y="100"/>
                  </a:lnTo>
                  <a:lnTo>
                    <a:pt x="206" y="96"/>
                  </a:lnTo>
                  <a:lnTo>
                    <a:pt x="211" y="87"/>
                  </a:lnTo>
                  <a:lnTo>
                    <a:pt x="211" y="87"/>
                  </a:lnTo>
                  <a:lnTo>
                    <a:pt x="211" y="87"/>
                  </a:lnTo>
                  <a:lnTo>
                    <a:pt x="215" y="82"/>
                  </a:lnTo>
                  <a:lnTo>
                    <a:pt x="220" y="82"/>
                  </a:lnTo>
                  <a:lnTo>
                    <a:pt x="224" y="87"/>
                  </a:lnTo>
                  <a:lnTo>
                    <a:pt x="229" y="87"/>
                  </a:lnTo>
                  <a:lnTo>
                    <a:pt x="234" y="91"/>
                  </a:lnTo>
                  <a:lnTo>
                    <a:pt x="234" y="96"/>
                  </a:lnTo>
                  <a:lnTo>
                    <a:pt x="243" y="105"/>
                  </a:lnTo>
                  <a:lnTo>
                    <a:pt x="247" y="105"/>
                  </a:lnTo>
                  <a:lnTo>
                    <a:pt x="252" y="105"/>
                  </a:lnTo>
                  <a:lnTo>
                    <a:pt x="256" y="100"/>
                  </a:lnTo>
                  <a:lnTo>
                    <a:pt x="256" y="100"/>
                  </a:lnTo>
                  <a:lnTo>
                    <a:pt x="261" y="91"/>
                  </a:lnTo>
                  <a:lnTo>
                    <a:pt x="266" y="87"/>
                  </a:lnTo>
                  <a:lnTo>
                    <a:pt x="275" y="87"/>
                  </a:lnTo>
                  <a:lnTo>
                    <a:pt x="275" y="87"/>
                  </a:lnTo>
                  <a:lnTo>
                    <a:pt x="284" y="87"/>
                  </a:lnTo>
                  <a:lnTo>
                    <a:pt x="288" y="87"/>
                  </a:lnTo>
                  <a:lnTo>
                    <a:pt x="293" y="87"/>
                  </a:lnTo>
                  <a:lnTo>
                    <a:pt x="298" y="87"/>
                  </a:lnTo>
                  <a:lnTo>
                    <a:pt x="298" y="87"/>
                  </a:lnTo>
                  <a:lnTo>
                    <a:pt x="307" y="82"/>
                  </a:lnTo>
                  <a:lnTo>
                    <a:pt x="311" y="73"/>
                  </a:lnTo>
                  <a:lnTo>
                    <a:pt x="311" y="64"/>
                  </a:lnTo>
                  <a:lnTo>
                    <a:pt x="311" y="64"/>
                  </a:lnTo>
                  <a:lnTo>
                    <a:pt x="311" y="55"/>
                  </a:lnTo>
                  <a:lnTo>
                    <a:pt x="316" y="50"/>
                  </a:lnTo>
                  <a:lnTo>
                    <a:pt x="320" y="50"/>
                  </a:lnTo>
                  <a:lnTo>
                    <a:pt x="330" y="50"/>
                  </a:lnTo>
                  <a:lnTo>
                    <a:pt x="334" y="55"/>
                  </a:lnTo>
                  <a:lnTo>
                    <a:pt x="339" y="50"/>
                  </a:lnTo>
                  <a:lnTo>
                    <a:pt x="343" y="41"/>
                  </a:lnTo>
                  <a:lnTo>
                    <a:pt x="348" y="36"/>
                  </a:lnTo>
                  <a:lnTo>
                    <a:pt x="357" y="32"/>
                  </a:lnTo>
                  <a:lnTo>
                    <a:pt x="371" y="32"/>
                  </a:lnTo>
                  <a:lnTo>
                    <a:pt x="380" y="32"/>
                  </a:lnTo>
                  <a:lnTo>
                    <a:pt x="384" y="32"/>
                  </a:lnTo>
                  <a:lnTo>
                    <a:pt x="394" y="32"/>
                  </a:lnTo>
                  <a:lnTo>
                    <a:pt x="407" y="27"/>
                  </a:lnTo>
                  <a:lnTo>
                    <a:pt x="407" y="23"/>
                  </a:lnTo>
                  <a:lnTo>
                    <a:pt x="412" y="23"/>
                  </a:lnTo>
                  <a:lnTo>
                    <a:pt x="426" y="18"/>
                  </a:lnTo>
                  <a:lnTo>
                    <a:pt x="430" y="13"/>
                  </a:lnTo>
                  <a:lnTo>
                    <a:pt x="430" y="4"/>
                  </a:lnTo>
                  <a:lnTo>
                    <a:pt x="426" y="0"/>
                  </a:lnTo>
                  <a:lnTo>
                    <a:pt x="426" y="0"/>
                  </a:lnTo>
                  <a:lnTo>
                    <a:pt x="430" y="0"/>
                  </a:lnTo>
                  <a:lnTo>
                    <a:pt x="430" y="0"/>
                  </a:lnTo>
                  <a:lnTo>
                    <a:pt x="439" y="0"/>
                  </a:lnTo>
                  <a:lnTo>
                    <a:pt x="448" y="0"/>
                  </a:lnTo>
                  <a:lnTo>
                    <a:pt x="453" y="0"/>
                  </a:lnTo>
                  <a:lnTo>
                    <a:pt x="453" y="4"/>
                  </a:lnTo>
                  <a:lnTo>
                    <a:pt x="448" y="9"/>
                  </a:lnTo>
                  <a:lnTo>
                    <a:pt x="444" y="18"/>
                  </a:lnTo>
                  <a:lnTo>
                    <a:pt x="439" y="23"/>
                  </a:lnTo>
                  <a:lnTo>
                    <a:pt x="435" y="27"/>
                  </a:lnTo>
                  <a:lnTo>
                    <a:pt x="439" y="36"/>
                  </a:lnTo>
                  <a:lnTo>
                    <a:pt x="444" y="41"/>
                  </a:lnTo>
                  <a:lnTo>
                    <a:pt x="444" y="50"/>
                  </a:lnTo>
                  <a:lnTo>
                    <a:pt x="453" y="55"/>
                  </a:lnTo>
                  <a:lnTo>
                    <a:pt x="448" y="64"/>
                  </a:lnTo>
                  <a:lnTo>
                    <a:pt x="448" y="64"/>
                  </a:lnTo>
                  <a:lnTo>
                    <a:pt x="444" y="73"/>
                  </a:lnTo>
                  <a:lnTo>
                    <a:pt x="444" y="77"/>
                  </a:lnTo>
                  <a:lnTo>
                    <a:pt x="430" y="82"/>
                  </a:lnTo>
                  <a:lnTo>
                    <a:pt x="426" y="77"/>
                  </a:lnTo>
                  <a:lnTo>
                    <a:pt x="416" y="77"/>
                  </a:lnTo>
                  <a:lnTo>
                    <a:pt x="416" y="82"/>
                  </a:lnTo>
                  <a:lnTo>
                    <a:pt x="412" y="87"/>
                  </a:lnTo>
                  <a:lnTo>
                    <a:pt x="407" y="91"/>
                  </a:lnTo>
                  <a:lnTo>
                    <a:pt x="407" y="105"/>
                  </a:lnTo>
                  <a:lnTo>
                    <a:pt x="398" y="114"/>
                  </a:lnTo>
                  <a:lnTo>
                    <a:pt x="394" y="128"/>
                  </a:lnTo>
                  <a:lnTo>
                    <a:pt x="389" y="132"/>
                  </a:lnTo>
                  <a:lnTo>
                    <a:pt x="384" y="137"/>
                  </a:lnTo>
                  <a:lnTo>
                    <a:pt x="384" y="146"/>
                  </a:lnTo>
                  <a:lnTo>
                    <a:pt x="384" y="151"/>
                  </a:lnTo>
                  <a:lnTo>
                    <a:pt x="389" y="155"/>
                  </a:lnTo>
                  <a:lnTo>
                    <a:pt x="389" y="160"/>
                  </a:lnTo>
                  <a:lnTo>
                    <a:pt x="394" y="160"/>
                  </a:lnTo>
                  <a:lnTo>
                    <a:pt x="398" y="160"/>
                  </a:lnTo>
                  <a:lnTo>
                    <a:pt x="398" y="164"/>
                  </a:lnTo>
                  <a:lnTo>
                    <a:pt x="394" y="169"/>
                  </a:lnTo>
                  <a:lnTo>
                    <a:pt x="394" y="173"/>
                  </a:lnTo>
                  <a:lnTo>
                    <a:pt x="384" y="178"/>
                  </a:lnTo>
                  <a:lnTo>
                    <a:pt x="384" y="187"/>
                  </a:lnTo>
                  <a:lnTo>
                    <a:pt x="375" y="196"/>
                  </a:lnTo>
                  <a:lnTo>
                    <a:pt x="371" y="201"/>
                  </a:lnTo>
                  <a:lnTo>
                    <a:pt x="371" y="215"/>
                  </a:lnTo>
                  <a:lnTo>
                    <a:pt x="380" y="219"/>
                  </a:lnTo>
                  <a:lnTo>
                    <a:pt x="384" y="228"/>
                  </a:lnTo>
                  <a:lnTo>
                    <a:pt x="394" y="228"/>
                  </a:lnTo>
                  <a:lnTo>
                    <a:pt x="398" y="233"/>
                  </a:lnTo>
                  <a:lnTo>
                    <a:pt x="394" y="237"/>
                  </a:lnTo>
                  <a:lnTo>
                    <a:pt x="394" y="242"/>
                  </a:lnTo>
                  <a:lnTo>
                    <a:pt x="398" y="242"/>
                  </a:lnTo>
                  <a:lnTo>
                    <a:pt x="403" y="247"/>
                  </a:lnTo>
                  <a:lnTo>
                    <a:pt x="403" y="251"/>
                  </a:lnTo>
                  <a:lnTo>
                    <a:pt x="412" y="247"/>
                  </a:lnTo>
                  <a:lnTo>
                    <a:pt x="426" y="242"/>
                  </a:lnTo>
                  <a:lnTo>
                    <a:pt x="435" y="242"/>
                  </a:lnTo>
                  <a:lnTo>
                    <a:pt x="448" y="242"/>
                  </a:lnTo>
                  <a:lnTo>
                    <a:pt x="458" y="242"/>
                  </a:lnTo>
                  <a:lnTo>
                    <a:pt x="462" y="247"/>
                  </a:lnTo>
                  <a:lnTo>
                    <a:pt x="453" y="251"/>
                  </a:lnTo>
                  <a:lnTo>
                    <a:pt x="444" y="260"/>
                  </a:lnTo>
                  <a:lnTo>
                    <a:pt x="439" y="260"/>
                  </a:lnTo>
                  <a:lnTo>
                    <a:pt x="430" y="269"/>
                  </a:lnTo>
                  <a:lnTo>
                    <a:pt x="426" y="274"/>
                  </a:lnTo>
                  <a:lnTo>
                    <a:pt x="421" y="279"/>
                  </a:lnTo>
                  <a:lnTo>
                    <a:pt x="416" y="283"/>
                  </a:lnTo>
                  <a:lnTo>
                    <a:pt x="416" y="283"/>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5" name="Freeform 12">
              <a:extLst>
                <a:ext uri="{FF2B5EF4-FFF2-40B4-BE49-F238E27FC236}">
                  <a16:creationId xmlns:a16="http://schemas.microsoft.com/office/drawing/2014/main" id="{1FAC3E38-D215-4235-BE7C-E268AF2A9DBA}"/>
                </a:ext>
              </a:extLst>
            </p:cNvPr>
            <p:cNvSpPr>
              <a:spLocks/>
            </p:cNvSpPr>
            <p:nvPr>
              <p:custDataLst>
                <p:tags r:id="rId7"/>
              </p:custDataLst>
            </p:nvPr>
          </p:nvSpPr>
          <p:spPr bwMode="auto">
            <a:xfrm>
              <a:off x="1747553" y="3006889"/>
              <a:ext cx="790467" cy="651998"/>
            </a:xfrm>
            <a:custGeom>
              <a:avLst/>
              <a:gdLst/>
              <a:ahLst/>
              <a:cxnLst>
                <a:cxn ang="0">
                  <a:pos x="627" y="110"/>
                </a:cxn>
                <a:cxn ang="0">
                  <a:pos x="617" y="151"/>
                </a:cxn>
                <a:cxn ang="0">
                  <a:pos x="659" y="132"/>
                </a:cxn>
                <a:cxn ang="0">
                  <a:pos x="745" y="110"/>
                </a:cxn>
                <a:cxn ang="0">
                  <a:pos x="791" y="123"/>
                </a:cxn>
                <a:cxn ang="0">
                  <a:pos x="823" y="151"/>
                </a:cxn>
                <a:cxn ang="0">
                  <a:pos x="878" y="206"/>
                </a:cxn>
                <a:cxn ang="0">
                  <a:pos x="901" y="242"/>
                </a:cxn>
                <a:cxn ang="0">
                  <a:pos x="901" y="315"/>
                </a:cxn>
                <a:cxn ang="0">
                  <a:pos x="873" y="388"/>
                </a:cxn>
                <a:cxn ang="0">
                  <a:pos x="837" y="430"/>
                </a:cxn>
                <a:cxn ang="0">
                  <a:pos x="819" y="471"/>
                </a:cxn>
                <a:cxn ang="0">
                  <a:pos x="819" y="539"/>
                </a:cxn>
                <a:cxn ang="0">
                  <a:pos x="805" y="617"/>
                </a:cxn>
                <a:cxn ang="0">
                  <a:pos x="782" y="612"/>
                </a:cxn>
                <a:cxn ang="0">
                  <a:pos x="773" y="631"/>
                </a:cxn>
                <a:cxn ang="0">
                  <a:pos x="736" y="617"/>
                </a:cxn>
                <a:cxn ang="0">
                  <a:pos x="700" y="576"/>
                </a:cxn>
                <a:cxn ang="0">
                  <a:pos x="649" y="553"/>
                </a:cxn>
                <a:cxn ang="0">
                  <a:pos x="599" y="571"/>
                </a:cxn>
                <a:cxn ang="0">
                  <a:pos x="567" y="548"/>
                </a:cxn>
                <a:cxn ang="0">
                  <a:pos x="563" y="516"/>
                </a:cxn>
                <a:cxn ang="0">
                  <a:pos x="526" y="498"/>
                </a:cxn>
                <a:cxn ang="0">
                  <a:pos x="439" y="480"/>
                </a:cxn>
                <a:cxn ang="0">
                  <a:pos x="403" y="494"/>
                </a:cxn>
                <a:cxn ang="0">
                  <a:pos x="421" y="507"/>
                </a:cxn>
                <a:cxn ang="0">
                  <a:pos x="398" y="544"/>
                </a:cxn>
                <a:cxn ang="0">
                  <a:pos x="343" y="548"/>
                </a:cxn>
                <a:cxn ang="0">
                  <a:pos x="307" y="567"/>
                </a:cxn>
                <a:cxn ang="0">
                  <a:pos x="284" y="530"/>
                </a:cxn>
                <a:cxn ang="0">
                  <a:pos x="233" y="539"/>
                </a:cxn>
                <a:cxn ang="0">
                  <a:pos x="179" y="562"/>
                </a:cxn>
                <a:cxn ang="0">
                  <a:pos x="160" y="617"/>
                </a:cxn>
                <a:cxn ang="0">
                  <a:pos x="128" y="594"/>
                </a:cxn>
                <a:cxn ang="0">
                  <a:pos x="128" y="558"/>
                </a:cxn>
                <a:cxn ang="0">
                  <a:pos x="133" y="521"/>
                </a:cxn>
                <a:cxn ang="0">
                  <a:pos x="110" y="480"/>
                </a:cxn>
                <a:cxn ang="0">
                  <a:pos x="69" y="494"/>
                </a:cxn>
                <a:cxn ang="0">
                  <a:pos x="28" y="466"/>
                </a:cxn>
                <a:cxn ang="0">
                  <a:pos x="0" y="425"/>
                </a:cxn>
                <a:cxn ang="0">
                  <a:pos x="23" y="398"/>
                </a:cxn>
                <a:cxn ang="0">
                  <a:pos x="64" y="370"/>
                </a:cxn>
                <a:cxn ang="0">
                  <a:pos x="92" y="352"/>
                </a:cxn>
                <a:cxn ang="0">
                  <a:pos x="110" y="315"/>
                </a:cxn>
                <a:cxn ang="0">
                  <a:pos x="105" y="283"/>
                </a:cxn>
                <a:cxn ang="0">
                  <a:pos x="73" y="219"/>
                </a:cxn>
                <a:cxn ang="0">
                  <a:pos x="69" y="137"/>
                </a:cxn>
                <a:cxn ang="0">
                  <a:pos x="41" y="96"/>
                </a:cxn>
                <a:cxn ang="0">
                  <a:pos x="51" y="46"/>
                </a:cxn>
                <a:cxn ang="0">
                  <a:pos x="110" y="64"/>
                </a:cxn>
                <a:cxn ang="0">
                  <a:pos x="192" y="82"/>
                </a:cxn>
                <a:cxn ang="0">
                  <a:pos x="233" y="100"/>
                </a:cxn>
                <a:cxn ang="0">
                  <a:pos x="288" y="119"/>
                </a:cxn>
                <a:cxn ang="0">
                  <a:pos x="329" y="142"/>
                </a:cxn>
                <a:cxn ang="0">
                  <a:pos x="348" y="132"/>
                </a:cxn>
                <a:cxn ang="0">
                  <a:pos x="329" y="87"/>
                </a:cxn>
                <a:cxn ang="0">
                  <a:pos x="325" y="55"/>
                </a:cxn>
                <a:cxn ang="0">
                  <a:pos x="375" y="9"/>
                </a:cxn>
                <a:cxn ang="0">
                  <a:pos x="421" y="14"/>
                </a:cxn>
                <a:cxn ang="0">
                  <a:pos x="480" y="32"/>
                </a:cxn>
                <a:cxn ang="0">
                  <a:pos x="549" y="41"/>
                </a:cxn>
                <a:cxn ang="0">
                  <a:pos x="595" y="50"/>
                </a:cxn>
                <a:cxn ang="0">
                  <a:pos x="617" y="87"/>
                </a:cxn>
              </a:cxnLst>
              <a:rect l="0" t="0" r="r" b="b"/>
              <a:pathLst>
                <a:path w="905" h="644">
                  <a:moveTo>
                    <a:pt x="617" y="87"/>
                  </a:moveTo>
                  <a:lnTo>
                    <a:pt x="622" y="87"/>
                  </a:lnTo>
                  <a:lnTo>
                    <a:pt x="622" y="91"/>
                  </a:lnTo>
                  <a:lnTo>
                    <a:pt x="622" y="96"/>
                  </a:lnTo>
                  <a:lnTo>
                    <a:pt x="627" y="96"/>
                  </a:lnTo>
                  <a:lnTo>
                    <a:pt x="627" y="100"/>
                  </a:lnTo>
                  <a:lnTo>
                    <a:pt x="627" y="105"/>
                  </a:lnTo>
                  <a:lnTo>
                    <a:pt x="631" y="105"/>
                  </a:lnTo>
                  <a:lnTo>
                    <a:pt x="631" y="105"/>
                  </a:lnTo>
                  <a:lnTo>
                    <a:pt x="627" y="110"/>
                  </a:lnTo>
                  <a:lnTo>
                    <a:pt x="627" y="114"/>
                  </a:lnTo>
                  <a:lnTo>
                    <a:pt x="627" y="119"/>
                  </a:lnTo>
                  <a:lnTo>
                    <a:pt x="622" y="123"/>
                  </a:lnTo>
                  <a:lnTo>
                    <a:pt x="622" y="123"/>
                  </a:lnTo>
                  <a:lnTo>
                    <a:pt x="617" y="128"/>
                  </a:lnTo>
                  <a:lnTo>
                    <a:pt x="617" y="137"/>
                  </a:lnTo>
                  <a:lnTo>
                    <a:pt x="617" y="142"/>
                  </a:lnTo>
                  <a:lnTo>
                    <a:pt x="617" y="146"/>
                  </a:lnTo>
                  <a:lnTo>
                    <a:pt x="617" y="146"/>
                  </a:lnTo>
                  <a:lnTo>
                    <a:pt x="617" y="151"/>
                  </a:lnTo>
                  <a:lnTo>
                    <a:pt x="617" y="155"/>
                  </a:lnTo>
                  <a:lnTo>
                    <a:pt x="617" y="155"/>
                  </a:lnTo>
                  <a:lnTo>
                    <a:pt x="622" y="155"/>
                  </a:lnTo>
                  <a:lnTo>
                    <a:pt x="631" y="155"/>
                  </a:lnTo>
                  <a:lnTo>
                    <a:pt x="631" y="151"/>
                  </a:lnTo>
                  <a:lnTo>
                    <a:pt x="636" y="146"/>
                  </a:lnTo>
                  <a:lnTo>
                    <a:pt x="640" y="146"/>
                  </a:lnTo>
                  <a:lnTo>
                    <a:pt x="649" y="142"/>
                  </a:lnTo>
                  <a:lnTo>
                    <a:pt x="654" y="137"/>
                  </a:lnTo>
                  <a:lnTo>
                    <a:pt x="659" y="132"/>
                  </a:lnTo>
                  <a:lnTo>
                    <a:pt x="659" y="132"/>
                  </a:lnTo>
                  <a:lnTo>
                    <a:pt x="668" y="128"/>
                  </a:lnTo>
                  <a:lnTo>
                    <a:pt x="672" y="128"/>
                  </a:lnTo>
                  <a:lnTo>
                    <a:pt x="677" y="128"/>
                  </a:lnTo>
                  <a:lnTo>
                    <a:pt x="681" y="128"/>
                  </a:lnTo>
                  <a:lnTo>
                    <a:pt x="704" y="123"/>
                  </a:lnTo>
                  <a:lnTo>
                    <a:pt x="713" y="119"/>
                  </a:lnTo>
                  <a:lnTo>
                    <a:pt x="736" y="114"/>
                  </a:lnTo>
                  <a:lnTo>
                    <a:pt x="741" y="110"/>
                  </a:lnTo>
                  <a:lnTo>
                    <a:pt x="745" y="110"/>
                  </a:lnTo>
                  <a:lnTo>
                    <a:pt x="759" y="110"/>
                  </a:lnTo>
                  <a:lnTo>
                    <a:pt x="768" y="114"/>
                  </a:lnTo>
                  <a:lnTo>
                    <a:pt x="768" y="114"/>
                  </a:lnTo>
                  <a:lnTo>
                    <a:pt x="773" y="114"/>
                  </a:lnTo>
                  <a:lnTo>
                    <a:pt x="777" y="119"/>
                  </a:lnTo>
                  <a:lnTo>
                    <a:pt x="782" y="119"/>
                  </a:lnTo>
                  <a:lnTo>
                    <a:pt x="787" y="119"/>
                  </a:lnTo>
                  <a:lnTo>
                    <a:pt x="791" y="123"/>
                  </a:lnTo>
                  <a:lnTo>
                    <a:pt x="791" y="123"/>
                  </a:lnTo>
                  <a:lnTo>
                    <a:pt x="791" y="123"/>
                  </a:lnTo>
                  <a:lnTo>
                    <a:pt x="796" y="128"/>
                  </a:lnTo>
                  <a:lnTo>
                    <a:pt x="800" y="128"/>
                  </a:lnTo>
                  <a:lnTo>
                    <a:pt x="805" y="132"/>
                  </a:lnTo>
                  <a:lnTo>
                    <a:pt x="809" y="137"/>
                  </a:lnTo>
                  <a:lnTo>
                    <a:pt x="814" y="142"/>
                  </a:lnTo>
                  <a:lnTo>
                    <a:pt x="814" y="146"/>
                  </a:lnTo>
                  <a:lnTo>
                    <a:pt x="814" y="146"/>
                  </a:lnTo>
                  <a:lnTo>
                    <a:pt x="819" y="146"/>
                  </a:lnTo>
                  <a:lnTo>
                    <a:pt x="823" y="146"/>
                  </a:lnTo>
                  <a:lnTo>
                    <a:pt x="823" y="151"/>
                  </a:lnTo>
                  <a:lnTo>
                    <a:pt x="832" y="155"/>
                  </a:lnTo>
                  <a:lnTo>
                    <a:pt x="837" y="160"/>
                  </a:lnTo>
                  <a:lnTo>
                    <a:pt x="841" y="169"/>
                  </a:lnTo>
                  <a:lnTo>
                    <a:pt x="846" y="169"/>
                  </a:lnTo>
                  <a:lnTo>
                    <a:pt x="855" y="178"/>
                  </a:lnTo>
                  <a:lnTo>
                    <a:pt x="864" y="187"/>
                  </a:lnTo>
                  <a:lnTo>
                    <a:pt x="869" y="192"/>
                  </a:lnTo>
                  <a:lnTo>
                    <a:pt x="873" y="196"/>
                  </a:lnTo>
                  <a:lnTo>
                    <a:pt x="878" y="201"/>
                  </a:lnTo>
                  <a:lnTo>
                    <a:pt x="878" y="206"/>
                  </a:lnTo>
                  <a:lnTo>
                    <a:pt x="878" y="210"/>
                  </a:lnTo>
                  <a:lnTo>
                    <a:pt x="883" y="210"/>
                  </a:lnTo>
                  <a:lnTo>
                    <a:pt x="883" y="215"/>
                  </a:lnTo>
                  <a:lnTo>
                    <a:pt x="887" y="215"/>
                  </a:lnTo>
                  <a:lnTo>
                    <a:pt x="892" y="219"/>
                  </a:lnTo>
                  <a:lnTo>
                    <a:pt x="892" y="224"/>
                  </a:lnTo>
                  <a:lnTo>
                    <a:pt x="901" y="233"/>
                  </a:lnTo>
                  <a:lnTo>
                    <a:pt x="901" y="233"/>
                  </a:lnTo>
                  <a:lnTo>
                    <a:pt x="901" y="238"/>
                  </a:lnTo>
                  <a:lnTo>
                    <a:pt x="901" y="242"/>
                  </a:lnTo>
                  <a:lnTo>
                    <a:pt x="905" y="242"/>
                  </a:lnTo>
                  <a:lnTo>
                    <a:pt x="905" y="251"/>
                  </a:lnTo>
                  <a:lnTo>
                    <a:pt x="905" y="256"/>
                  </a:lnTo>
                  <a:lnTo>
                    <a:pt x="905" y="256"/>
                  </a:lnTo>
                  <a:lnTo>
                    <a:pt x="905" y="260"/>
                  </a:lnTo>
                  <a:lnTo>
                    <a:pt x="905" y="270"/>
                  </a:lnTo>
                  <a:lnTo>
                    <a:pt x="905" y="279"/>
                  </a:lnTo>
                  <a:lnTo>
                    <a:pt x="905" y="288"/>
                  </a:lnTo>
                  <a:lnTo>
                    <a:pt x="901" y="302"/>
                  </a:lnTo>
                  <a:lnTo>
                    <a:pt x="901" y="315"/>
                  </a:lnTo>
                  <a:lnTo>
                    <a:pt x="896" y="343"/>
                  </a:lnTo>
                  <a:lnTo>
                    <a:pt x="896" y="366"/>
                  </a:lnTo>
                  <a:lnTo>
                    <a:pt x="892" y="375"/>
                  </a:lnTo>
                  <a:lnTo>
                    <a:pt x="892" y="379"/>
                  </a:lnTo>
                  <a:lnTo>
                    <a:pt x="887" y="379"/>
                  </a:lnTo>
                  <a:lnTo>
                    <a:pt x="887" y="384"/>
                  </a:lnTo>
                  <a:lnTo>
                    <a:pt x="883" y="384"/>
                  </a:lnTo>
                  <a:lnTo>
                    <a:pt x="878" y="388"/>
                  </a:lnTo>
                  <a:lnTo>
                    <a:pt x="878" y="388"/>
                  </a:lnTo>
                  <a:lnTo>
                    <a:pt x="873" y="388"/>
                  </a:lnTo>
                  <a:lnTo>
                    <a:pt x="864" y="388"/>
                  </a:lnTo>
                  <a:lnTo>
                    <a:pt x="860" y="393"/>
                  </a:lnTo>
                  <a:lnTo>
                    <a:pt x="855" y="393"/>
                  </a:lnTo>
                  <a:lnTo>
                    <a:pt x="855" y="398"/>
                  </a:lnTo>
                  <a:lnTo>
                    <a:pt x="855" y="402"/>
                  </a:lnTo>
                  <a:lnTo>
                    <a:pt x="851" y="402"/>
                  </a:lnTo>
                  <a:lnTo>
                    <a:pt x="846" y="411"/>
                  </a:lnTo>
                  <a:lnTo>
                    <a:pt x="841" y="416"/>
                  </a:lnTo>
                  <a:lnTo>
                    <a:pt x="841" y="425"/>
                  </a:lnTo>
                  <a:lnTo>
                    <a:pt x="837" y="430"/>
                  </a:lnTo>
                  <a:lnTo>
                    <a:pt x="837" y="434"/>
                  </a:lnTo>
                  <a:lnTo>
                    <a:pt x="837" y="439"/>
                  </a:lnTo>
                  <a:lnTo>
                    <a:pt x="837" y="448"/>
                  </a:lnTo>
                  <a:lnTo>
                    <a:pt x="832" y="452"/>
                  </a:lnTo>
                  <a:lnTo>
                    <a:pt x="832" y="452"/>
                  </a:lnTo>
                  <a:lnTo>
                    <a:pt x="828" y="457"/>
                  </a:lnTo>
                  <a:lnTo>
                    <a:pt x="828" y="462"/>
                  </a:lnTo>
                  <a:lnTo>
                    <a:pt x="823" y="462"/>
                  </a:lnTo>
                  <a:lnTo>
                    <a:pt x="823" y="466"/>
                  </a:lnTo>
                  <a:lnTo>
                    <a:pt x="819" y="471"/>
                  </a:lnTo>
                  <a:lnTo>
                    <a:pt x="819" y="475"/>
                  </a:lnTo>
                  <a:lnTo>
                    <a:pt x="814" y="475"/>
                  </a:lnTo>
                  <a:lnTo>
                    <a:pt x="814" y="475"/>
                  </a:lnTo>
                  <a:lnTo>
                    <a:pt x="814" y="484"/>
                  </a:lnTo>
                  <a:lnTo>
                    <a:pt x="814" y="489"/>
                  </a:lnTo>
                  <a:lnTo>
                    <a:pt x="814" y="512"/>
                  </a:lnTo>
                  <a:lnTo>
                    <a:pt x="814" y="516"/>
                  </a:lnTo>
                  <a:lnTo>
                    <a:pt x="819" y="521"/>
                  </a:lnTo>
                  <a:lnTo>
                    <a:pt x="819" y="530"/>
                  </a:lnTo>
                  <a:lnTo>
                    <a:pt x="819" y="539"/>
                  </a:lnTo>
                  <a:lnTo>
                    <a:pt x="819" y="562"/>
                  </a:lnTo>
                  <a:lnTo>
                    <a:pt x="819" y="567"/>
                  </a:lnTo>
                  <a:lnTo>
                    <a:pt x="814" y="585"/>
                  </a:lnTo>
                  <a:lnTo>
                    <a:pt x="814" y="599"/>
                  </a:lnTo>
                  <a:lnTo>
                    <a:pt x="809" y="608"/>
                  </a:lnTo>
                  <a:lnTo>
                    <a:pt x="809" y="612"/>
                  </a:lnTo>
                  <a:lnTo>
                    <a:pt x="809" y="617"/>
                  </a:lnTo>
                  <a:lnTo>
                    <a:pt x="809" y="617"/>
                  </a:lnTo>
                  <a:lnTo>
                    <a:pt x="805" y="617"/>
                  </a:lnTo>
                  <a:lnTo>
                    <a:pt x="805" y="617"/>
                  </a:lnTo>
                  <a:lnTo>
                    <a:pt x="800" y="612"/>
                  </a:lnTo>
                  <a:lnTo>
                    <a:pt x="800" y="612"/>
                  </a:lnTo>
                  <a:lnTo>
                    <a:pt x="796" y="608"/>
                  </a:lnTo>
                  <a:lnTo>
                    <a:pt x="796" y="612"/>
                  </a:lnTo>
                  <a:lnTo>
                    <a:pt x="796" y="612"/>
                  </a:lnTo>
                  <a:lnTo>
                    <a:pt x="791" y="612"/>
                  </a:lnTo>
                  <a:lnTo>
                    <a:pt x="791" y="612"/>
                  </a:lnTo>
                  <a:lnTo>
                    <a:pt x="787" y="612"/>
                  </a:lnTo>
                  <a:lnTo>
                    <a:pt x="782" y="612"/>
                  </a:lnTo>
                  <a:lnTo>
                    <a:pt x="782" y="612"/>
                  </a:lnTo>
                  <a:lnTo>
                    <a:pt x="777" y="608"/>
                  </a:lnTo>
                  <a:lnTo>
                    <a:pt x="777" y="608"/>
                  </a:lnTo>
                  <a:lnTo>
                    <a:pt x="777" y="612"/>
                  </a:lnTo>
                  <a:lnTo>
                    <a:pt x="777" y="617"/>
                  </a:lnTo>
                  <a:lnTo>
                    <a:pt x="773" y="617"/>
                  </a:lnTo>
                  <a:lnTo>
                    <a:pt x="773" y="622"/>
                  </a:lnTo>
                  <a:lnTo>
                    <a:pt x="773" y="626"/>
                  </a:lnTo>
                  <a:lnTo>
                    <a:pt x="773" y="626"/>
                  </a:lnTo>
                  <a:lnTo>
                    <a:pt x="773" y="631"/>
                  </a:lnTo>
                  <a:lnTo>
                    <a:pt x="773" y="631"/>
                  </a:lnTo>
                  <a:lnTo>
                    <a:pt x="773" y="631"/>
                  </a:lnTo>
                  <a:lnTo>
                    <a:pt x="764" y="635"/>
                  </a:lnTo>
                  <a:lnTo>
                    <a:pt x="755" y="640"/>
                  </a:lnTo>
                  <a:lnTo>
                    <a:pt x="750" y="644"/>
                  </a:lnTo>
                  <a:lnTo>
                    <a:pt x="745" y="644"/>
                  </a:lnTo>
                  <a:lnTo>
                    <a:pt x="741" y="640"/>
                  </a:lnTo>
                  <a:lnTo>
                    <a:pt x="741" y="631"/>
                  </a:lnTo>
                  <a:lnTo>
                    <a:pt x="741" y="626"/>
                  </a:lnTo>
                  <a:lnTo>
                    <a:pt x="741" y="622"/>
                  </a:lnTo>
                  <a:lnTo>
                    <a:pt x="736" y="617"/>
                  </a:lnTo>
                  <a:lnTo>
                    <a:pt x="732" y="612"/>
                  </a:lnTo>
                  <a:lnTo>
                    <a:pt x="727" y="608"/>
                  </a:lnTo>
                  <a:lnTo>
                    <a:pt x="718" y="608"/>
                  </a:lnTo>
                  <a:lnTo>
                    <a:pt x="713" y="603"/>
                  </a:lnTo>
                  <a:lnTo>
                    <a:pt x="709" y="599"/>
                  </a:lnTo>
                  <a:lnTo>
                    <a:pt x="704" y="594"/>
                  </a:lnTo>
                  <a:lnTo>
                    <a:pt x="704" y="585"/>
                  </a:lnTo>
                  <a:lnTo>
                    <a:pt x="700" y="585"/>
                  </a:lnTo>
                  <a:lnTo>
                    <a:pt x="700" y="580"/>
                  </a:lnTo>
                  <a:lnTo>
                    <a:pt x="700" y="576"/>
                  </a:lnTo>
                  <a:lnTo>
                    <a:pt x="695" y="576"/>
                  </a:lnTo>
                  <a:lnTo>
                    <a:pt x="695" y="571"/>
                  </a:lnTo>
                  <a:lnTo>
                    <a:pt x="695" y="567"/>
                  </a:lnTo>
                  <a:lnTo>
                    <a:pt x="691" y="562"/>
                  </a:lnTo>
                  <a:lnTo>
                    <a:pt x="686" y="558"/>
                  </a:lnTo>
                  <a:lnTo>
                    <a:pt x="681" y="553"/>
                  </a:lnTo>
                  <a:lnTo>
                    <a:pt x="672" y="553"/>
                  </a:lnTo>
                  <a:lnTo>
                    <a:pt x="668" y="553"/>
                  </a:lnTo>
                  <a:lnTo>
                    <a:pt x="663" y="553"/>
                  </a:lnTo>
                  <a:lnTo>
                    <a:pt x="649" y="553"/>
                  </a:lnTo>
                  <a:lnTo>
                    <a:pt x="640" y="553"/>
                  </a:lnTo>
                  <a:lnTo>
                    <a:pt x="636" y="553"/>
                  </a:lnTo>
                  <a:lnTo>
                    <a:pt x="627" y="558"/>
                  </a:lnTo>
                  <a:lnTo>
                    <a:pt x="622" y="558"/>
                  </a:lnTo>
                  <a:lnTo>
                    <a:pt x="617" y="558"/>
                  </a:lnTo>
                  <a:lnTo>
                    <a:pt x="617" y="562"/>
                  </a:lnTo>
                  <a:lnTo>
                    <a:pt x="613" y="562"/>
                  </a:lnTo>
                  <a:lnTo>
                    <a:pt x="608" y="567"/>
                  </a:lnTo>
                  <a:lnTo>
                    <a:pt x="604" y="571"/>
                  </a:lnTo>
                  <a:lnTo>
                    <a:pt x="599" y="571"/>
                  </a:lnTo>
                  <a:lnTo>
                    <a:pt x="595" y="571"/>
                  </a:lnTo>
                  <a:lnTo>
                    <a:pt x="595" y="571"/>
                  </a:lnTo>
                  <a:lnTo>
                    <a:pt x="590" y="571"/>
                  </a:lnTo>
                  <a:lnTo>
                    <a:pt x="590" y="567"/>
                  </a:lnTo>
                  <a:lnTo>
                    <a:pt x="581" y="562"/>
                  </a:lnTo>
                  <a:lnTo>
                    <a:pt x="581" y="562"/>
                  </a:lnTo>
                  <a:lnTo>
                    <a:pt x="576" y="558"/>
                  </a:lnTo>
                  <a:lnTo>
                    <a:pt x="572" y="558"/>
                  </a:lnTo>
                  <a:lnTo>
                    <a:pt x="572" y="558"/>
                  </a:lnTo>
                  <a:lnTo>
                    <a:pt x="567" y="548"/>
                  </a:lnTo>
                  <a:lnTo>
                    <a:pt x="563" y="548"/>
                  </a:lnTo>
                  <a:lnTo>
                    <a:pt x="563" y="544"/>
                  </a:lnTo>
                  <a:lnTo>
                    <a:pt x="558" y="539"/>
                  </a:lnTo>
                  <a:lnTo>
                    <a:pt x="558" y="535"/>
                  </a:lnTo>
                  <a:lnTo>
                    <a:pt x="558" y="530"/>
                  </a:lnTo>
                  <a:lnTo>
                    <a:pt x="558" y="526"/>
                  </a:lnTo>
                  <a:lnTo>
                    <a:pt x="558" y="521"/>
                  </a:lnTo>
                  <a:lnTo>
                    <a:pt x="563" y="521"/>
                  </a:lnTo>
                  <a:lnTo>
                    <a:pt x="563" y="521"/>
                  </a:lnTo>
                  <a:lnTo>
                    <a:pt x="563" y="516"/>
                  </a:lnTo>
                  <a:lnTo>
                    <a:pt x="567" y="512"/>
                  </a:lnTo>
                  <a:lnTo>
                    <a:pt x="567" y="507"/>
                  </a:lnTo>
                  <a:lnTo>
                    <a:pt x="563" y="507"/>
                  </a:lnTo>
                  <a:lnTo>
                    <a:pt x="558" y="503"/>
                  </a:lnTo>
                  <a:lnTo>
                    <a:pt x="553" y="503"/>
                  </a:lnTo>
                  <a:lnTo>
                    <a:pt x="549" y="503"/>
                  </a:lnTo>
                  <a:lnTo>
                    <a:pt x="549" y="498"/>
                  </a:lnTo>
                  <a:lnTo>
                    <a:pt x="544" y="498"/>
                  </a:lnTo>
                  <a:lnTo>
                    <a:pt x="531" y="498"/>
                  </a:lnTo>
                  <a:lnTo>
                    <a:pt x="526" y="498"/>
                  </a:lnTo>
                  <a:lnTo>
                    <a:pt x="512" y="494"/>
                  </a:lnTo>
                  <a:lnTo>
                    <a:pt x="508" y="494"/>
                  </a:lnTo>
                  <a:lnTo>
                    <a:pt x="489" y="489"/>
                  </a:lnTo>
                  <a:lnTo>
                    <a:pt x="485" y="484"/>
                  </a:lnTo>
                  <a:lnTo>
                    <a:pt x="480" y="484"/>
                  </a:lnTo>
                  <a:lnTo>
                    <a:pt x="476" y="484"/>
                  </a:lnTo>
                  <a:lnTo>
                    <a:pt x="462" y="480"/>
                  </a:lnTo>
                  <a:lnTo>
                    <a:pt x="457" y="480"/>
                  </a:lnTo>
                  <a:lnTo>
                    <a:pt x="444" y="480"/>
                  </a:lnTo>
                  <a:lnTo>
                    <a:pt x="439" y="480"/>
                  </a:lnTo>
                  <a:lnTo>
                    <a:pt x="435" y="475"/>
                  </a:lnTo>
                  <a:lnTo>
                    <a:pt x="430" y="475"/>
                  </a:lnTo>
                  <a:lnTo>
                    <a:pt x="425" y="475"/>
                  </a:lnTo>
                  <a:lnTo>
                    <a:pt x="421" y="475"/>
                  </a:lnTo>
                  <a:lnTo>
                    <a:pt x="416" y="475"/>
                  </a:lnTo>
                  <a:lnTo>
                    <a:pt x="416" y="480"/>
                  </a:lnTo>
                  <a:lnTo>
                    <a:pt x="416" y="484"/>
                  </a:lnTo>
                  <a:lnTo>
                    <a:pt x="412" y="489"/>
                  </a:lnTo>
                  <a:lnTo>
                    <a:pt x="407" y="494"/>
                  </a:lnTo>
                  <a:lnTo>
                    <a:pt x="403" y="494"/>
                  </a:lnTo>
                  <a:lnTo>
                    <a:pt x="398" y="498"/>
                  </a:lnTo>
                  <a:lnTo>
                    <a:pt x="398" y="498"/>
                  </a:lnTo>
                  <a:lnTo>
                    <a:pt x="398" y="498"/>
                  </a:lnTo>
                  <a:lnTo>
                    <a:pt x="398" y="503"/>
                  </a:lnTo>
                  <a:lnTo>
                    <a:pt x="398" y="507"/>
                  </a:lnTo>
                  <a:lnTo>
                    <a:pt x="407" y="507"/>
                  </a:lnTo>
                  <a:lnTo>
                    <a:pt x="416" y="503"/>
                  </a:lnTo>
                  <a:lnTo>
                    <a:pt x="416" y="503"/>
                  </a:lnTo>
                  <a:lnTo>
                    <a:pt x="416" y="507"/>
                  </a:lnTo>
                  <a:lnTo>
                    <a:pt x="421" y="507"/>
                  </a:lnTo>
                  <a:lnTo>
                    <a:pt x="425" y="512"/>
                  </a:lnTo>
                  <a:lnTo>
                    <a:pt x="430" y="516"/>
                  </a:lnTo>
                  <a:lnTo>
                    <a:pt x="430" y="521"/>
                  </a:lnTo>
                  <a:lnTo>
                    <a:pt x="430" y="526"/>
                  </a:lnTo>
                  <a:lnTo>
                    <a:pt x="425" y="535"/>
                  </a:lnTo>
                  <a:lnTo>
                    <a:pt x="421" y="539"/>
                  </a:lnTo>
                  <a:lnTo>
                    <a:pt x="416" y="539"/>
                  </a:lnTo>
                  <a:lnTo>
                    <a:pt x="416" y="544"/>
                  </a:lnTo>
                  <a:lnTo>
                    <a:pt x="407" y="544"/>
                  </a:lnTo>
                  <a:lnTo>
                    <a:pt x="398" y="544"/>
                  </a:lnTo>
                  <a:lnTo>
                    <a:pt x="398" y="544"/>
                  </a:lnTo>
                  <a:lnTo>
                    <a:pt x="398" y="544"/>
                  </a:lnTo>
                  <a:lnTo>
                    <a:pt x="393" y="544"/>
                  </a:lnTo>
                  <a:lnTo>
                    <a:pt x="380" y="544"/>
                  </a:lnTo>
                  <a:lnTo>
                    <a:pt x="371" y="544"/>
                  </a:lnTo>
                  <a:lnTo>
                    <a:pt x="366" y="544"/>
                  </a:lnTo>
                  <a:lnTo>
                    <a:pt x="352" y="544"/>
                  </a:lnTo>
                  <a:lnTo>
                    <a:pt x="352" y="544"/>
                  </a:lnTo>
                  <a:lnTo>
                    <a:pt x="348" y="548"/>
                  </a:lnTo>
                  <a:lnTo>
                    <a:pt x="343" y="548"/>
                  </a:lnTo>
                  <a:lnTo>
                    <a:pt x="334" y="558"/>
                  </a:lnTo>
                  <a:lnTo>
                    <a:pt x="329" y="558"/>
                  </a:lnTo>
                  <a:lnTo>
                    <a:pt x="329" y="562"/>
                  </a:lnTo>
                  <a:lnTo>
                    <a:pt x="329" y="562"/>
                  </a:lnTo>
                  <a:lnTo>
                    <a:pt x="320" y="571"/>
                  </a:lnTo>
                  <a:lnTo>
                    <a:pt x="316" y="576"/>
                  </a:lnTo>
                  <a:lnTo>
                    <a:pt x="311" y="576"/>
                  </a:lnTo>
                  <a:lnTo>
                    <a:pt x="307" y="576"/>
                  </a:lnTo>
                  <a:lnTo>
                    <a:pt x="307" y="571"/>
                  </a:lnTo>
                  <a:lnTo>
                    <a:pt x="307" y="567"/>
                  </a:lnTo>
                  <a:lnTo>
                    <a:pt x="302" y="562"/>
                  </a:lnTo>
                  <a:lnTo>
                    <a:pt x="297" y="562"/>
                  </a:lnTo>
                  <a:lnTo>
                    <a:pt x="297" y="558"/>
                  </a:lnTo>
                  <a:lnTo>
                    <a:pt x="297" y="553"/>
                  </a:lnTo>
                  <a:lnTo>
                    <a:pt x="293" y="548"/>
                  </a:lnTo>
                  <a:lnTo>
                    <a:pt x="288" y="544"/>
                  </a:lnTo>
                  <a:lnTo>
                    <a:pt x="288" y="539"/>
                  </a:lnTo>
                  <a:lnTo>
                    <a:pt x="288" y="535"/>
                  </a:lnTo>
                  <a:lnTo>
                    <a:pt x="284" y="535"/>
                  </a:lnTo>
                  <a:lnTo>
                    <a:pt x="284" y="530"/>
                  </a:lnTo>
                  <a:lnTo>
                    <a:pt x="279" y="526"/>
                  </a:lnTo>
                  <a:lnTo>
                    <a:pt x="275" y="521"/>
                  </a:lnTo>
                  <a:lnTo>
                    <a:pt x="270" y="521"/>
                  </a:lnTo>
                  <a:lnTo>
                    <a:pt x="265" y="521"/>
                  </a:lnTo>
                  <a:lnTo>
                    <a:pt x="261" y="521"/>
                  </a:lnTo>
                  <a:lnTo>
                    <a:pt x="261" y="526"/>
                  </a:lnTo>
                  <a:lnTo>
                    <a:pt x="252" y="526"/>
                  </a:lnTo>
                  <a:lnTo>
                    <a:pt x="247" y="526"/>
                  </a:lnTo>
                  <a:lnTo>
                    <a:pt x="243" y="530"/>
                  </a:lnTo>
                  <a:lnTo>
                    <a:pt x="233" y="539"/>
                  </a:lnTo>
                  <a:lnTo>
                    <a:pt x="224" y="544"/>
                  </a:lnTo>
                  <a:lnTo>
                    <a:pt x="215" y="544"/>
                  </a:lnTo>
                  <a:lnTo>
                    <a:pt x="201" y="544"/>
                  </a:lnTo>
                  <a:lnTo>
                    <a:pt x="197" y="544"/>
                  </a:lnTo>
                  <a:lnTo>
                    <a:pt x="197" y="544"/>
                  </a:lnTo>
                  <a:lnTo>
                    <a:pt x="192" y="544"/>
                  </a:lnTo>
                  <a:lnTo>
                    <a:pt x="188" y="548"/>
                  </a:lnTo>
                  <a:lnTo>
                    <a:pt x="179" y="553"/>
                  </a:lnTo>
                  <a:lnTo>
                    <a:pt x="179" y="558"/>
                  </a:lnTo>
                  <a:lnTo>
                    <a:pt x="179" y="562"/>
                  </a:lnTo>
                  <a:lnTo>
                    <a:pt x="179" y="567"/>
                  </a:lnTo>
                  <a:lnTo>
                    <a:pt x="179" y="576"/>
                  </a:lnTo>
                  <a:lnTo>
                    <a:pt x="179" y="580"/>
                  </a:lnTo>
                  <a:lnTo>
                    <a:pt x="179" y="585"/>
                  </a:lnTo>
                  <a:lnTo>
                    <a:pt x="174" y="594"/>
                  </a:lnTo>
                  <a:lnTo>
                    <a:pt x="174" y="603"/>
                  </a:lnTo>
                  <a:lnTo>
                    <a:pt x="174" y="608"/>
                  </a:lnTo>
                  <a:lnTo>
                    <a:pt x="169" y="612"/>
                  </a:lnTo>
                  <a:lnTo>
                    <a:pt x="165" y="617"/>
                  </a:lnTo>
                  <a:lnTo>
                    <a:pt x="160" y="617"/>
                  </a:lnTo>
                  <a:lnTo>
                    <a:pt x="156" y="617"/>
                  </a:lnTo>
                  <a:lnTo>
                    <a:pt x="156" y="617"/>
                  </a:lnTo>
                  <a:lnTo>
                    <a:pt x="156" y="612"/>
                  </a:lnTo>
                  <a:lnTo>
                    <a:pt x="151" y="612"/>
                  </a:lnTo>
                  <a:lnTo>
                    <a:pt x="147" y="608"/>
                  </a:lnTo>
                  <a:lnTo>
                    <a:pt x="142" y="608"/>
                  </a:lnTo>
                  <a:lnTo>
                    <a:pt x="137" y="603"/>
                  </a:lnTo>
                  <a:lnTo>
                    <a:pt x="133" y="603"/>
                  </a:lnTo>
                  <a:lnTo>
                    <a:pt x="133" y="599"/>
                  </a:lnTo>
                  <a:lnTo>
                    <a:pt x="128" y="594"/>
                  </a:lnTo>
                  <a:lnTo>
                    <a:pt x="128" y="590"/>
                  </a:lnTo>
                  <a:lnTo>
                    <a:pt x="124" y="590"/>
                  </a:lnTo>
                  <a:lnTo>
                    <a:pt x="124" y="585"/>
                  </a:lnTo>
                  <a:lnTo>
                    <a:pt x="119" y="585"/>
                  </a:lnTo>
                  <a:lnTo>
                    <a:pt x="119" y="580"/>
                  </a:lnTo>
                  <a:lnTo>
                    <a:pt x="119" y="576"/>
                  </a:lnTo>
                  <a:lnTo>
                    <a:pt x="119" y="567"/>
                  </a:lnTo>
                  <a:lnTo>
                    <a:pt x="124" y="562"/>
                  </a:lnTo>
                  <a:lnTo>
                    <a:pt x="124" y="562"/>
                  </a:lnTo>
                  <a:lnTo>
                    <a:pt x="128" y="558"/>
                  </a:lnTo>
                  <a:lnTo>
                    <a:pt x="128" y="553"/>
                  </a:lnTo>
                  <a:lnTo>
                    <a:pt x="133" y="548"/>
                  </a:lnTo>
                  <a:lnTo>
                    <a:pt x="133" y="544"/>
                  </a:lnTo>
                  <a:lnTo>
                    <a:pt x="133" y="544"/>
                  </a:lnTo>
                  <a:lnTo>
                    <a:pt x="133" y="539"/>
                  </a:lnTo>
                  <a:lnTo>
                    <a:pt x="133" y="535"/>
                  </a:lnTo>
                  <a:lnTo>
                    <a:pt x="133" y="530"/>
                  </a:lnTo>
                  <a:lnTo>
                    <a:pt x="133" y="526"/>
                  </a:lnTo>
                  <a:lnTo>
                    <a:pt x="133" y="521"/>
                  </a:lnTo>
                  <a:lnTo>
                    <a:pt x="133" y="521"/>
                  </a:lnTo>
                  <a:lnTo>
                    <a:pt x="133" y="516"/>
                  </a:lnTo>
                  <a:lnTo>
                    <a:pt x="133" y="507"/>
                  </a:lnTo>
                  <a:lnTo>
                    <a:pt x="133" y="503"/>
                  </a:lnTo>
                  <a:lnTo>
                    <a:pt x="128" y="498"/>
                  </a:lnTo>
                  <a:lnTo>
                    <a:pt x="124" y="498"/>
                  </a:lnTo>
                  <a:lnTo>
                    <a:pt x="124" y="494"/>
                  </a:lnTo>
                  <a:lnTo>
                    <a:pt x="119" y="494"/>
                  </a:lnTo>
                  <a:lnTo>
                    <a:pt x="115" y="484"/>
                  </a:lnTo>
                  <a:lnTo>
                    <a:pt x="110" y="484"/>
                  </a:lnTo>
                  <a:lnTo>
                    <a:pt x="110" y="480"/>
                  </a:lnTo>
                  <a:lnTo>
                    <a:pt x="110" y="480"/>
                  </a:lnTo>
                  <a:lnTo>
                    <a:pt x="105" y="480"/>
                  </a:lnTo>
                  <a:lnTo>
                    <a:pt x="101" y="480"/>
                  </a:lnTo>
                  <a:lnTo>
                    <a:pt x="92" y="480"/>
                  </a:lnTo>
                  <a:lnTo>
                    <a:pt x="87" y="484"/>
                  </a:lnTo>
                  <a:lnTo>
                    <a:pt x="83" y="489"/>
                  </a:lnTo>
                  <a:lnTo>
                    <a:pt x="78" y="489"/>
                  </a:lnTo>
                  <a:lnTo>
                    <a:pt x="73" y="489"/>
                  </a:lnTo>
                  <a:lnTo>
                    <a:pt x="73" y="494"/>
                  </a:lnTo>
                  <a:lnTo>
                    <a:pt x="69" y="494"/>
                  </a:lnTo>
                  <a:lnTo>
                    <a:pt x="60" y="494"/>
                  </a:lnTo>
                  <a:lnTo>
                    <a:pt x="51" y="494"/>
                  </a:lnTo>
                  <a:lnTo>
                    <a:pt x="46" y="489"/>
                  </a:lnTo>
                  <a:lnTo>
                    <a:pt x="46" y="484"/>
                  </a:lnTo>
                  <a:lnTo>
                    <a:pt x="41" y="480"/>
                  </a:lnTo>
                  <a:lnTo>
                    <a:pt x="37" y="475"/>
                  </a:lnTo>
                  <a:lnTo>
                    <a:pt x="37" y="475"/>
                  </a:lnTo>
                  <a:lnTo>
                    <a:pt x="32" y="475"/>
                  </a:lnTo>
                  <a:lnTo>
                    <a:pt x="32" y="471"/>
                  </a:lnTo>
                  <a:lnTo>
                    <a:pt x="28" y="466"/>
                  </a:lnTo>
                  <a:lnTo>
                    <a:pt x="23" y="466"/>
                  </a:lnTo>
                  <a:lnTo>
                    <a:pt x="23" y="462"/>
                  </a:lnTo>
                  <a:lnTo>
                    <a:pt x="23" y="457"/>
                  </a:lnTo>
                  <a:lnTo>
                    <a:pt x="19" y="457"/>
                  </a:lnTo>
                  <a:lnTo>
                    <a:pt x="14" y="452"/>
                  </a:lnTo>
                  <a:lnTo>
                    <a:pt x="9" y="448"/>
                  </a:lnTo>
                  <a:lnTo>
                    <a:pt x="5" y="443"/>
                  </a:lnTo>
                  <a:lnTo>
                    <a:pt x="5" y="439"/>
                  </a:lnTo>
                  <a:lnTo>
                    <a:pt x="5" y="434"/>
                  </a:lnTo>
                  <a:lnTo>
                    <a:pt x="0" y="425"/>
                  </a:lnTo>
                  <a:lnTo>
                    <a:pt x="5" y="430"/>
                  </a:lnTo>
                  <a:lnTo>
                    <a:pt x="19" y="434"/>
                  </a:lnTo>
                  <a:lnTo>
                    <a:pt x="19" y="430"/>
                  </a:lnTo>
                  <a:lnTo>
                    <a:pt x="19" y="425"/>
                  </a:lnTo>
                  <a:lnTo>
                    <a:pt x="19" y="420"/>
                  </a:lnTo>
                  <a:lnTo>
                    <a:pt x="19" y="416"/>
                  </a:lnTo>
                  <a:lnTo>
                    <a:pt x="19" y="411"/>
                  </a:lnTo>
                  <a:lnTo>
                    <a:pt x="19" y="407"/>
                  </a:lnTo>
                  <a:lnTo>
                    <a:pt x="23" y="407"/>
                  </a:lnTo>
                  <a:lnTo>
                    <a:pt x="23" y="398"/>
                  </a:lnTo>
                  <a:lnTo>
                    <a:pt x="23" y="393"/>
                  </a:lnTo>
                  <a:lnTo>
                    <a:pt x="28" y="388"/>
                  </a:lnTo>
                  <a:lnTo>
                    <a:pt x="37" y="384"/>
                  </a:lnTo>
                  <a:lnTo>
                    <a:pt x="41" y="379"/>
                  </a:lnTo>
                  <a:lnTo>
                    <a:pt x="46" y="379"/>
                  </a:lnTo>
                  <a:lnTo>
                    <a:pt x="46" y="379"/>
                  </a:lnTo>
                  <a:lnTo>
                    <a:pt x="51" y="375"/>
                  </a:lnTo>
                  <a:lnTo>
                    <a:pt x="55" y="375"/>
                  </a:lnTo>
                  <a:lnTo>
                    <a:pt x="60" y="375"/>
                  </a:lnTo>
                  <a:lnTo>
                    <a:pt x="64" y="370"/>
                  </a:lnTo>
                  <a:lnTo>
                    <a:pt x="69" y="370"/>
                  </a:lnTo>
                  <a:lnTo>
                    <a:pt x="69" y="370"/>
                  </a:lnTo>
                  <a:lnTo>
                    <a:pt x="73" y="366"/>
                  </a:lnTo>
                  <a:lnTo>
                    <a:pt x="78" y="366"/>
                  </a:lnTo>
                  <a:lnTo>
                    <a:pt x="83" y="366"/>
                  </a:lnTo>
                  <a:lnTo>
                    <a:pt x="87" y="366"/>
                  </a:lnTo>
                  <a:lnTo>
                    <a:pt x="87" y="361"/>
                  </a:lnTo>
                  <a:lnTo>
                    <a:pt x="87" y="356"/>
                  </a:lnTo>
                  <a:lnTo>
                    <a:pt x="92" y="356"/>
                  </a:lnTo>
                  <a:lnTo>
                    <a:pt x="92" y="352"/>
                  </a:lnTo>
                  <a:lnTo>
                    <a:pt x="92" y="347"/>
                  </a:lnTo>
                  <a:lnTo>
                    <a:pt x="96" y="343"/>
                  </a:lnTo>
                  <a:lnTo>
                    <a:pt x="96" y="343"/>
                  </a:lnTo>
                  <a:lnTo>
                    <a:pt x="96" y="338"/>
                  </a:lnTo>
                  <a:lnTo>
                    <a:pt x="96" y="334"/>
                  </a:lnTo>
                  <a:lnTo>
                    <a:pt x="101" y="334"/>
                  </a:lnTo>
                  <a:lnTo>
                    <a:pt x="101" y="329"/>
                  </a:lnTo>
                  <a:lnTo>
                    <a:pt x="101" y="324"/>
                  </a:lnTo>
                  <a:lnTo>
                    <a:pt x="105" y="324"/>
                  </a:lnTo>
                  <a:lnTo>
                    <a:pt x="110" y="315"/>
                  </a:lnTo>
                  <a:lnTo>
                    <a:pt x="110" y="311"/>
                  </a:lnTo>
                  <a:lnTo>
                    <a:pt x="110" y="306"/>
                  </a:lnTo>
                  <a:lnTo>
                    <a:pt x="110" y="306"/>
                  </a:lnTo>
                  <a:lnTo>
                    <a:pt x="110" y="302"/>
                  </a:lnTo>
                  <a:lnTo>
                    <a:pt x="115" y="297"/>
                  </a:lnTo>
                  <a:lnTo>
                    <a:pt x="115" y="297"/>
                  </a:lnTo>
                  <a:lnTo>
                    <a:pt x="110" y="292"/>
                  </a:lnTo>
                  <a:lnTo>
                    <a:pt x="110" y="288"/>
                  </a:lnTo>
                  <a:lnTo>
                    <a:pt x="110" y="288"/>
                  </a:lnTo>
                  <a:lnTo>
                    <a:pt x="105" y="283"/>
                  </a:lnTo>
                  <a:lnTo>
                    <a:pt x="101" y="283"/>
                  </a:lnTo>
                  <a:lnTo>
                    <a:pt x="96" y="279"/>
                  </a:lnTo>
                  <a:lnTo>
                    <a:pt x="87" y="274"/>
                  </a:lnTo>
                  <a:lnTo>
                    <a:pt x="87" y="270"/>
                  </a:lnTo>
                  <a:lnTo>
                    <a:pt x="83" y="265"/>
                  </a:lnTo>
                  <a:lnTo>
                    <a:pt x="83" y="260"/>
                  </a:lnTo>
                  <a:lnTo>
                    <a:pt x="83" y="256"/>
                  </a:lnTo>
                  <a:lnTo>
                    <a:pt x="78" y="251"/>
                  </a:lnTo>
                  <a:lnTo>
                    <a:pt x="78" y="233"/>
                  </a:lnTo>
                  <a:lnTo>
                    <a:pt x="73" y="219"/>
                  </a:lnTo>
                  <a:lnTo>
                    <a:pt x="73" y="201"/>
                  </a:lnTo>
                  <a:lnTo>
                    <a:pt x="73" y="192"/>
                  </a:lnTo>
                  <a:lnTo>
                    <a:pt x="78" y="169"/>
                  </a:lnTo>
                  <a:lnTo>
                    <a:pt x="73" y="160"/>
                  </a:lnTo>
                  <a:lnTo>
                    <a:pt x="73" y="155"/>
                  </a:lnTo>
                  <a:lnTo>
                    <a:pt x="69" y="151"/>
                  </a:lnTo>
                  <a:lnTo>
                    <a:pt x="69" y="146"/>
                  </a:lnTo>
                  <a:lnTo>
                    <a:pt x="69" y="146"/>
                  </a:lnTo>
                  <a:lnTo>
                    <a:pt x="69" y="142"/>
                  </a:lnTo>
                  <a:lnTo>
                    <a:pt x="69" y="137"/>
                  </a:lnTo>
                  <a:lnTo>
                    <a:pt x="64" y="132"/>
                  </a:lnTo>
                  <a:lnTo>
                    <a:pt x="60" y="128"/>
                  </a:lnTo>
                  <a:lnTo>
                    <a:pt x="55" y="123"/>
                  </a:lnTo>
                  <a:lnTo>
                    <a:pt x="55" y="123"/>
                  </a:lnTo>
                  <a:lnTo>
                    <a:pt x="51" y="114"/>
                  </a:lnTo>
                  <a:lnTo>
                    <a:pt x="46" y="110"/>
                  </a:lnTo>
                  <a:lnTo>
                    <a:pt x="46" y="105"/>
                  </a:lnTo>
                  <a:lnTo>
                    <a:pt x="46" y="105"/>
                  </a:lnTo>
                  <a:lnTo>
                    <a:pt x="41" y="100"/>
                  </a:lnTo>
                  <a:lnTo>
                    <a:pt x="41" y="96"/>
                  </a:lnTo>
                  <a:lnTo>
                    <a:pt x="41" y="91"/>
                  </a:lnTo>
                  <a:lnTo>
                    <a:pt x="41" y="87"/>
                  </a:lnTo>
                  <a:lnTo>
                    <a:pt x="37" y="82"/>
                  </a:lnTo>
                  <a:lnTo>
                    <a:pt x="37" y="73"/>
                  </a:lnTo>
                  <a:lnTo>
                    <a:pt x="37" y="64"/>
                  </a:lnTo>
                  <a:lnTo>
                    <a:pt x="37" y="55"/>
                  </a:lnTo>
                  <a:lnTo>
                    <a:pt x="37" y="41"/>
                  </a:lnTo>
                  <a:lnTo>
                    <a:pt x="41" y="41"/>
                  </a:lnTo>
                  <a:lnTo>
                    <a:pt x="46" y="46"/>
                  </a:lnTo>
                  <a:lnTo>
                    <a:pt x="51" y="46"/>
                  </a:lnTo>
                  <a:lnTo>
                    <a:pt x="55" y="46"/>
                  </a:lnTo>
                  <a:lnTo>
                    <a:pt x="60" y="50"/>
                  </a:lnTo>
                  <a:lnTo>
                    <a:pt x="69" y="50"/>
                  </a:lnTo>
                  <a:lnTo>
                    <a:pt x="73" y="55"/>
                  </a:lnTo>
                  <a:lnTo>
                    <a:pt x="78" y="55"/>
                  </a:lnTo>
                  <a:lnTo>
                    <a:pt x="87" y="59"/>
                  </a:lnTo>
                  <a:lnTo>
                    <a:pt x="92" y="59"/>
                  </a:lnTo>
                  <a:lnTo>
                    <a:pt x="96" y="59"/>
                  </a:lnTo>
                  <a:lnTo>
                    <a:pt x="110" y="59"/>
                  </a:lnTo>
                  <a:lnTo>
                    <a:pt x="110" y="64"/>
                  </a:lnTo>
                  <a:lnTo>
                    <a:pt x="119" y="64"/>
                  </a:lnTo>
                  <a:lnTo>
                    <a:pt x="137" y="68"/>
                  </a:lnTo>
                  <a:lnTo>
                    <a:pt x="151" y="68"/>
                  </a:lnTo>
                  <a:lnTo>
                    <a:pt x="156" y="68"/>
                  </a:lnTo>
                  <a:lnTo>
                    <a:pt x="165" y="73"/>
                  </a:lnTo>
                  <a:lnTo>
                    <a:pt x="169" y="78"/>
                  </a:lnTo>
                  <a:lnTo>
                    <a:pt x="179" y="78"/>
                  </a:lnTo>
                  <a:lnTo>
                    <a:pt x="183" y="82"/>
                  </a:lnTo>
                  <a:lnTo>
                    <a:pt x="188" y="82"/>
                  </a:lnTo>
                  <a:lnTo>
                    <a:pt x="192" y="82"/>
                  </a:lnTo>
                  <a:lnTo>
                    <a:pt x="197" y="82"/>
                  </a:lnTo>
                  <a:lnTo>
                    <a:pt x="197" y="82"/>
                  </a:lnTo>
                  <a:lnTo>
                    <a:pt x="201" y="82"/>
                  </a:lnTo>
                  <a:lnTo>
                    <a:pt x="206" y="87"/>
                  </a:lnTo>
                  <a:lnTo>
                    <a:pt x="211" y="87"/>
                  </a:lnTo>
                  <a:lnTo>
                    <a:pt x="215" y="87"/>
                  </a:lnTo>
                  <a:lnTo>
                    <a:pt x="215" y="91"/>
                  </a:lnTo>
                  <a:lnTo>
                    <a:pt x="220" y="91"/>
                  </a:lnTo>
                  <a:lnTo>
                    <a:pt x="220" y="91"/>
                  </a:lnTo>
                  <a:lnTo>
                    <a:pt x="233" y="100"/>
                  </a:lnTo>
                  <a:lnTo>
                    <a:pt x="243" y="100"/>
                  </a:lnTo>
                  <a:lnTo>
                    <a:pt x="243" y="105"/>
                  </a:lnTo>
                  <a:lnTo>
                    <a:pt x="252" y="105"/>
                  </a:lnTo>
                  <a:lnTo>
                    <a:pt x="256" y="105"/>
                  </a:lnTo>
                  <a:lnTo>
                    <a:pt x="265" y="110"/>
                  </a:lnTo>
                  <a:lnTo>
                    <a:pt x="270" y="110"/>
                  </a:lnTo>
                  <a:lnTo>
                    <a:pt x="275" y="114"/>
                  </a:lnTo>
                  <a:lnTo>
                    <a:pt x="279" y="114"/>
                  </a:lnTo>
                  <a:lnTo>
                    <a:pt x="284" y="114"/>
                  </a:lnTo>
                  <a:lnTo>
                    <a:pt x="288" y="119"/>
                  </a:lnTo>
                  <a:lnTo>
                    <a:pt x="288" y="123"/>
                  </a:lnTo>
                  <a:lnTo>
                    <a:pt x="293" y="123"/>
                  </a:lnTo>
                  <a:lnTo>
                    <a:pt x="297" y="123"/>
                  </a:lnTo>
                  <a:lnTo>
                    <a:pt x="302" y="123"/>
                  </a:lnTo>
                  <a:lnTo>
                    <a:pt x="307" y="128"/>
                  </a:lnTo>
                  <a:lnTo>
                    <a:pt x="307" y="128"/>
                  </a:lnTo>
                  <a:lnTo>
                    <a:pt x="307" y="132"/>
                  </a:lnTo>
                  <a:lnTo>
                    <a:pt x="311" y="132"/>
                  </a:lnTo>
                  <a:lnTo>
                    <a:pt x="316" y="132"/>
                  </a:lnTo>
                  <a:lnTo>
                    <a:pt x="329" y="142"/>
                  </a:lnTo>
                  <a:lnTo>
                    <a:pt x="329" y="146"/>
                  </a:lnTo>
                  <a:lnTo>
                    <a:pt x="329" y="146"/>
                  </a:lnTo>
                  <a:lnTo>
                    <a:pt x="334" y="146"/>
                  </a:lnTo>
                  <a:lnTo>
                    <a:pt x="339" y="146"/>
                  </a:lnTo>
                  <a:lnTo>
                    <a:pt x="343" y="146"/>
                  </a:lnTo>
                  <a:lnTo>
                    <a:pt x="348" y="146"/>
                  </a:lnTo>
                  <a:lnTo>
                    <a:pt x="348" y="146"/>
                  </a:lnTo>
                  <a:lnTo>
                    <a:pt x="352" y="142"/>
                  </a:lnTo>
                  <a:lnTo>
                    <a:pt x="352" y="137"/>
                  </a:lnTo>
                  <a:lnTo>
                    <a:pt x="348" y="132"/>
                  </a:lnTo>
                  <a:lnTo>
                    <a:pt x="348" y="128"/>
                  </a:lnTo>
                  <a:lnTo>
                    <a:pt x="343" y="123"/>
                  </a:lnTo>
                  <a:lnTo>
                    <a:pt x="343" y="123"/>
                  </a:lnTo>
                  <a:lnTo>
                    <a:pt x="339" y="114"/>
                  </a:lnTo>
                  <a:lnTo>
                    <a:pt x="339" y="110"/>
                  </a:lnTo>
                  <a:lnTo>
                    <a:pt x="334" y="105"/>
                  </a:lnTo>
                  <a:lnTo>
                    <a:pt x="334" y="100"/>
                  </a:lnTo>
                  <a:lnTo>
                    <a:pt x="329" y="100"/>
                  </a:lnTo>
                  <a:lnTo>
                    <a:pt x="329" y="91"/>
                  </a:lnTo>
                  <a:lnTo>
                    <a:pt x="329" y="87"/>
                  </a:lnTo>
                  <a:lnTo>
                    <a:pt x="329" y="82"/>
                  </a:lnTo>
                  <a:lnTo>
                    <a:pt x="325" y="82"/>
                  </a:lnTo>
                  <a:lnTo>
                    <a:pt x="325" y="82"/>
                  </a:lnTo>
                  <a:lnTo>
                    <a:pt x="325" y="78"/>
                  </a:lnTo>
                  <a:lnTo>
                    <a:pt x="320" y="73"/>
                  </a:lnTo>
                  <a:lnTo>
                    <a:pt x="320" y="68"/>
                  </a:lnTo>
                  <a:lnTo>
                    <a:pt x="320" y="59"/>
                  </a:lnTo>
                  <a:lnTo>
                    <a:pt x="320" y="59"/>
                  </a:lnTo>
                  <a:lnTo>
                    <a:pt x="325" y="59"/>
                  </a:lnTo>
                  <a:lnTo>
                    <a:pt x="325" y="55"/>
                  </a:lnTo>
                  <a:lnTo>
                    <a:pt x="325" y="50"/>
                  </a:lnTo>
                  <a:lnTo>
                    <a:pt x="329" y="46"/>
                  </a:lnTo>
                  <a:lnTo>
                    <a:pt x="329" y="41"/>
                  </a:lnTo>
                  <a:lnTo>
                    <a:pt x="329" y="36"/>
                  </a:lnTo>
                  <a:lnTo>
                    <a:pt x="329" y="36"/>
                  </a:lnTo>
                  <a:lnTo>
                    <a:pt x="334" y="36"/>
                  </a:lnTo>
                  <a:lnTo>
                    <a:pt x="357" y="14"/>
                  </a:lnTo>
                  <a:lnTo>
                    <a:pt x="366" y="14"/>
                  </a:lnTo>
                  <a:lnTo>
                    <a:pt x="371" y="14"/>
                  </a:lnTo>
                  <a:lnTo>
                    <a:pt x="375" y="9"/>
                  </a:lnTo>
                  <a:lnTo>
                    <a:pt x="380" y="4"/>
                  </a:lnTo>
                  <a:lnTo>
                    <a:pt x="384" y="4"/>
                  </a:lnTo>
                  <a:lnTo>
                    <a:pt x="398" y="0"/>
                  </a:lnTo>
                  <a:lnTo>
                    <a:pt x="398" y="0"/>
                  </a:lnTo>
                  <a:lnTo>
                    <a:pt x="403" y="0"/>
                  </a:lnTo>
                  <a:lnTo>
                    <a:pt x="407" y="4"/>
                  </a:lnTo>
                  <a:lnTo>
                    <a:pt x="412" y="4"/>
                  </a:lnTo>
                  <a:lnTo>
                    <a:pt x="416" y="9"/>
                  </a:lnTo>
                  <a:lnTo>
                    <a:pt x="416" y="9"/>
                  </a:lnTo>
                  <a:lnTo>
                    <a:pt x="421" y="14"/>
                  </a:lnTo>
                  <a:lnTo>
                    <a:pt x="430" y="14"/>
                  </a:lnTo>
                  <a:lnTo>
                    <a:pt x="430" y="14"/>
                  </a:lnTo>
                  <a:lnTo>
                    <a:pt x="435" y="14"/>
                  </a:lnTo>
                  <a:lnTo>
                    <a:pt x="439" y="14"/>
                  </a:lnTo>
                  <a:lnTo>
                    <a:pt x="453" y="23"/>
                  </a:lnTo>
                  <a:lnTo>
                    <a:pt x="457" y="23"/>
                  </a:lnTo>
                  <a:lnTo>
                    <a:pt x="462" y="23"/>
                  </a:lnTo>
                  <a:lnTo>
                    <a:pt x="462" y="23"/>
                  </a:lnTo>
                  <a:lnTo>
                    <a:pt x="476" y="27"/>
                  </a:lnTo>
                  <a:lnTo>
                    <a:pt x="480" y="32"/>
                  </a:lnTo>
                  <a:lnTo>
                    <a:pt x="489" y="32"/>
                  </a:lnTo>
                  <a:lnTo>
                    <a:pt x="489" y="36"/>
                  </a:lnTo>
                  <a:lnTo>
                    <a:pt x="499" y="36"/>
                  </a:lnTo>
                  <a:lnTo>
                    <a:pt x="503" y="36"/>
                  </a:lnTo>
                  <a:lnTo>
                    <a:pt x="512" y="36"/>
                  </a:lnTo>
                  <a:lnTo>
                    <a:pt x="526" y="36"/>
                  </a:lnTo>
                  <a:lnTo>
                    <a:pt x="531" y="36"/>
                  </a:lnTo>
                  <a:lnTo>
                    <a:pt x="540" y="41"/>
                  </a:lnTo>
                  <a:lnTo>
                    <a:pt x="544" y="41"/>
                  </a:lnTo>
                  <a:lnTo>
                    <a:pt x="549" y="41"/>
                  </a:lnTo>
                  <a:lnTo>
                    <a:pt x="549" y="41"/>
                  </a:lnTo>
                  <a:lnTo>
                    <a:pt x="558" y="41"/>
                  </a:lnTo>
                  <a:lnTo>
                    <a:pt x="563" y="36"/>
                  </a:lnTo>
                  <a:lnTo>
                    <a:pt x="567" y="36"/>
                  </a:lnTo>
                  <a:lnTo>
                    <a:pt x="572" y="36"/>
                  </a:lnTo>
                  <a:lnTo>
                    <a:pt x="576" y="36"/>
                  </a:lnTo>
                  <a:lnTo>
                    <a:pt x="581" y="36"/>
                  </a:lnTo>
                  <a:lnTo>
                    <a:pt x="585" y="41"/>
                  </a:lnTo>
                  <a:lnTo>
                    <a:pt x="595" y="46"/>
                  </a:lnTo>
                  <a:lnTo>
                    <a:pt x="595" y="50"/>
                  </a:lnTo>
                  <a:lnTo>
                    <a:pt x="599" y="50"/>
                  </a:lnTo>
                  <a:lnTo>
                    <a:pt x="599" y="55"/>
                  </a:lnTo>
                  <a:lnTo>
                    <a:pt x="604" y="55"/>
                  </a:lnTo>
                  <a:lnTo>
                    <a:pt x="604" y="59"/>
                  </a:lnTo>
                  <a:lnTo>
                    <a:pt x="608" y="64"/>
                  </a:lnTo>
                  <a:lnTo>
                    <a:pt x="613" y="64"/>
                  </a:lnTo>
                  <a:lnTo>
                    <a:pt x="613" y="73"/>
                  </a:lnTo>
                  <a:lnTo>
                    <a:pt x="617" y="82"/>
                  </a:lnTo>
                  <a:lnTo>
                    <a:pt x="617" y="82"/>
                  </a:lnTo>
                  <a:lnTo>
                    <a:pt x="617" y="87"/>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6" name="Freeform 13">
              <a:extLst>
                <a:ext uri="{FF2B5EF4-FFF2-40B4-BE49-F238E27FC236}">
                  <a16:creationId xmlns:a16="http://schemas.microsoft.com/office/drawing/2014/main" id="{5E4DF66E-4A09-4067-BA54-18E8D6912A58}"/>
                </a:ext>
              </a:extLst>
            </p:cNvPr>
            <p:cNvSpPr>
              <a:spLocks/>
            </p:cNvSpPr>
            <p:nvPr>
              <p:custDataLst>
                <p:tags r:id="rId8"/>
              </p:custDataLst>
            </p:nvPr>
          </p:nvSpPr>
          <p:spPr bwMode="auto">
            <a:xfrm>
              <a:off x="3068296" y="875644"/>
              <a:ext cx="1033687" cy="1433207"/>
            </a:xfrm>
            <a:custGeom>
              <a:avLst/>
              <a:gdLst/>
              <a:ahLst/>
              <a:cxnLst>
                <a:cxn ang="0">
                  <a:pos x="266" y="508"/>
                </a:cxn>
                <a:cxn ang="0">
                  <a:pos x="302" y="457"/>
                </a:cxn>
                <a:cxn ang="0">
                  <a:pos x="343" y="398"/>
                </a:cxn>
                <a:cxn ang="0">
                  <a:pos x="311" y="343"/>
                </a:cxn>
                <a:cxn ang="0">
                  <a:pos x="316" y="243"/>
                </a:cxn>
                <a:cxn ang="0">
                  <a:pos x="362" y="238"/>
                </a:cxn>
                <a:cxn ang="0">
                  <a:pos x="375" y="215"/>
                </a:cxn>
                <a:cxn ang="0">
                  <a:pos x="375" y="188"/>
                </a:cxn>
                <a:cxn ang="0">
                  <a:pos x="403" y="165"/>
                </a:cxn>
                <a:cxn ang="0">
                  <a:pos x="435" y="156"/>
                </a:cxn>
                <a:cxn ang="0">
                  <a:pos x="458" y="137"/>
                </a:cxn>
                <a:cxn ang="0">
                  <a:pos x="485" y="119"/>
                </a:cxn>
                <a:cxn ang="0">
                  <a:pos x="499" y="105"/>
                </a:cxn>
                <a:cxn ang="0">
                  <a:pos x="503" y="87"/>
                </a:cxn>
                <a:cxn ang="0">
                  <a:pos x="554" y="73"/>
                </a:cxn>
                <a:cxn ang="0">
                  <a:pos x="576" y="69"/>
                </a:cxn>
                <a:cxn ang="0">
                  <a:pos x="599" y="64"/>
                </a:cxn>
                <a:cxn ang="0">
                  <a:pos x="622" y="69"/>
                </a:cxn>
                <a:cxn ang="0">
                  <a:pos x="640" y="55"/>
                </a:cxn>
                <a:cxn ang="0">
                  <a:pos x="650" y="32"/>
                </a:cxn>
                <a:cxn ang="0">
                  <a:pos x="677" y="9"/>
                </a:cxn>
                <a:cxn ang="0">
                  <a:pos x="759" y="0"/>
                </a:cxn>
                <a:cxn ang="0">
                  <a:pos x="823" y="46"/>
                </a:cxn>
                <a:cxn ang="0">
                  <a:pos x="901" y="160"/>
                </a:cxn>
                <a:cxn ang="0">
                  <a:pos x="960" y="243"/>
                </a:cxn>
                <a:cxn ang="0">
                  <a:pos x="988" y="375"/>
                </a:cxn>
                <a:cxn ang="0">
                  <a:pos x="997" y="471"/>
                </a:cxn>
                <a:cxn ang="0">
                  <a:pos x="997" y="494"/>
                </a:cxn>
                <a:cxn ang="0">
                  <a:pos x="1038" y="508"/>
                </a:cxn>
                <a:cxn ang="0">
                  <a:pos x="1093" y="512"/>
                </a:cxn>
                <a:cxn ang="0">
                  <a:pos x="1130" y="531"/>
                </a:cxn>
                <a:cxn ang="0">
                  <a:pos x="1143" y="558"/>
                </a:cxn>
                <a:cxn ang="0">
                  <a:pos x="1166" y="581"/>
                </a:cxn>
                <a:cxn ang="0">
                  <a:pos x="1171" y="613"/>
                </a:cxn>
                <a:cxn ang="0">
                  <a:pos x="1180" y="663"/>
                </a:cxn>
                <a:cxn ang="0">
                  <a:pos x="1157" y="709"/>
                </a:cxn>
                <a:cxn ang="0">
                  <a:pos x="1152" y="768"/>
                </a:cxn>
                <a:cxn ang="0">
                  <a:pos x="1152" y="837"/>
                </a:cxn>
                <a:cxn ang="0">
                  <a:pos x="1052" y="883"/>
                </a:cxn>
                <a:cxn ang="0">
                  <a:pos x="960" y="924"/>
                </a:cxn>
                <a:cxn ang="0">
                  <a:pos x="901" y="956"/>
                </a:cxn>
                <a:cxn ang="0">
                  <a:pos x="869" y="992"/>
                </a:cxn>
                <a:cxn ang="0">
                  <a:pos x="828" y="1033"/>
                </a:cxn>
                <a:cxn ang="0">
                  <a:pos x="714" y="1075"/>
                </a:cxn>
                <a:cxn ang="0">
                  <a:pos x="650" y="1180"/>
                </a:cxn>
                <a:cxn ang="0">
                  <a:pos x="572" y="1230"/>
                </a:cxn>
                <a:cxn ang="0">
                  <a:pos x="485" y="1198"/>
                </a:cxn>
                <a:cxn ang="0">
                  <a:pos x="384" y="1280"/>
                </a:cxn>
                <a:cxn ang="0">
                  <a:pos x="266" y="1312"/>
                </a:cxn>
                <a:cxn ang="0">
                  <a:pos x="197" y="1404"/>
                </a:cxn>
                <a:cxn ang="0">
                  <a:pos x="92" y="1376"/>
                </a:cxn>
                <a:cxn ang="0">
                  <a:pos x="23" y="1321"/>
                </a:cxn>
                <a:cxn ang="0">
                  <a:pos x="23" y="1267"/>
                </a:cxn>
                <a:cxn ang="0">
                  <a:pos x="46" y="1221"/>
                </a:cxn>
                <a:cxn ang="0">
                  <a:pos x="46" y="1175"/>
                </a:cxn>
                <a:cxn ang="0">
                  <a:pos x="69" y="1075"/>
                </a:cxn>
                <a:cxn ang="0">
                  <a:pos x="151" y="1047"/>
                </a:cxn>
                <a:cxn ang="0">
                  <a:pos x="215" y="988"/>
                </a:cxn>
                <a:cxn ang="0">
                  <a:pos x="243" y="901"/>
                </a:cxn>
                <a:cxn ang="0">
                  <a:pos x="288" y="832"/>
                </a:cxn>
                <a:cxn ang="0">
                  <a:pos x="234" y="764"/>
                </a:cxn>
              </a:cxnLst>
              <a:rect l="0" t="0" r="r" b="b"/>
              <a:pathLst>
                <a:path w="1184" h="1417">
                  <a:moveTo>
                    <a:pt x="256" y="700"/>
                  </a:moveTo>
                  <a:lnTo>
                    <a:pt x="256" y="695"/>
                  </a:lnTo>
                  <a:lnTo>
                    <a:pt x="256" y="677"/>
                  </a:lnTo>
                  <a:lnTo>
                    <a:pt x="256" y="668"/>
                  </a:lnTo>
                  <a:lnTo>
                    <a:pt x="256" y="654"/>
                  </a:lnTo>
                  <a:lnTo>
                    <a:pt x="256" y="640"/>
                  </a:lnTo>
                  <a:lnTo>
                    <a:pt x="261" y="627"/>
                  </a:lnTo>
                  <a:lnTo>
                    <a:pt x="266" y="608"/>
                  </a:lnTo>
                  <a:lnTo>
                    <a:pt x="266" y="608"/>
                  </a:lnTo>
                  <a:lnTo>
                    <a:pt x="270" y="599"/>
                  </a:lnTo>
                  <a:lnTo>
                    <a:pt x="270" y="590"/>
                  </a:lnTo>
                  <a:lnTo>
                    <a:pt x="275" y="567"/>
                  </a:lnTo>
                  <a:lnTo>
                    <a:pt x="275" y="553"/>
                  </a:lnTo>
                  <a:lnTo>
                    <a:pt x="275" y="549"/>
                  </a:lnTo>
                  <a:lnTo>
                    <a:pt x="275" y="544"/>
                  </a:lnTo>
                  <a:lnTo>
                    <a:pt x="275" y="535"/>
                  </a:lnTo>
                  <a:lnTo>
                    <a:pt x="270" y="521"/>
                  </a:lnTo>
                  <a:lnTo>
                    <a:pt x="266" y="517"/>
                  </a:lnTo>
                  <a:lnTo>
                    <a:pt x="266" y="512"/>
                  </a:lnTo>
                  <a:lnTo>
                    <a:pt x="266" y="508"/>
                  </a:lnTo>
                  <a:lnTo>
                    <a:pt x="266" y="503"/>
                  </a:lnTo>
                  <a:lnTo>
                    <a:pt x="266" y="499"/>
                  </a:lnTo>
                  <a:lnTo>
                    <a:pt x="261" y="499"/>
                  </a:lnTo>
                  <a:lnTo>
                    <a:pt x="261" y="499"/>
                  </a:lnTo>
                  <a:lnTo>
                    <a:pt x="261" y="494"/>
                  </a:lnTo>
                  <a:lnTo>
                    <a:pt x="261" y="485"/>
                  </a:lnTo>
                  <a:lnTo>
                    <a:pt x="266" y="485"/>
                  </a:lnTo>
                  <a:lnTo>
                    <a:pt x="266" y="480"/>
                  </a:lnTo>
                  <a:lnTo>
                    <a:pt x="266" y="480"/>
                  </a:lnTo>
                  <a:lnTo>
                    <a:pt x="270" y="480"/>
                  </a:lnTo>
                  <a:lnTo>
                    <a:pt x="275" y="476"/>
                  </a:lnTo>
                  <a:lnTo>
                    <a:pt x="279" y="476"/>
                  </a:lnTo>
                  <a:lnTo>
                    <a:pt x="284" y="471"/>
                  </a:lnTo>
                  <a:lnTo>
                    <a:pt x="288" y="471"/>
                  </a:lnTo>
                  <a:lnTo>
                    <a:pt x="288" y="467"/>
                  </a:lnTo>
                  <a:lnTo>
                    <a:pt x="288" y="467"/>
                  </a:lnTo>
                  <a:lnTo>
                    <a:pt x="293" y="467"/>
                  </a:lnTo>
                  <a:lnTo>
                    <a:pt x="293" y="462"/>
                  </a:lnTo>
                  <a:lnTo>
                    <a:pt x="298" y="457"/>
                  </a:lnTo>
                  <a:lnTo>
                    <a:pt x="302" y="457"/>
                  </a:lnTo>
                  <a:lnTo>
                    <a:pt x="307" y="457"/>
                  </a:lnTo>
                  <a:lnTo>
                    <a:pt x="307" y="453"/>
                  </a:lnTo>
                  <a:lnTo>
                    <a:pt x="311" y="453"/>
                  </a:lnTo>
                  <a:lnTo>
                    <a:pt x="311" y="453"/>
                  </a:lnTo>
                  <a:lnTo>
                    <a:pt x="311" y="448"/>
                  </a:lnTo>
                  <a:lnTo>
                    <a:pt x="311" y="444"/>
                  </a:lnTo>
                  <a:lnTo>
                    <a:pt x="316" y="444"/>
                  </a:lnTo>
                  <a:lnTo>
                    <a:pt x="316" y="439"/>
                  </a:lnTo>
                  <a:lnTo>
                    <a:pt x="316" y="435"/>
                  </a:lnTo>
                  <a:lnTo>
                    <a:pt x="320" y="435"/>
                  </a:lnTo>
                  <a:lnTo>
                    <a:pt x="320" y="430"/>
                  </a:lnTo>
                  <a:lnTo>
                    <a:pt x="325" y="425"/>
                  </a:lnTo>
                  <a:lnTo>
                    <a:pt x="330" y="421"/>
                  </a:lnTo>
                  <a:lnTo>
                    <a:pt x="330" y="416"/>
                  </a:lnTo>
                  <a:lnTo>
                    <a:pt x="330" y="412"/>
                  </a:lnTo>
                  <a:lnTo>
                    <a:pt x="334" y="412"/>
                  </a:lnTo>
                  <a:lnTo>
                    <a:pt x="339" y="412"/>
                  </a:lnTo>
                  <a:lnTo>
                    <a:pt x="339" y="407"/>
                  </a:lnTo>
                  <a:lnTo>
                    <a:pt x="343" y="403"/>
                  </a:lnTo>
                  <a:lnTo>
                    <a:pt x="343" y="398"/>
                  </a:lnTo>
                  <a:lnTo>
                    <a:pt x="343" y="389"/>
                  </a:lnTo>
                  <a:lnTo>
                    <a:pt x="343" y="389"/>
                  </a:lnTo>
                  <a:lnTo>
                    <a:pt x="343" y="384"/>
                  </a:lnTo>
                  <a:lnTo>
                    <a:pt x="339" y="380"/>
                  </a:lnTo>
                  <a:lnTo>
                    <a:pt x="339" y="375"/>
                  </a:lnTo>
                  <a:lnTo>
                    <a:pt x="334" y="375"/>
                  </a:lnTo>
                  <a:lnTo>
                    <a:pt x="334" y="371"/>
                  </a:lnTo>
                  <a:lnTo>
                    <a:pt x="334" y="371"/>
                  </a:lnTo>
                  <a:lnTo>
                    <a:pt x="330" y="371"/>
                  </a:lnTo>
                  <a:lnTo>
                    <a:pt x="330" y="366"/>
                  </a:lnTo>
                  <a:lnTo>
                    <a:pt x="330" y="366"/>
                  </a:lnTo>
                  <a:lnTo>
                    <a:pt x="325" y="361"/>
                  </a:lnTo>
                  <a:lnTo>
                    <a:pt x="325" y="357"/>
                  </a:lnTo>
                  <a:lnTo>
                    <a:pt x="320" y="357"/>
                  </a:lnTo>
                  <a:lnTo>
                    <a:pt x="320" y="352"/>
                  </a:lnTo>
                  <a:lnTo>
                    <a:pt x="316" y="352"/>
                  </a:lnTo>
                  <a:lnTo>
                    <a:pt x="316" y="348"/>
                  </a:lnTo>
                  <a:lnTo>
                    <a:pt x="311" y="348"/>
                  </a:lnTo>
                  <a:lnTo>
                    <a:pt x="311" y="343"/>
                  </a:lnTo>
                  <a:lnTo>
                    <a:pt x="311" y="343"/>
                  </a:lnTo>
                  <a:lnTo>
                    <a:pt x="307" y="339"/>
                  </a:lnTo>
                  <a:lnTo>
                    <a:pt x="307" y="334"/>
                  </a:lnTo>
                  <a:lnTo>
                    <a:pt x="307" y="329"/>
                  </a:lnTo>
                  <a:lnTo>
                    <a:pt x="302" y="329"/>
                  </a:lnTo>
                  <a:lnTo>
                    <a:pt x="302" y="325"/>
                  </a:lnTo>
                  <a:lnTo>
                    <a:pt x="298" y="325"/>
                  </a:lnTo>
                  <a:lnTo>
                    <a:pt x="298" y="320"/>
                  </a:lnTo>
                  <a:lnTo>
                    <a:pt x="298" y="311"/>
                  </a:lnTo>
                  <a:lnTo>
                    <a:pt x="298" y="307"/>
                  </a:lnTo>
                  <a:lnTo>
                    <a:pt x="302" y="307"/>
                  </a:lnTo>
                  <a:lnTo>
                    <a:pt x="302" y="302"/>
                  </a:lnTo>
                  <a:lnTo>
                    <a:pt x="302" y="302"/>
                  </a:lnTo>
                  <a:lnTo>
                    <a:pt x="307" y="297"/>
                  </a:lnTo>
                  <a:lnTo>
                    <a:pt x="311" y="288"/>
                  </a:lnTo>
                  <a:lnTo>
                    <a:pt x="311" y="284"/>
                  </a:lnTo>
                  <a:lnTo>
                    <a:pt x="311" y="279"/>
                  </a:lnTo>
                  <a:lnTo>
                    <a:pt x="311" y="270"/>
                  </a:lnTo>
                  <a:lnTo>
                    <a:pt x="311" y="261"/>
                  </a:lnTo>
                  <a:lnTo>
                    <a:pt x="316" y="243"/>
                  </a:lnTo>
                  <a:lnTo>
                    <a:pt x="316" y="243"/>
                  </a:lnTo>
                  <a:lnTo>
                    <a:pt x="325" y="243"/>
                  </a:lnTo>
                  <a:lnTo>
                    <a:pt x="325" y="243"/>
                  </a:lnTo>
                  <a:lnTo>
                    <a:pt x="325" y="243"/>
                  </a:lnTo>
                  <a:lnTo>
                    <a:pt x="325" y="243"/>
                  </a:lnTo>
                  <a:lnTo>
                    <a:pt x="325" y="238"/>
                  </a:lnTo>
                  <a:lnTo>
                    <a:pt x="330" y="238"/>
                  </a:lnTo>
                  <a:lnTo>
                    <a:pt x="330" y="243"/>
                  </a:lnTo>
                  <a:lnTo>
                    <a:pt x="339" y="243"/>
                  </a:lnTo>
                  <a:lnTo>
                    <a:pt x="339" y="243"/>
                  </a:lnTo>
                  <a:lnTo>
                    <a:pt x="343" y="243"/>
                  </a:lnTo>
                  <a:lnTo>
                    <a:pt x="348" y="243"/>
                  </a:lnTo>
                  <a:lnTo>
                    <a:pt x="352" y="247"/>
                  </a:lnTo>
                  <a:lnTo>
                    <a:pt x="352" y="247"/>
                  </a:lnTo>
                  <a:lnTo>
                    <a:pt x="352" y="247"/>
                  </a:lnTo>
                  <a:lnTo>
                    <a:pt x="357" y="243"/>
                  </a:lnTo>
                  <a:lnTo>
                    <a:pt x="352" y="238"/>
                  </a:lnTo>
                  <a:lnTo>
                    <a:pt x="352" y="238"/>
                  </a:lnTo>
                  <a:lnTo>
                    <a:pt x="357" y="238"/>
                  </a:lnTo>
                  <a:lnTo>
                    <a:pt x="357" y="238"/>
                  </a:lnTo>
                  <a:lnTo>
                    <a:pt x="362" y="238"/>
                  </a:lnTo>
                  <a:lnTo>
                    <a:pt x="362" y="238"/>
                  </a:lnTo>
                  <a:lnTo>
                    <a:pt x="362" y="238"/>
                  </a:lnTo>
                  <a:lnTo>
                    <a:pt x="357" y="238"/>
                  </a:lnTo>
                  <a:lnTo>
                    <a:pt x="357" y="238"/>
                  </a:lnTo>
                  <a:lnTo>
                    <a:pt x="362" y="233"/>
                  </a:lnTo>
                  <a:lnTo>
                    <a:pt x="357" y="233"/>
                  </a:lnTo>
                  <a:lnTo>
                    <a:pt x="357" y="233"/>
                  </a:lnTo>
                  <a:lnTo>
                    <a:pt x="362" y="229"/>
                  </a:lnTo>
                  <a:lnTo>
                    <a:pt x="362" y="229"/>
                  </a:lnTo>
                  <a:lnTo>
                    <a:pt x="357" y="224"/>
                  </a:lnTo>
                  <a:lnTo>
                    <a:pt x="357" y="224"/>
                  </a:lnTo>
                  <a:lnTo>
                    <a:pt x="362" y="220"/>
                  </a:lnTo>
                  <a:lnTo>
                    <a:pt x="362" y="215"/>
                  </a:lnTo>
                  <a:lnTo>
                    <a:pt x="366" y="215"/>
                  </a:lnTo>
                  <a:lnTo>
                    <a:pt x="371" y="215"/>
                  </a:lnTo>
                  <a:lnTo>
                    <a:pt x="371" y="215"/>
                  </a:lnTo>
                  <a:lnTo>
                    <a:pt x="375" y="215"/>
                  </a:lnTo>
                  <a:lnTo>
                    <a:pt x="375" y="215"/>
                  </a:lnTo>
                  <a:lnTo>
                    <a:pt x="375" y="215"/>
                  </a:lnTo>
                  <a:lnTo>
                    <a:pt x="375" y="215"/>
                  </a:lnTo>
                  <a:lnTo>
                    <a:pt x="380" y="215"/>
                  </a:lnTo>
                  <a:lnTo>
                    <a:pt x="380" y="215"/>
                  </a:lnTo>
                  <a:lnTo>
                    <a:pt x="380" y="211"/>
                  </a:lnTo>
                  <a:lnTo>
                    <a:pt x="380" y="211"/>
                  </a:lnTo>
                  <a:lnTo>
                    <a:pt x="384" y="211"/>
                  </a:lnTo>
                  <a:lnTo>
                    <a:pt x="384" y="211"/>
                  </a:lnTo>
                  <a:lnTo>
                    <a:pt x="380" y="206"/>
                  </a:lnTo>
                  <a:lnTo>
                    <a:pt x="384" y="201"/>
                  </a:lnTo>
                  <a:lnTo>
                    <a:pt x="384" y="201"/>
                  </a:lnTo>
                  <a:lnTo>
                    <a:pt x="384" y="197"/>
                  </a:lnTo>
                  <a:lnTo>
                    <a:pt x="384" y="197"/>
                  </a:lnTo>
                  <a:lnTo>
                    <a:pt x="384" y="197"/>
                  </a:lnTo>
                  <a:lnTo>
                    <a:pt x="380" y="197"/>
                  </a:lnTo>
                  <a:lnTo>
                    <a:pt x="380" y="197"/>
                  </a:lnTo>
                  <a:lnTo>
                    <a:pt x="380" y="197"/>
                  </a:lnTo>
                  <a:lnTo>
                    <a:pt x="375" y="197"/>
                  </a:lnTo>
                  <a:lnTo>
                    <a:pt x="375" y="192"/>
                  </a:lnTo>
                  <a:lnTo>
                    <a:pt x="375" y="192"/>
                  </a:lnTo>
                  <a:lnTo>
                    <a:pt x="375" y="188"/>
                  </a:lnTo>
                  <a:lnTo>
                    <a:pt x="375" y="188"/>
                  </a:lnTo>
                  <a:lnTo>
                    <a:pt x="375" y="188"/>
                  </a:lnTo>
                  <a:lnTo>
                    <a:pt x="380" y="192"/>
                  </a:lnTo>
                  <a:lnTo>
                    <a:pt x="380" y="192"/>
                  </a:lnTo>
                  <a:lnTo>
                    <a:pt x="380" y="192"/>
                  </a:lnTo>
                  <a:lnTo>
                    <a:pt x="384" y="188"/>
                  </a:lnTo>
                  <a:lnTo>
                    <a:pt x="384" y="188"/>
                  </a:lnTo>
                  <a:lnTo>
                    <a:pt x="389" y="183"/>
                  </a:lnTo>
                  <a:lnTo>
                    <a:pt x="389" y="183"/>
                  </a:lnTo>
                  <a:lnTo>
                    <a:pt x="389" y="179"/>
                  </a:lnTo>
                  <a:lnTo>
                    <a:pt x="389" y="179"/>
                  </a:lnTo>
                  <a:lnTo>
                    <a:pt x="389" y="174"/>
                  </a:lnTo>
                  <a:lnTo>
                    <a:pt x="389" y="174"/>
                  </a:lnTo>
                  <a:lnTo>
                    <a:pt x="394" y="169"/>
                  </a:lnTo>
                  <a:lnTo>
                    <a:pt x="394" y="169"/>
                  </a:lnTo>
                  <a:lnTo>
                    <a:pt x="398" y="169"/>
                  </a:lnTo>
                  <a:lnTo>
                    <a:pt x="398" y="169"/>
                  </a:lnTo>
                  <a:lnTo>
                    <a:pt x="394" y="165"/>
                  </a:lnTo>
                  <a:lnTo>
                    <a:pt x="394" y="165"/>
                  </a:lnTo>
                  <a:lnTo>
                    <a:pt x="398" y="165"/>
                  </a:lnTo>
                  <a:lnTo>
                    <a:pt x="403" y="165"/>
                  </a:lnTo>
                  <a:lnTo>
                    <a:pt x="407" y="165"/>
                  </a:lnTo>
                  <a:lnTo>
                    <a:pt x="412" y="165"/>
                  </a:lnTo>
                  <a:lnTo>
                    <a:pt x="412" y="165"/>
                  </a:lnTo>
                  <a:lnTo>
                    <a:pt x="416" y="156"/>
                  </a:lnTo>
                  <a:lnTo>
                    <a:pt x="416" y="156"/>
                  </a:lnTo>
                  <a:lnTo>
                    <a:pt x="416" y="156"/>
                  </a:lnTo>
                  <a:lnTo>
                    <a:pt x="416" y="160"/>
                  </a:lnTo>
                  <a:lnTo>
                    <a:pt x="416" y="160"/>
                  </a:lnTo>
                  <a:lnTo>
                    <a:pt x="416" y="160"/>
                  </a:lnTo>
                  <a:lnTo>
                    <a:pt x="421" y="165"/>
                  </a:lnTo>
                  <a:lnTo>
                    <a:pt x="421" y="165"/>
                  </a:lnTo>
                  <a:lnTo>
                    <a:pt x="421" y="160"/>
                  </a:lnTo>
                  <a:lnTo>
                    <a:pt x="426" y="160"/>
                  </a:lnTo>
                  <a:lnTo>
                    <a:pt x="426" y="165"/>
                  </a:lnTo>
                  <a:lnTo>
                    <a:pt x="426" y="165"/>
                  </a:lnTo>
                  <a:lnTo>
                    <a:pt x="426" y="165"/>
                  </a:lnTo>
                  <a:lnTo>
                    <a:pt x="426" y="165"/>
                  </a:lnTo>
                  <a:lnTo>
                    <a:pt x="430" y="165"/>
                  </a:lnTo>
                  <a:lnTo>
                    <a:pt x="435" y="160"/>
                  </a:lnTo>
                  <a:lnTo>
                    <a:pt x="435" y="156"/>
                  </a:lnTo>
                  <a:lnTo>
                    <a:pt x="435" y="151"/>
                  </a:lnTo>
                  <a:lnTo>
                    <a:pt x="435" y="151"/>
                  </a:lnTo>
                  <a:lnTo>
                    <a:pt x="435" y="151"/>
                  </a:lnTo>
                  <a:lnTo>
                    <a:pt x="439" y="151"/>
                  </a:lnTo>
                  <a:lnTo>
                    <a:pt x="439" y="151"/>
                  </a:lnTo>
                  <a:lnTo>
                    <a:pt x="444" y="156"/>
                  </a:lnTo>
                  <a:lnTo>
                    <a:pt x="444" y="156"/>
                  </a:lnTo>
                  <a:lnTo>
                    <a:pt x="444" y="156"/>
                  </a:lnTo>
                  <a:lnTo>
                    <a:pt x="444" y="151"/>
                  </a:lnTo>
                  <a:lnTo>
                    <a:pt x="444" y="151"/>
                  </a:lnTo>
                  <a:lnTo>
                    <a:pt x="444" y="151"/>
                  </a:lnTo>
                  <a:lnTo>
                    <a:pt x="448" y="151"/>
                  </a:lnTo>
                  <a:lnTo>
                    <a:pt x="453" y="147"/>
                  </a:lnTo>
                  <a:lnTo>
                    <a:pt x="453" y="147"/>
                  </a:lnTo>
                  <a:lnTo>
                    <a:pt x="453" y="147"/>
                  </a:lnTo>
                  <a:lnTo>
                    <a:pt x="453" y="147"/>
                  </a:lnTo>
                  <a:lnTo>
                    <a:pt x="453" y="142"/>
                  </a:lnTo>
                  <a:lnTo>
                    <a:pt x="453" y="142"/>
                  </a:lnTo>
                  <a:lnTo>
                    <a:pt x="458" y="137"/>
                  </a:lnTo>
                  <a:lnTo>
                    <a:pt x="458" y="137"/>
                  </a:lnTo>
                  <a:lnTo>
                    <a:pt x="462" y="137"/>
                  </a:lnTo>
                  <a:lnTo>
                    <a:pt x="467" y="137"/>
                  </a:lnTo>
                  <a:lnTo>
                    <a:pt x="467" y="133"/>
                  </a:lnTo>
                  <a:lnTo>
                    <a:pt x="467" y="133"/>
                  </a:lnTo>
                  <a:lnTo>
                    <a:pt x="471" y="133"/>
                  </a:lnTo>
                  <a:lnTo>
                    <a:pt x="471" y="128"/>
                  </a:lnTo>
                  <a:lnTo>
                    <a:pt x="476" y="128"/>
                  </a:lnTo>
                  <a:lnTo>
                    <a:pt x="471" y="128"/>
                  </a:lnTo>
                  <a:lnTo>
                    <a:pt x="476" y="128"/>
                  </a:lnTo>
                  <a:lnTo>
                    <a:pt x="476" y="124"/>
                  </a:lnTo>
                  <a:lnTo>
                    <a:pt x="476" y="124"/>
                  </a:lnTo>
                  <a:lnTo>
                    <a:pt x="476" y="124"/>
                  </a:lnTo>
                  <a:lnTo>
                    <a:pt x="485" y="119"/>
                  </a:lnTo>
                  <a:lnTo>
                    <a:pt x="485" y="119"/>
                  </a:lnTo>
                  <a:lnTo>
                    <a:pt x="485" y="119"/>
                  </a:lnTo>
                  <a:lnTo>
                    <a:pt x="485" y="115"/>
                  </a:lnTo>
                  <a:lnTo>
                    <a:pt x="485" y="115"/>
                  </a:lnTo>
                  <a:lnTo>
                    <a:pt x="485" y="119"/>
                  </a:lnTo>
                  <a:lnTo>
                    <a:pt x="485" y="119"/>
                  </a:lnTo>
                  <a:lnTo>
                    <a:pt x="485" y="119"/>
                  </a:lnTo>
                  <a:lnTo>
                    <a:pt x="490" y="119"/>
                  </a:lnTo>
                  <a:lnTo>
                    <a:pt x="490" y="119"/>
                  </a:lnTo>
                  <a:lnTo>
                    <a:pt x="490" y="110"/>
                  </a:lnTo>
                  <a:lnTo>
                    <a:pt x="485" y="110"/>
                  </a:lnTo>
                  <a:lnTo>
                    <a:pt x="480" y="110"/>
                  </a:lnTo>
                  <a:lnTo>
                    <a:pt x="480" y="110"/>
                  </a:lnTo>
                  <a:lnTo>
                    <a:pt x="480" y="110"/>
                  </a:lnTo>
                  <a:lnTo>
                    <a:pt x="485" y="110"/>
                  </a:lnTo>
                  <a:lnTo>
                    <a:pt x="485" y="105"/>
                  </a:lnTo>
                  <a:lnTo>
                    <a:pt x="490" y="105"/>
                  </a:lnTo>
                  <a:lnTo>
                    <a:pt x="490" y="105"/>
                  </a:lnTo>
                  <a:lnTo>
                    <a:pt x="490" y="105"/>
                  </a:lnTo>
                  <a:lnTo>
                    <a:pt x="490" y="105"/>
                  </a:lnTo>
                  <a:lnTo>
                    <a:pt x="490" y="105"/>
                  </a:lnTo>
                  <a:lnTo>
                    <a:pt x="490" y="101"/>
                  </a:lnTo>
                  <a:lnTo>
                    <a:pt x="490" y="101"/>
                  </a:lnTo>
                  <a:lnTo>
                    <a:pt x="494" y="105"/>
                  </a:lnTo>
                  <a:lnTo>
                    <a:pt x="494" y="105"/>
                  </a:lnTo>
                  <a:lnTo>
                    <a:pt x="499" y="105"/>
                  </a:lnTo>
                  <a:lnTo>
                    <a:pt x="499" y="105"/>
                  </a:lnTo>
                  <a:lnTo>
                    <a:pt x="499" y="101"/>
                  </a:lnTo>
                  <a:lnTo>
                    <a:pt x="499" y="101"/>
                  </a:lnTo>
                  <a:lnTo>
                    <a:pt x="499" y="101"/>
                  </a:lnTo>
                  <a:lnTo>
                    <a:pt x="499" y="96"/>
                  </a:lnTo>
                  <a:lnTo>
                    <a:pt x="499" y="96"/>
                  </a:lnTo>
                  <a:lnTo>
                    <a:pt x="499" y="92"/>
                  </a:lnTo>
                  <a:lnTo>
                    <a:pt x="499" y="92"/>
                  </a:lnTo>
                  <a:lnTo>
                    <a:pt x="494" y="92"/>
                  </a:lnTo>
                  <a:lnTo>
                    <a:pt x="494" y="92"/>
                  </a:lnTo>
                  <a:lnTo>
                    <a:pt x="494" y="92"/>
                  </a:lnTo>
                  <a:lnTo>
                    <a:pt x="494" y="92"/>
                  </a:lnTo>
                  <a:lnTo>
                    <a:pt x="499" y="92"/>
                  </a:lnTo>
                  <a:lnTo>
                    <a:pt x="499" y="87"/>
                  </a:lnTo>
                  <a:lnTo>
                    <a:pt x="499" y="92"/>
                  </a:lnTo>
                  <a:lnTo>
                    <a:pt x="503" y="92"/>
                  </a:lnTo>
                  <a:lnTo>
                    <a:pt x="503" y="92"/>
                  </a:lnTo>
                  <a:lnTo>
                    <a:pt x="508" y="92"/>
                  </a:lnTo>
                  <a:lnTo>
                    <a:pt x="503" y="87"/>
                  </a:lnTo>
                  <a:lnTo>
                    <a:pt x="503" y="87"/>
                  </a:lnTo>
                  <a:lnTo>
                    <a:pt x="503" y="87"/>
                  </a:lnTo>
                  <a:lnTo>
                    <a:pt x="503" y="83"/>
                  </a:lnTo>
                  <a:lnTo>
                    <a:pt x="503" y="83"/>
                  </a:lnTo>
                  <a:lnTo>
                    <a:pt x="508" y="83"/>
                  </a:lnTo>
                  <a:lnTo>
                    <a:pt x="512" y="87"/>
                  </a:lnTo>
                  <a:lnTo>
                    <a:pt x="512" y="87"/>
                  </a:lnTo>
                  <a:lnTo>
                    <a:pt x="517" y="87"/>
                  </a:lnTo>
                  <a:lnTo>
                    <a:pt x="522" y="87"/>
                  </a:lnTo>
                  <a:lnTo>
                    <a:pt x="526" y="83"/>
                  </a:lnTo>
                  <a:lnTo>
                    <a:pt x="526" y="83"/>
                  </a:lnTo>
                  <a:lnTo>
                    <a:pt x="531" y="78"/>
                  </a:lnTo>
                  <a:lnTo>
                    <a:pt x="535" y="78"/>
                  </a:lnTo>
                  <a:lnTo>
                    <a:pt x="535" y="78"/>
                  </a:lnTo>
                  <a:lnTo>
                    <a:pt x="535" y="83"/>
                  </a:lnTo>
                  <a:lnTo>
                    <a:pt x="540" y="78"/>
                  </a:lnTo>
                  <a:lnTo>
                    <a:pt x="540" y="73"/>
                  </a:lnTo>
                  <a:lnTo>
                    <a:pt x="540" y="73"/>
                  </a:lnTo>
                  <a:lnTo>
                    <a:pt x="540" y="78"/>
                  </a:lnTo>
                  <a:lnTo>
                    <a:pt x="544" y="78"/>
                  </a:lnTo>
                  <a:lnTo>
                    <a:pt x="549" y="73"/>
                  </a:lnTo>
                  <a:lnTo>
                    <a:pt x="554" y="73"/>
                  </a:lnTo>
                  <a:lnTo>
                    <a:pt x="554" y="78"/>
                  </a:lnTo>
                  <a:lnTo>
                    <a:pt x="554" y="78"/>
                  </a:lnTo>
                  <a:lnTo>
                    <a:pt x="554" y="73"/>
                  </a:lnTo>
                  <a:lnTo>
                    <a:pt x="563" y="69"/>
                  </a:lnTo>
                  <a:lnTo>
                    <a:pt x="563" y="69"/>
                  </a:lnTo>
                  <a:lnTo>
                    <a:pt x="567" y="69"/>
                  </a:lnTo>
                  <a:lnTo>
                    <a:pt x="567" y="73"/>
                  </a:lnTo>
                  <a:lnTo>
                    <a:pt x="567" y="69"/>
                  </a:lnTo>
                  <a:lnTo>
                    <a:pt x="567" y="69"/>
                  </a:lnTo>
                  <a:lnTo>
                    <a:pt x="567" y="64"/>
                  </a:lnTo>
                  <a:lnTo>
                    <a:pt x="572" y="64"/>
                  </a:lnTo>
                  <a:lnTo>
                    <a:pt x="572" y="64"/>
                  </a:lnTo>
                  <a:lnTo>
                    <a:pt x="572" y="64"/>
                  </a:lnTo>
                  <a:lnTo>
                    <a:pt x="576" y="64"/>
                  </a:lnTo>
                  <a:lnTo>
                    <a:pt x="581" y="64"/>
                  </a:lnTo>
                  <a:lnTo>
                    <a:pt x="581" y="64"/>
                  </a:lnTo>
                  <a:lnTo>
                    <a:pt x="581" y="64"/>
                  </a:lnTo>
                  <a:lnTo>
                    <a:pt x="581" y="64"/>
                  </a:lnTo>
                  <a:lnTo>
                    <a:pt x="581" y="69"/>
                  </a:lnTo>
                  <a:lnTo>
                    <a:pt x="576" y="69"/>
                  </a:lnTo>
                  <a:lnTo>
                    <a:pt x="576" y="69"/>
                  </a:lnTo>
                  <a:lnTo>
                    <a:pt x="576" y="69"/>
                  </a:lnTo>
                  <a:lnTo>
                    <a:pt x="576" y="73"/>
                  </a:lnTo>
                  <a:lnTo>
                    <a:pt x="581" y="73"/>
                  </a:lnTo>
                  <a:lnTo>
                    <a:pt x="581" y="73"/>
                  </a:lnTo>
                  <a:lnTo>
                    <a:pt x="586" y="73"/>
                  </a:lnTo>
                  <a:lnTo>
                    <a:pt x="586" y="73"/>
                  </a:lnTo>
                  <a:lnTo>
                    <a:pt x="586" y="73"/>
                  </a:lnTo>
                  <a:lnTo>
                    <a:pt x="590" y="69"/>
                  </a:lnTo>
                  <a:lnTo>
                    <a:pt x="590" y="69"/>
                  </a:lnTo>
                  <a:lnTo>
                    <a:pt x="599" y="73"/>
                  </a:lnTo>
                  <a:lnTo>
                    <a:pt x="599" y="73"/>
                  </a:lnTo>
                  <a:lnTo>
                    <a:pt x="599" y="73"/>
                  </a:lnTo>
                  <a:lnTo>
                    <a:pt x="599" y="73"/>
                  </a:lnTo>
                  <a:lnTo>
                    <a:pt x="599" y="69"/>
                  </a:lnTo>
                  <a:lnTo>
                    <a:pt x="599" y="69"/>
                  </a:lnTo>
                  <a:lnTo>
                    <a:pt x="599" y="69"/>
                  </a:lnTo>
                  <a:lnTo>
                    <a:pt x="599" y="64"/>
                  </a:lnTo>
                  <a:lnTo>
                    <a:pt x="599" y="64"/>
                  </a:lnTo>
                  <a:lnTo>
                    <a:pt x="599" y="64"/>
                  </a:lnTo>
                  <a:lnTo>
                    <a:pt x="604" y="64"/>
                  </a:lnTo>
                  <a:lnTo>
                    <a:pt x="608" y="64"/>
                  </a:lnTo>
                  <a:lnTo>
                    <a:pt x="608" y="64"/>
                  </a:lnTo>
                  <a:lnTo>
                    <a:pt x="608" y="64"/>
                  </a:lnTo>
                  <a:lnTo>
                    <a:pt x="604" y="69"/>
                  </a:lnTo>
                  <a:lnTo>
                    <a:pt x="604" y="69"/>
                  </a:lnTo>
                  <a:lnTo>
                    <a:pt x="604" y="73"/>
                  </a:lnTo>
                  <a:lnTo>
                    <a:pt x="604" y="73"/>
                  </a:lnTo>
                  <a:lnTo>
                    <a:pt x="608" y="73"/>
                  </a:lnTo>
                  <a:lnTo>
                    <a:pt x="608" y="78"/>
                  </a:lnTo>
                  <a:lnTo>
                    <a:pt x="613" y="78"/>
                  </a:lnTo>
                  <a:lnTo>
                    <a:pt x="613" y="73"/>
                  </a:lnTo>
                  <a:lnTo>
                    <a:pt x="613" y="73"/>
                  </a:lnTo>
                  <a:lnTo>
                    <a:pt x="613" y="73"/>
                  </a:lnTo>
                  <a:lnTo>
                    <a:pt x="613" y="73"/>
                  </a:lnTo>
                  <a:lnTo>
                    <a:pt x="613" y="69"/>
                  </a:lnTo>
                  <a:lnTo>
                    <a:pt x="613" y="69"/>
                  </a:lnTo>
                  <a:lnTo>
                    <a:pt x="618" y="69"/>
                  </a:lnTo>
                  <a:lnTo>
                    <a:pt x="622" y="69"/>
                  </a:lnTo>
                  <a:lnTo>
                    <a:pt x="622" y="69"/>
                  </a:lnTo>
                  <a:lnTo>
                    <a:pt x="622" y="69"/>
                  </a:lnTo>
                  <a:lnTo>
                    <a:pt x="622" y="73"/>
                  </a:lnTo>
                  <a:lnTo>
                    <a:pt x="627" y="78"/>
                  </a:lnTo>
                  <a:lnTo>
                    <a:pt x="627" y="78"/>
                  </a:lnTo>
                  <a:lnTo>
                    <a:pt x="627" y="78"/>
                  </a:lnTo>
                  <a:lnTo>
                    <a:pt x="627" y="73"/>
                  </a:lnTo>
                  <a:lnTo>
                    <a:pt x="627" y="73"/>
                  </a:lnTo>
                  <a:lnTo>
                    <a:pt x="627" y="73"/>
                  </a:lnTo>
                  <a:lnTo>
                    <a:pt x="631" y="69"/>
                  </a:lnTo>
                  <a:lnTo>
                    <a:pt x="631" y="69"/>
                  </a:lnTo>
                  <a:lnTo>
                    <a:pt x="631" y="60"/>
                  </a:lnTo>
                  <a:lnTo>
                    <a:pt x="631" y="60"/>
                  </a:lnTo>
                  <a:lnTo>
                    <a:pt x="636" y="64"/>
                  </a:lnTo>
                  <a:lnTo>
                    <a:pt x="636" y="64"/>
                  </a:lnTo>
                  <a:lnTo>
                    <a:pt x="636" y="60"/>
                  </a:lnTo>
                  <a:lnTo>
                    <a:pt x="640" y="60"/>
                  </a:lnTo>
                  <a:lnTo>
                    <a:pt x="640" y="60"/>
                  </a:lnTo>
                  <a:lnTo>
                    <a:pt x="640" y="55"/>
                  </a:lnTo>
                  <a:lnTo>
                    <a:pt x="640" y="55"/>
                  </a:lnTo>
                  <a:lnTo>
                    <a:pt x="640" y="55"/>
                  </a:lnTo>
                  <a:lnTo>
                    <a:pt x="640" y="55"/>
                  </a:lnTo>
                  <a:lnTo>
                    <a:pt x="640" y="55"/>
                  </a:lnTo>
                  <a:lnTo>
                    <a:pt x="640" y="55"/>
                  </a:lnTo>
                  <a:lnTo>
                    <a:pt x="640" y="51"/>
                  </a:lnTo>
                  <a:lnTo>
                    <a:pt x="640" y="46"/>
                  </a:lnTo>
                  <a:lnTo>
                    <a:pt x="645" y="51"/>
                  </a:lnTo>
                  <a:lnTo>
                    <a:pt x="650" y="51"/>
                  </a:lnTo>
                  <a:lnTo>
                    <a:pt x="650" y="51"/>
                  </a:lnTo>
                  <a:lnTo>
                    <a:pt x="650" y="46"/>
                  </a:lnTo>
                  <a:lnTo>
                    <a:pt x="650" y="46"/>
                  </a:lnTo>
                  <a:lnTo>
                    <a:pt x="650" y="46"/>
                  </a:lnTo>
                  <a:lnTo>
                    <a:pt x="650" y="41"/>
                  </a:lnTo>
                  <a:lnTo>
                    <a:pt x="650" y="46"/>
                  </a:lnTo>
                  <a:lnTo>
                    <a:pt x="645" y="41"/>
                  </a:lnTo>
                  <a:lnTo>
                    <a:pt x="645" y="41"/>
                  </a:lnTo>
                  <a:lnTo>
                    <a:pt x="645" y="37"/>
                  </a:lnTo>
                  <a:lnTo>
                    <a:pt x="645" y="37"/>
                  </a:lnTo>
                  <a:lnTo>
                    <a:pt x="650" y="37"/>
                  </a:lnTo>
                  <a:lnTo>
                    <a:pt x="650" y="32"/>
                  </a:lnTo>
                  <a:lnTo>
                    <a:pt x="650" y="32"/>
                  </a:lnTo>
                  <a:lnTo>
                    <a:pt x="654" y="28"/>
                  </a:lnTo>
                  <a:lnTo>
                    <a:pt x="654" y="28"/>
                  </a:lnTo>
                  <a:lnTo>
                    <a:pt x="654" y="28"/>
                  </a:lnTo>
                  <a:lnTo>
                    <a:pt x="654" y="28"/>
                  </a:lnTo>
                  <a:lnTo>
                    <a:pt x="654" y="23"/>
                  </a:lnTo>
                  <a:lnTo>
                    <a:pt x="659" y="23"/>
                  </a:lnTo>
                  <a:lnTo>
                    <a:pt x="663" y="19"/>
                  </a:lnTo>
                  <a:lnTo>
                    <a:pt x="663" y="23"/>
                  </a:lnTo>
                  <a:lnTo>
                    <a:pt x="663" y="19"/>
                  </a:lnTo>
                  <a:lnTo>
                    <a:pt x="663" y="14"/>
                  </a:lnTo>
                  <a:lnTo>
                    <a:pt x="663" y="14"/>
                  </a:lnTo>
                  <a:lnTo>
                    <a:pt x="663" y="14"/>
                  </a:lnTo>
                  <a:lnTo>
                    <a:pt x="668" y="14"/>
                  </a:lnTo>
                  <a:lnTo>
                    <a:pt x="668" y="14"/>
                  </a:lnTo>
                  <a:lnTo>
                    <a:pt x="668" y="9"/>
                  </a:lnTo>
                  <a:lnTo>
                    <a:pt x="672" y="9"/>
                  </a:lnTo>
                  <a:lnTo>
                    <a:pt x="672" y="9"/>
                  </a:lnTo>
                  <a:lnTo>
                    <a:pt x="677" y="9"/>
                  </a:lnTo>
                  <a:lnTo>
                    <a:pt x="677" y="9"/>
                  </a:lnTo>
                  <a:lnTo>
                    <a:pt x="677" y="9"/>
                  </a:lnTo>
                  <a:lnTo>
                    <a:pt x="677" y="5"/>
                  </a:lnTo>
                  <a:lnTo>
                    <a:pt x="682" y="5"/>
                  </a:lnTo>
                  <a:lnTo>
                    <a:pt x="682" y="0"/>
                  </a:lnTo>
                  <a:lnTo>
                    <a:pt x="682" y="0"/>
                  </a:lnTo>
                  <a:lnTo>
                    <a:pt x="686" y="0"/>
                  </a:lnTo>
                  <a:lnTo>
                    <a:pt x="686" y="0"/>
                  </a:lnTo>
                  <a:lnTo>
                    <a:pt x="691" y="0"/>
                  </a:lnTo>
                  <a:lnTo>
                    <a:pt x="691" y="0"/>
                  </a:lnTo>
                  <a:lnTo>
                    <a:pt x="695" y="0"/>
                  </a:lnTo>
                  <a:lnTo>
                    <a:pt x="700" y="0"/>
                  </a:lnTo>
                  <a:lnTo>
                    <a:pt x="704" y="0"/>
                  </a:lnTo>
                  <a:lnTo>
                    <a:pt x="709" y="0"/>
                  </a:lnTo>
                  <a:lnTo>
                    <a:pt x="714" y="0"/>
                  </a:lnTo>
                  <a:lnTo>
                    <a:pt x="718" y="0"/>
                  </a:lnTo>
                  <a:lnTo>
                    <a:pt x="723" y="0"/>
                  </a:lnTo>
                  <a:lnTo>
                    <a:pt x="727" y="0"/>
                  </a:lnTo>
                  <a:lnTo>
                    <a:pt x="727" y="0"/>
                  </a:lnTo>
                  <a:lnTo>
                    <a:pt x="732" y="0"/>
                  </a:lnTo>
                  <a:lnTo>
                    <a:pt x="755" y="0"/>
                  </a:lnTo>
                  <a:lnTo>
                    <a:pt x="759" y="0"/>
                  </a:lnTo>
                  <a:lnTo>
                    <a:pt x="764" y="0"/>
                  </a:lnTo>
                  <a:lnTo>
                    <a:pt x="773" y="0"/>
                  </a:lnTo>
                  <a:lnTo>
                    <a:pt x="773" y="0"/>
                  </a:lnTo>
                  <a:lnTo>
                    <a:pt x="773" y="0"/>
                  </a:lnTo>
                  <a:lnTo>
                    <a:pt x="782" y="0"/>
                  </a:lnTo>
                  <a:lnTo>
                    <a:pt x="782" y="0"/>
                  </a:lnTo>
                  <a:lnTo>
                    <a:pt x="782" y="0"/>
                  </a:lnTo>
                  <a:lnTo>
                    <a:pt x="791" y="0"/>
                  </a:lnTo>
                  <a:lnTo>
                    <a:pt x="791" y="5"/>
                  </a:lnTo>
                  <a:lnTo>
                    <a:pt x="791" y="5"/>
                  </a:lnTo>
                  <a:lnTo>
                    <a:pt x="800" y="19"/>
                  </a:lnTo>
                  <a:lnTo>
                    <a:pt x="800" y="19"/>
                  </a:lnTo>
                  <a:lnTo>
                    <a:pt x="805" y="19"/>
                  </a:lnTo>
                  <a:lnTo>
                    <a:pt x="805" y="23"/>
                  </a:lnTo>
                  <a:lnTo>
                    <a:pt x="810" y="28"/>
                  </a:lnTo>
                  <a:lnTo>
                    <a:pt x="814" y="32"/>
                  </a:lnTo>
                  <a:lnTo>
                    <a:pt x="819" y="37"/>
                  </a:lnTo>
                  <a:lnTo>
                    <a:pt x="819" y="41"/>
                  </a:lnTo>
                  <a:lnTo>
                    <a:pt x="819" y="41"/>
                  </a:lnTo>
                  <a:lnTo>
                    <a:pt x="823" y="46"/>
                  </a:lnTo>
                  <a:lnTo>
                    <a:pt x="837" y="64"/>
                  </a:lnTo>
                  <a:lnTo>
                    <a:pt x="837" y="64"/>
                  </a:lnTo>
                  <a:lnTo>
                    <a:pt x="837" y="69"/>
                  </a:lnTo>
                  <a:lnTo>
                    <a:pt x="842" y="69"/>
                  </a:lnTo>
                  <a:lnTo>
                    <a:pt x="846" y="78"/>
                  </a:lnTo>
                  <a:lnTo>
                    <a:pt x="846" y="78"/>
                  </a:lnTo>
                  <a:lnTo>
                    <a:pt x="846" y="83"/>
                  </a:lnTo>
                  <a:lnTo>
                    <a:pt x="851" y="87"/>
                  </a:lnTo>
                  <a:lnTo>
                    <a:pt x="855" y="87"/>
                  </a:lnTo>
                  <a:lnTo>
                    <a:pt x="855" y="92"/>
                  </a:lnTo>
                  <a:lnTo>
                    <a:pt x="869" y="115"/>
                  </a:lnTo>
                  <a:lnTo>
                    <a:pt x="874" y="119"/>
                  </a:lnTo>
                  <a:lnTo>
                    <a:pt x="874" y="119"/>
                  </a:lnTo>
                  <a:lnTo>
                    <a:pt x="878" y="124"/>
                  </a:lnTo>
                  <a:lnTo>
                    <a:pt x="878" y="124"/>
                  </a:lnTo>
                  <a:lnTo>
                    <a:pt x="878" y="128"/>
                  </a:lnTo>
                  <a:lnTo>
                    <a:pt x="887" y="133"/>
                  </a:lnTo>
                  <a:lnTo>
                    <a:pt x="887" y="133"/>
                  </a:lnTo>
                  <a:lnTo>
                    <a:pt x="887" y="137"/>
                  </a:lnTo>
                  <a:lnTo>
                    <a:pt x="901" y="160"/>
                  </a:lnTo>
                  <a:lnTo>
                    <a:pt x="906" y="160"/>
                  </a:lnTo>
                  <a:lnTo>
                    <a:pt x="906" y="165"/>
                  </a:lnTo>
                  <a:lnTo>
                    <a:pt x="915" y="179"/>
                  </a:lnTo>
                  <a:lnTo>
                    <a:pt x="915" y="179"/>
                  </a:lnTo>
                  <a:lnTo>
                    <a:pt x="919" y="183"/>
                  </a:lnTo>
                  <a:lnTo>
                    <a:pt x="919" y="183"/>
                  </a:lnTo>
                  <a:lnTo>
                    <a:pt x="924" y="188"/>
                  </a:lnTo>
                  <a:lnTo>
                    <a:pt x="928" y="197"/>
                  </a:lnTo>
                  <a:lnTo>
                    <a:pt x="933" y="206"/>
                  </a:lnTo>
                  <a:lnTo>
                    <a:pt x="938" y="211"/>
                  </a:lnTo>
                  <a:lnTo>
                    <a:pt x="942" y="215"/>
                  </a:lnTo>
                  <a:lnTo>
                    <a:pt x="947" y="220"/>
                  </a:lnTo>
                  <a:lnTo>
                    <a:pt x="947" y="224"/>
                  </a:lnTo>
                  <a:lnTo>
                    <a:pt x="951" y="224"/>
                  </a:lnTo>
                  <a:lnTo>
                    <a:pt x="956" y="233"/>
                  </a:lnTo>
                  <a:lnTo>
                    <a:pt x="956" y="233"/>
                  </a:lnTo>
                  <a:lnTo>
                    <a:pt x="956" y="233"/>
                  </a:lnTo>
                  <a:lnTo>
                    <a:pt x="960" y="238"/>
                  </a:lnTo>
                  <a:lnTo>
                    <a:pt x="960" y="243"/>
                  </a:lnTo>
                  <a:lnTo>
                    <a:pt x="960" y="243"/>
                  </a:lnTo>
                  <a:lnTo>
                    <a:pt x="965" y="256"/>
                  </a:lnTo>
                  <a:lnTo>
                    <a:pt x="965" y="261"/>
                  </a:lnTo>
                  <a:lnTo>
                    <a:pt x="965" y="265"/>
                  </a:lnTo>
                  <a:lnTo>
                    <a:pt x="965" y="270"/>
                  </a:lnTo>
                  <a:lnTo>
                    <a:pt x="970" y="275"/>
                  </a:lnTo>
                  <a:lnTo>
                    <a:pt x="970" y="279"/>
                  </a:lnTo>
                  <a:lnTo>
                    <a:pt x="970" y="284"/>
                  </a:lnTo>
                  <a:lnTo>
                    <a:pt x="970" y="288"/>
                  </a:lnTo>
                  <a:lnTo>
                    <a:pt x="974" y="307"/>
                  </a:lnTo>
                  <a:lnTo>
                    <a:pt x="974" y="311"/>
                  </a:lnTo>
                  <a:lnTo>
                    <a:pt x="974" y="316"/>
                  </a:lnTo>
                  <a:lnTo>
                    <a:pt x="974" y="320"/>
                  </a:lnTo>
                  <a:lnTo>
                    <a:pt x="979" y="320"/>
                  </a:lnTo>
                  <a:lnTo>
                    <a:pt x="979" y="329"/>
                  </a:lnTo>
                  <a:lnTo>
                    <a:pt x="979" y="334"/>
                  </a:lnTo>
                  <a:lnTo>
                    <a:pt x="979" y="343"/>
                  </a:lnTo>
                  <a:lnTo>
                    <a:pt x="983" y="366"/>
                  </a:lnTo>
                  <a:lnTo>
                    <a:pt x="983" y="371"/>
                  </a:lnTo>
                  <a:lnTo>
                    <a:pt x="983" y="371"/>
                  </a:lnTo>
                  <a:lnTo>
                    <a:pt x="988" y="375"/>
                  </a:lnTo>
                  <a:lnTo>
                    <a:pt x="988" y="380"/>
                  </a:lnTo>
                  <a:lnTo>
                    <a:pt x="988" y="384"/>
                  </a:lnTo>
                  <a:lnTo>
                    <a:pt x="988" y="384"/>
                  </a:lnTo>
                  <a:lnTo>
                    <a:pt x="988" y="389"/>
                  </a:lnTo>
                  <a:lnTo>
                    <a:pt x="988" y="393"/>
                  </a:lnTo>
                  <a:lnTo>
                    <a:pt x="992" y="412"/>
                  </a:lnTo>
                  <a:lnTo>
                    <a:pt x="992" y="416"/>
                  </a:lnTo>
                  <a:lnTo>
                    <a:pt x="992" y="421"/>
                  </a:lnTo>
                  <a:lnTo>
                    <a:pt x="997" y="430"/>
                  </a:lnTo>
                  <a:lnTo>
                    <a:pt x="997" y="439"/>
                  </a:lnTo>
                  <a:lnTo>
                    <a:pt x="997" y="448"/>
                  </a:lnTo>
                  <a:lnTo>
                    <a:pt x="1002" y="453"/>
                  </a:lnTo>
                  <a:lnTo>
                    <a:pt x="1002" y="453"/>
                  </a:lnTo>
                  <a:lnTo>
                    <a:pt x="1006" y="453"/>
                  </a:lnTo>
                  <a:lnTo>
                    <a:pt x="1002" y="453"/>
                  </a:lnTo>
                  <a:lnTo>
                    <a:pt x="1006" y="457"/>
                  </a:lnTo>
                  <a:lnTo>
                    <a:pt x="1002" y="462"/>
                  </a:lnTo>
                  <a:lnTo>
                    <a:pt x="1002" y="467"/>
                  </a:lnTo>
                  <a:lnTo>
                    <a:pt x="997" y="467"/>
                  </a:lnTo>
                  <a:lnTo>
                    <a:pt x="997" y="471"/>
                  </a:lnTo>
                  <a:lnTo>
                    <a:pt x="997" y="476"/>
                  </a:lnTo>
                  <a:lnTo>
                    <a:pt x="997" y="476"/>
                  </a:lnTo>
                  <a:lnTo>
                    <a:pt x="997" y="476"/>
                  </a:lnTo>
                  <a:lnTo>
                    <a:pt x="997" y="480"/>
                  </a:lnTo>
                  <a:lnTo>
                    <a:pt x="1002" y="480"/>
                  </a:lnTo>
                  <a:lnTo>
                    <a:pt x="1002" y="480"/>
                  </a:lnTo>
                  <a:lnTo>
                    <a:pt x="1006" y="480"/>
                  </a:lnTo>
                  <a:lnTo>
                    <a:pt x="1002" y="480"/>
                  </a:lnTo>
                  <a:lnTo>
                    <a:pt x="1002" y="485"/>
                  </a:lnTo>
                  <a:lnTo>
                    <a:pt x="1002" y="485"/>
                  </a:lnTo>
                  <a:lnTo>
                    <a:pt x="1002" y="485"/>
                  </a:lnTo>
                  <a:lnTo>
                    <a:pt x="1002" y="485"/>
                  </a:lnTo>
                  <a:lnTo>
                    <a:pt x="1002" y="485"/>
                  </a:lnTo>
                  <a:lnTo>
                    <a:pt x="1002" y="489"/>
                  </a:lnTo>
                  <a:lnTo>
                    <a:pt x="997" y="489"/>
                  </a:lnTo>
                  <a:lnTo>
                    <a:pt x="997" y="489"/>
                  </a:lnTo>
                  <a:lnTo>
                    <a:pt x="997" y="489"/>
                  </a:lnTo>
                  <a:lnTo>
                    <a:pt x="997" y="489"/>
                  </a:lnTo>
                  <a:lnTo>
                    <a:pt x="997" y="494"/>
                  </a:lnTo>
                  <a:lnTo>
                    <a:pt x="997" y="494"/>
                  </a:lnTo>
                  <a:lnTo>
                    <a:pt x="997" y="494"/>
                  </a:lnTo>
                  <a:lnTo>
                    <a:pt x="1002" y="499"/>
                  </a:lnTo>
                  <a:lnTo>
                    <a:pt x="1006" y="503"/>
                  </a:lnTo>
                  <a:lnTo>
                    <a:pt x="1011" y="503"/>
                  </a:lnTo>
                  <a:lnTo>
                    <a:pt x="1011" y="508"/>
                  </a:lnTo>
                  <a:lnTo>
                    <a:pt x="1011" y="508"/>
                  </a:lnTo>
                  <a:lnTo>
                    <a:pt x="1011" y="512"/>
                  </a:lnTo>
                  <a:lnTo>
                    <a:pt x="1015" y="512"/>
                  </a:lnTo>
                  <a:lnTo>
                    <a:pt x="1015" y="512"/>
                  </a:lnTo>
                  <a:lnTo>
                    <a:pt x="1024" y="512"/>
                  </a:lnTo>
                  <a:lnTo>
                    <a:pt x="1024" y="512"/>
                  </a:lnTo>
                  <a:lnTo>
                    <a:pt x="1029" y="508"/>
                  </a:lnTo>
                  <a:lnTo>
                    <a:pt x="1029" y="508"/>
                  </a:lnTo>
                  <a:lnTo>
                    <a:pt x="1034" y="508"/>
                  </a:lnTo>
                  <a:lnTo>
                    <a:pt x="1034" y="508"/>
                  </a:lnTo>
                  <a:lnTo>
                    <a:pt x="1038" y="512"/>
                  </a:lnTo>
                  <a:lnTo>
                    <a:pt x="1038" y="517"/>
                  </a:lnTo>
                  <a:lnTo>
                    <a:pt x="1043" y="512"/>
                  </a:lnTo>
                  <a:lnTo>
                    <a:pt x="1038" y="512"/>
                  </a:lnTo>
                  <a:lnTo>
                    <a:pt x="1038" y="508"/>
                  </a:lnTo>
                  <a:lnTo>
                    <a:pt x="1043" y="508"/>
                  </a:lnTo>
                  <a:lnTo>
                    <a:pt x="1043" y="508"/>
                  </a:lnTo>
                  <a:lnTo>
                    <a:pt x="1043" y="512"/>
                  </a:lnTo>
                  <a:lnTo>
                    <a:pt x="1043" y="512"/>
                  </a:lnTo>
                  <a:lnTo>
                    <a:pt x="1047" y="512"/>
                  </a:lnTo>
                  <a:lnTo>
                    <a:pt x="1047" y="512"/>
                  </a:lnTo>
                  <a:lnTo>
                    <a:pt x="1052" y="508"/>
                  </a:lnTo>
                  <a:lnTo>
                    <a:pt x="1056" y="508"/>
                  </a:lnTo>
                  <a:lnTo>
                    <a:pt x="1061" y="512"/>
                  </a:lnTo>
                  <a:lnTo>
                    <a:pt x="1061" y="512"/>
                  </a:lnTo>
                  <a:lnTo>
                    <a:pt x="1066" y="512"/>
                  </a:lnTo>
                  <a:lnTo>
                    <a:pt x="1070" y="512"/>
                  </a:lnTo>
                  <a:lnTo>
                    <a:pt x="1075" y="512"/>
                  </a:lnTo>
                  <a:lnTo>
                    <a:pt x="1075" y="512"/>
                  </a:lnTo>
                  <a:lnTo>
                    <a:pt x="1084" y="512"/>
                  </a:lnTo>
                  <a:lnTo>
                    <a:pt x="1084" y="512"/>
                  </a:lnTo>
                  <a:lnTo>
                    <a:pt x="1084" y="512"/>
                  </a:lnTo>
                  <a:lnTo>
                    <a:pt x="1088" y="512"/>
                  </a:lnTo>
                  <a:lnTo>
                    <a:pt x="1093" y="512"/>
                  </a:lnTo>
                  <a:lnTo>
                    <a:pt x="1093" y="512"/>
                  </a:lnTo>
                  <a:lnTo>
                    <a:pt x="1098" y="512"/>
                  </a:lnTo>
                  <a:lnTo>
                    <a:pt x="1098" y="512"/>
                  </a:lnTo>
                  <a:lnTo>
                    <a:pt x="1098" y="517"/>
                  </a:lnTo>
                  <a:lnTo>
                    <a:pt x="1102" y="517"/>
                  </a:lnTo>
                  <a:lnTo>
                    <a:pt x="1102" y="517"/>
                  </a:lnTo>
                  <a:lnTo>
                    <a:pt x="1102" y="512"/>
                  </a:lnTo>
                  <a:lnTo>
                    <a:pt x="1107" y="512"/>
                  </a:lnTo>
                  <a:lnTo>
                    <a:pt x="1107" y="517"/>
                  </a:lnTo>
                  <a:lnTo>
                    <a:pt x="1111" y="517"/>
                  </a:lnTo>
                  <a:lnTo>
                    <a:pt x="1111" y="517"/>
                  </a:lnTo>
                  <a:lnTo>
                    <a:pt x="1111" y="517"/>
                  </a:lnTo>
                  <a:lnTo>
                    <a:pt x="1116" y="517"/>
                  </a:lnTo>
                  <a:lnTo>
                    <a:pt x="1116" y="521"/>
                  </a:lnTo>
                  <a:lnTo>
                    <a:pt x="1116" y="521"/>
                  </a:lnTo>
                  <a:lnTo>
                    <a:pt x="1116" y="521"/>
                  </a:lnTo>
                  <a:lnTo>
                    <a:pt x="1116" y="521"/>
                  </a:lnTo>
                  <a:lnTo>
                    <a:pt x="1120" y="526"/>
                  </a:lnTo>
                  <a:lnTo>
                    <a:pt x="1125" y="526"/>
                  </a:lnTo>
                  <a:lnTo>
                    <a:pt x="1130" y="531"/>
                  </a:lnTo>
                  <a:lnTo>
                    <a:pt x="1130" y="531"/>
                  </a:lnTo>
                  <a:lnTo>
                    <a:pt x="1130" y="531"/>
                  </a:lnTo>
                  <a:lnTo>
                    <a:pt x="1125" y="531"/>
                  </a:lnTo>
                  <a:lnTo>
                    <a:pt x="1125" y="531"/>
                  </a:lnTo>
                  <a:lnTo>
                    <a:pt x="1125" y="535"/>
                  </a:lnTo>
                  <a:lnTo>
                    <a:pt x="1125" y="535"/>
                  </a:lnTo>
                  <a:lnTo>
                    <a:pt x="1125" y="535"/>
                  </a:lnTo>
                  <a:lnTo>
                    <a:pt x="1125" y="540"/>
                  </a:lnTo>
                  <a:lnTo>
                    <a:pt x="1130" y="535"/>
                  </a:lnTo>
                  <a:lnTo>
                    <a:pt x="1130" y="540"/>
                  </a:lnTo>
                  <a:lnTo>
                    <a:pt x="1130" y="540"/>
                  </a:lnTo>
                  <a:lnTo>
                    <a:pt x="1134" y="540"/>
                  </a:lnTo>
                  <a:lnTo>
                    <a:pt x="1139" y="544"/>
                  </a:lnTo>
                  <a:lnTo>
                    <a:pt x="1139" y="544"/>
                  </a:lnTo>
                  <a:lnTo>
                    <a:pt x="1139" y="544"/>
                  </a:lnTo>
                  <a:lnTo>
                    <a:pt x="1139" y="549"/>
                  </a:lnTo>
                  <a:lnTo>
                    <a:pt x="1139" y="553"/>
                  </a:lnTo>
                  <a:lnTo>
                    <a:pt x="1139" y="553"/>
                  </a:lnTo>
                  <a:lnTo>
                    <a:pt x="1143" y="553"/>
                  </a:lnTo>
                  <a:lnTo>
                    <a:pt x="1143" y="553"/>
                  </a:lnTo>
                  <a:lnTo>
                    <a:pt x="1143" y="558"/>
                  </a:lnTo>
                  <a:lnTo>
                    <a:pt x="1139" y="558"/>
                  </a:lnTo>
                  <a:lnTo>
                    <a:pt x="1139" y="558"/>
                  </a:lnTo>
                  <a:lnTo>
                    <a:pt x="1139" y="558"/>
                  </a:lnTo>
                  <a:lnTo>
                    <a:pt x="1139" y="563"/>
                  </a:lnTo>
                  <a:lnTo>
                    <a:pt x="1148" y="563"/>
                  </a:lnTo>
                  <a:lnTo>
                    <a:pt x="1148" y="563"/>
                  </a:lnTo>
                  <a:lnTo>
                    <a:pt x="1152" y="563"/>
                  </a:lnTo>
                  <a:lnTo>
                    <a:pt x="1157" y="567"/>
                  </a:lnTo>
                  <a:lnTo>
                    <a:pt x="1157" y="567"/>
                  </a:lnTo>
                  <a:lnTo>
                    <a:pt x="1157" y="567"/>
                  </a:lnTo>
                  <a:lnTo>
                    <a:pt x="1157" y="572"/>
                  </a:lnTo>
                  <a:lnTo>
                    <a:pt x="1162" y="572"/>
                  </a:lnTo>
                  <a:lnTo>
                    <a:pt x="1157" y="576"/>
                  </a:lnTo>
                  <a:lnTo>
                    <a:pt x="1157" y="576"/>
                  </a:lnTo>
                  <a:lnTo>
                    <a:pt x="1157" y="576"/>
                  </a:lnTo>
                  <a:lnTo>
                    <a:pt x="1157" y="576"/>
                  </a:lnTo>
                  <a:lnTo>
                    <a:pt x="1162" y="576"/>
                  </a:lnTo>
                  <a:lnTo>
                    <a:pt x="1162" y="576"/>
                  </a:lnTo>
                  <a:lnTo>
                    <a:pt x="1166" y="581"/>
                  </a:lnTo>
                  <a:lnTo>
                    <a:pt x="1166" y="581"/>
                  </a:lnTo>
                  <a:lnTo>
                    <a:pt x="1171" y="581"/>
                  </a:lnTo>
                  <a:lnTo>
                    <a:pt x="1171" y="576"/>
                  </a:lnTo>
                  <a:lnTo>
                    <a:pt x="1171" y="576"/>
                  </a:lnTo>
                  <a:lnTo>
                    <a:pt x="1171" y="576"/>
                  </a:lnTo>
                  <a:lnTo>
                    <a:pt x="1171" y="576"/>
                  </a:lnTo>
                  <a:lnTo>
                    <a:pt x="1171" y="576"/>
                  </a:lnTo>
                  <a:lnTo>
                    <a:pt x="1175" y="576"/>
                  </a:lnTo>
                  <a:lnTo>
                    <a:pt x="1175" y="576"/>
                  </a:lnTo>
                  <a:lnTo>
                    <a:pt x="1180" y="576"/>
                  </a:lnTo>
                  <a:lnTo>
                    <a:pt x="1180" y="576"/>
                  </a:lnTo>
                  <a:lnTo>
                    <a:pt x="1180" y="581"/>
                  </a:lnTo>
                  <a:lnTo>
                    <a:pt x="1184" y="581"/>
                  </a:lnTo>
                  <a:lnTo>
                    <a:pt x="1184" y="585"/>
                  </a:lnTo>
                  <a:lnTo>
                    <a:pt x="1184" y="590"/>
                  </a:lnTo>
                  <a:lnTo>
                    <a:pt x="1184" y="590"/>
                  </a:lnTo>
                  <a:lnTo>
                    <a:pt x="1180" y="599"/>
                  </a:lnTo>
                  <a:lnTo>
                    <a:pt x="1175" y="599"/>
                  </a:lnTo>
                  <a:lnTo>
                    <a:pt x="1175" y="604"/>
                  </a:lnTo>
                  <a:lnTo>
                    <a:pt x="1175" y="608"/>
                  </a:lnTo>
                  <a:lnTo>
                    <a:pt x="1171" y="613"/>
                  </a:lnTo>
                  <a:lnTo>
                    <a:pt x="1171" y="613"/>
                  </a:lnTo>
                  <a:lnTo>
                    <a:pt x="1171" y="613"/>
                  </a:lnTo>
                  <a:lnTo>
                    <a:pt x="1171" y="617"/>
                  </a:lnTo>
                  <a:lnTo>
                    <a:pt x="1175" y="622"/>
                  </a:lnTo>
                  <a:lnTo>
                    <a:pt x="1175" y="627"/>
                  </a:lnTo>
                  <a:lnTo>
                    <a:pt x="1175" y="627"/>
                  </a:lnTo>
                  <a:lnTo>
                    <a:pt x="1171" y="627"/>
                  </a:lnTo>
                  <a:lnTo>
                    <a:pt x="1166" y="631"/>
                  </a:lnTo>
                  <a:lnTo>
                    <a:pt x="1166" y="636"/>
                  </a:lnTo>
                  <a:lnTo>
                    <a:pt x="1166" y="636"/>
                  </a:lnTo>
                  <a:lnTo>
                    <a:pt x="1166" y="640"/>
                  </a:lnTo>
                  <a:lnTo>
                    <a:pt x="1166" y="645"/>
                  </a:lnTo>
                  <a:lnTo>
                    <a:pt x="1166" y="645"/>
                  </a:lnTo>
                  <a:lnTo>
                    <a:pt x="1171" y="649"/>
                  </a:lnTo>
                  <a:lnTo>
                    <a:pt x="1175" y="659"/>
                  </a:lnTo>
                  <a:lnTo>
                    <a:pt x="1175" y="659"/>
                  </a:lnTo>
                  <a:lnTo>
                    <a:pt x="1175" y="659"/>
                  </a:lnTo>
                  <a:lnTo>
                    <a:pt x="1175" y="663"/>
                  </a:lnTo>
                  <a:lnTo>
                    <a:pt x="1180" y="663"/>
                  </a:lnTo>
                  <a:lnTo>
                    <a:pt x="1180" y="663"/>
                  </a:lnTo>
                  <a:lnTo>
                    <a:pt x="1175" y="668"/>
                  </a:lnTo>
                  <a:lnTo>
                    <a:pt x="1175" y="668"/>
                  </a:lnTo>
                  <a:lnTo>
                    <a:pt x="1171" y="677"/>
                  </a:lnTo>
                  <a:lnTo>
                    <a:pt x="1171" y="677"/>
                  </a:lnTo>
                  <a:lnTo>
                    <a:pt x="1171" y="681"/>
                  </a:lnTo>
                  <a:lnTo>
                    <a:pt x="1171" y="681"/>
                  </a:lnTo>
                  <a:lnTo>
                    <a:pt x="1171" y="681"/>
                  </a:lnTo>
                  <a:lnTo>
                    <a:pt x="1171" y="681"/>
                  </a:lnTo>
                  <a:lnTo>
                    <a:pt x="1171" y="686"/>
                  </a:lnTo>
                  <a:lnTo>
                    <a:pt x="1171" y="686"/>
                  </a:lnTo>
                  <a:lnTo>
                    <a:pt x="1166" y="686"/>
                  </a:lnTo>
                  <a:lnTo>
                    <a:pt x="1166" y="691"/>
                  </a:lnTo>
                  <a:lnTo>
                    <a:pt x="1166" y="686"/>
                  </a:lnTo>
                  <a:lnTo>
                    <a:pt x="1166" y="691"/>
                  </a:lnTo>
                  <a:lnTo>
                    <a:pt x="1157" y="700"/>
                  </a:lnTo>
                  <a:lnTo>
                    <a:pt x="1157" y="700"/>
                  </a:lnTo>
                  <a:lnTo>
                    <a:pt x="1157" y="700"/>
                  </a:lnTo>
                  <a:lnTo>
                    <a:pt x="1162" y="704"/>
                  </a:lnTo>
                  <a:lnTo>
                    <a:pt x="1162" y="704"/>
                  </a:lnTo>
                  <a:lnTo>
                    <a:pt x="1157" y="709"/>
                  </a:lnTo>
                  <a:lnTo>
                    <a:pt x="1157" y="709"/>
                  </a:lnTo>
                  <a:lnTo>
                    <a:pt x="1157" y="713"/>
                  </a:lnTo>
                  <a:lnTo>
                    <a:pt x="1162" y="718"/>
                  </a:lnTo>
                  <a:lnTo>
                    <a:pt x="1157" y="723"/>
                  </a:lnTo>
                  <a:lnTo>
                    <a:pt x="1157" y="727"/>
                  </a:lnTo>
                  <a:lnTo>
                    <a:pt x="1162" y="732"/>
                  </a:lnTo>
                  <a:lnTo>
                    <a:pt x="1162" y="732"/>
                  </a:lnTo>
                  <a:lnTo>
                    <a:pt x="1157" y="736"/>
                  </a:lnTo>
                  <a:lnTo>
                    <a:pt x="1157" y="741"/>
                  </a:lnTo>
                  <a:lnTo>
                    <a:pt x="1152" y="741"/>
                  </a:lnTo>
                  <a:lnTo>
                    <a:pt x="1152" y="741"/>
                  </a:lnTo>
                  <a:lnTo>
                    <a:pt x="1148" y="745"/>
                  </a:lnTo>
                  <a:lnTo>
                    <a:pt x="1143" y="750"/>
                  </a:lnTo>
                  <a:lnTo>
                    <a:pt x="1139" y="750"/>
                  </a:lnTo>
                  <a:lnTo>
                    <a:pt x="1139" y="750"/>
                  </a:lnTo>
                  <a:lnTo>
                    <a:pt x="1139" y="755"/>
                  </a:lnTo>
                  <a:lnTo>
                    <a:pt x="1139" y="759"/>
                  </a:lnTo>
                  <a:lnTo>
                    <a:pt x="1143" y="764"/>
                  </a:lnTo>
                  <a:lnTo>
                    <a:pt x="1148" y="764"/>
                  </a:lnTo>
                  <a:lnTo>
                    <a:pt x="1152" y="768"/>
                  </a:lnTo>
                  <a:lnTo>
                    <a:pt x="1157" y="773"/>
                  </a:lnTo>
                  <a:lnTo>
                    <a:pt x="1162" y="773"/>
                  </a:lnTo>
                  <a:lnTo>
                    <a:pt x="1162" y="777"/>
                  </a:lnTo>
                  <a:lnTo>
                    <a:pt x="1162" y="777"/>
                  </a:lnTo>
                  <a:lnTo>
                    <a:pt x="1166" y="777"/>
                  </a:lnTo>
                  <a:lnTo>
                    <a:pt x="1166" y="782"/>
                  </a:lnTo>
                  <a:lnTo>
                    <a:pt x="1171" y="782"/>
                  </a:lnTo>
                  <a:lnTo>
                    <a:pt x="1171" y="787"/>
                  </a:lnTo>
                  <a:lnTo>
                    <a:pt x="1171" y="787"/>
                  </a:lnTo>
                  <a:lnTo>
                    <a:pt x="1175" y="791"/>
                  </a:lnTo>
                  <a:lnTo>
                    <a:pt x="1175" y="796"/>
                  </a:lnTo>
                  <a:lnTo>
                    <a:pt x="1175" y="800"/>
                  </a:lnTo>
                  <a:lnTo>
                    <a:pt x="1171" y="809"/>
                  </a:lnTo>
                  <a:lnTo>
                    <a:pt x="1171" y="814"/>
                  </a:lnTo>
                  <a:lnTo>
                    <a:pt x="1171" y="823"/>
                  </a:lnTo>
                  <a:lnTo>
                    <a:pt x="1171" y="828"/>
                  </a:lnTo>
                  <a:lnTo>
                    <a:pt x="1166" y="828"/>
                  </a:lnTo>
                  <a:lnTo>
                    <a:pt x="1162" y="832"/>
                  </a:lnTo>
                  <a:lnTo>
                    <a:pt x="1157" y="832"/>
                  </a:lnTo>
                  <a:lnTo>
                    <a:pt x="1152" y="837"/>
                  </a:lnTo>
                  <a:lnTo>
                    <a:pt x="1148" y="837"/>
                  </a:lnTo>
                  <a:lnTo>
                    <a:pt x="1130" y="846"/>
                  </a:lnTo>
                  <a:lnTo>
                    <a:pt x="1125" y="846"/>
                  </a:lnTo>
                  <a:lnTo>
                    <a:pt x="1120" y="851"/>
                  </a:lnTo>
                  <a:lnTo>
                    <a:pt x="1111" y="851"/>
                  </a:lnTo>
                  <a:lnTo>
                    <a:pt x="1107" y="851"/>
                  </a:lnTo>
                  <a:lnTo>
                    <a:pt x="1102" y="851"/>
                  </a:lnTo>
                  <a:lnTo>
                    <a:pt x="1102" y="855"/>
                  </a:lnTo>
                  <a:lnTo>
                    <a:pt x="1098" y="855"/>
                  </a:lnTo>
                  <a:lnTo>
                    <a:pt x="1098" y="864"/>
                  </a:lnTo>
                  <a:lnTo>
                    <a:pt x="1093" y="869"/>
                  </a:lnTo>
                  <a:lnTo>
                    <a:pt x="1088" y="873"/>
                  </a:lnTo>
                  <a:lnTo>
                    <a:pt x="1088" y="873"/>
                  </a:lnTo>
                  <a:lnTo>
                    <a:pt x="1088" y="873"/>
                  </a:lnTo>
                  <a:lnTo>
                    <a:pt x="1079" y="873"/>
                  </a:lnTo>
                  <a:lnTo>
                    <a:pt x="1075" y="878"/>
                  </a:lnTo>
                  <a:lnTo>
                    <a:pt x="1070" y="883"/>
                  </a:lnTo>
                  <a:lnTo>
                    <a:pt x="1066" y="883"/>
                  </a:lnTo>
                  <a:lnTo>
                    <a:pt x="1056" y="883"/>
                  </a:lnTo>
                  <a:lnTo>
                    <a:pt x="1052" y="883"/>
                  </a:lnTo>
                  <a:lnTo>
                    <a:pt x="1047" y="887"/>
                  </a:lnTo>
                  <a:lnTo>
                    <a:pt x="1038" y="892"/>
                  </a:lnTo>
                  <a:lnTo>
                    <a:pt x="1029" y="896"/>
                  </a:lnTo>
                  <a:lnTo>
                    <a:pt x="1024" y="901"/>
                  </a:lnTo>
                  <a:lnTo>
                    <a:pt x="1020" y="905"/>
                  </a:lnTo>
                  <a:lnTo>
                    <a:pt x="1015" y="910"/>
                  </a:lnTo>
                  <a:lnTo>
                    <a:pt x="1015" y="915"/>
                  </a:lnTo>
                  <a:lnTo>
                    <a:pt x="1011" y="919"/>
                  </a:lnTo>
                  <a:lnTo>
                    <a:pt x="1006" y="919"/>
                  </a:lnTo>
                  <a:lnTo>
                    <a:pt x="1006" y="924"/>
                  </a:lnTo>
                  <a:lnTo>
                    <a:pt x="997" y="924"/>
                  </a:lnTo>
                  <a:lnTo>
                    <a:pt x="988" y="928"/>
                  </a:lnTo>
                  <a:lnTo>
                    <a:pt x="983" y="928"/>
                  </a:lnTo>
                  <a:lnTo>
                    <a:pt x="983" y="933"/>
                  </a:lnTo>
                  <a:lnTo>
                    <a:pt x="979" y="933"/>
                  </a:lnTo>
                  <a:lnTo>
                    <a:pt x="974" y="933"/>
                  </a:lnTo>
                  <a:lnTo>
                    <a:pt x="970" y="933"/>
                  </a:lnTo>
                  <a:lnTo>
                    <a:pt x="965" y="933"/>
                  </a:lnTo>
                  <a:lnTo>
                    <a:pt x="960" y="928"/>
                  </a:lnTo>
                  <a:lnTo>
                    <a:pt x="960" y="924"/>
                  </a:lnTo>
                  <a:lnTo>
                    <a:pt x="956" y="924"/>
                  </a:lnTo>
                  <a:lnTo>
                    <a:pt x="951" y="919"/>
                  </a:lnTo>
                  <a:lnTo>
                    <a:pt x="951" y="919"/>
                  </a:lnTo>
                  <a:lnTo>
                    <a:pt x="942" y="915"/>
                  </a:lnTo>
                  <a:lnTo>
                    <a:pt x="938" y="915"/>
                  </a:lnTo>
                  <a:lnTo>
                    <a:pt x="933" y="915"/>
                  </a:lnTo>
                  <a:lnTo>
                    <a:pt x="928" y="910"/>
                  </a:lnTo>
                  <a:lnTo>
                    <a:pt x="924" y="910"/>
                  </a:lnTo>
                  <a:lnTo>
                    <a:pt x="924" y="910"/>
                  </a:lnTo>
                  <a:lnTo>
                    <a:pt x="919" y="910"/>
                  </a:lnTo>
                  <a:lnTo>
                    <a:pt x="919" y="915"/>
                  </a:lnTo>
                  <a:lnTo>
                    <a:pt x="915" y="924"/>
                  </a:lnTo>
                  <a:lnTo>
                    <a:pt x="915" y="928"/>
                  </a:lnTo>
                  <a:lnTo>
                    <a:pt x="910" y="933"/>
                  </a:lnTo>
                  <a:lnTo>
                    <a:pt x="910" y="937"/>
                  </a:lnTo>
                  <a:lnTo>
                    <a:pt x="906" y="937"/>
                  </a:lnTo>
                  <a:lnTo>
                    <a:pt x="901" y="942"/>
                  </a:lnTo>
                  <a:lnTo>
                    <a:pt x="901" y="947"/>
                  </a:lnTo>
                  <a:lnTo>
                    <a:pt x="901" y="951"/>
                  </a:lnTo>
                  <a:lnTo>
                    <a:pt x="901" y="956"/>
                  </a:lnTo>
                  <a:lnTo>
                    <a:pt x="901" y="956"/>
                  </a:lnTo>
                  <a:lnTo>
                    <a:pt x="896" y="956"/>
                  </a:lnTo>
                  <a:lnTo>
                    <a:pt x="896" y="960"/>
                  </a:lnTo>
                  <a:lnTo>
                    <a:pt x="896" y="960"/>
                  </a:lnTo>
                  <a:lnTo>
                    <a:pt x="896" y="960"/>
                  </a:lnTo>
                  <a:lnTo>
                    <a:pt x="892" y="965"/>
                  </a:lnTo>
                  <a:lnTo>
                    <a:pt x="887" y="969"/>
                  </a:lnTo>
                  <a:lnTo>
                    <a:pt x="887" y="969"/>
                  </a:lnTo>
                  <a:lnTo>
                    <a:pt x="883" y="969"/>
                  </a:lnTo>
                  <a:lnTo>
                    <a:pt x="883" y="974"/>
                  </a:lnTo>
                  <a:lnTo>
                    <a:pt x="887" y="979"/>
                  </a:lnTo>
                  <a:lnTo>
                    <a:pt x="887" y="979"/>
                  </a:lnTo>
                  <a:lnTo>
                    <a:pt x="887" y="979"/>
                  </a:lnTo>
                  <a:lnTo>
                    <a:pt x="883" y="979"/>
                  </a:lnTo>
                  <a:lnTo>
                    <a:pt x="883" y="983"/>
                  </a:lnTo>
                  <a:lnTo>
                    <a:pt x="878" y="983"/>
                  </a:lnTo>
                  <a:lnTo>
                    <a:pt x="878" y="988"/>
                  </a:lnTo>
                  <a:lnTo>
                    <a:pt x="874" y="992"/>
                  </a:lnTo>
                  <a:lnTo>
                    <a:pt x="874" y="992"/>
                  </a:lnTo>
                  <a:lnTo>
                    <a:pt x="869" y="992"/>
                  </a:lnTo>
                  <a:lnTo>
                    <a:pt x="869" y="997"/>
                  </a:lnTo>
                  <a:lnTo>
                    <a:pt x="869" y="997"/>
                  </a:lnTo>
                  <a:lnTo>
                    <a:pt x="864" y="997"/>
                  </a:lnTo>
                  <a:lnTo>
                    <a:pt x="860" y="1006"/>
                  </a:lnTo>
                  <a:lnTo>
                    <a:pt x="860" y="1006"/>
                  </a:lnTo>
                  <a:lnTo>
                    <a:pt x="860" y="1011"/>
                  </a:lnTo>
                  <a:lnTo>
                    <a:pt x="860" y="1011"/>
                  </a:lnTo>
                  <a:lnTo>
                    <a:pt x="855" y="1015"/>
                  </a:lnTo>
                  <a:lnTo>
                    <a:pt x="855" y="1015"/>
                  </a:lnTo>
                  <a:lnTo>
                    <a:pt x="855" y="1015"/>
                  </a:lnTo>
                  <a:lnTo>
                    <a:pt x="855" y="1020"/>
                  </a:lnTo>
                  <a:lnTo>
                    <a:pt x="855" y="1020"/>
                  </a:lnTo>
                  <a:lnTo>
                    <a:pt x="851" y="1024"/>
                  </a:lnTo>
                  <a:lnTo>
                    <a:pt x="851" y="1024"/>
                  </a:lnTo>
                  <a:lnTo>
                    <a:pt x="846" y="1024"/>
                  </a:lnTo>
                  <a:lnTo>
                    <a:pt x="846" y="1024"/>
                  </a:lnTo>
                  <a:lnTo>
                    <a:pt x="846" y="1024"/>
                  </a:lnTo>
                  <a:lnTo>
                    <a:pt x="842" y="1024"/>
                  </a:lnTo>
                  <a:lnTo>
                    <a:pt x="832" y="1033"/>
                  </a:lnTo>
                  <a:lnTo>
                    <a:pt x="828" y="1033"/>
                  </a:lnTo>
                  <a:lnTo>
                    <a:pt x="819" y="1033"/>
                  </a:lnTo>
                  <a:lnTo>
                    <a:pt x="814" y="1038"/>
                  </a:lnTo>
                  <a:lnTo>
                    <a:pt x="814" y="1038"/>
                  </a:lnTo>
                  <a:lnTo>
                    <a:pt x="814" y="1047"/>
                  </a:lnTo>
                  <a:lnTo>
                    <a:pt x="814" y="1052"/>
                  </a:lnTo>
                  <a:lnTo>
                    <a:pt x="814" y="1056"/>
                  </a:lnTo>
                  <a:lnTo>
                    <a:pt x="814" y="1065"/>
                  </a:lnTo>
                  <a:lnTo>
                    <a:pt x="810" y="1065"/>
                  </a:lnTo>
                  <a:lnTo>
                    <a:pt x="791" y="1065"/>
                  </a:lnTo>
                  <a:lnTo>
                    <a:pt x="778" y="1065"/>
                  </a:lnTo>
                  <a:lnTo>
                    <a:pt x="768" y="1070"/>
                  </a:lnTo>
                  <a:lnTo>
                    <a:pt x="764" y="1070"/>
                  </a:lnTo>
                  <a:lnTo>
                    <a:pt x="759" y="1070"/>
                  </a:lnTo>
                  <a:lnTo>
                    <a:pt x="755" y="1070"/>
                  </a:lnTo>
                  <a:lnTo>
                    <a:pt x="750" y="1070"/>
                  </a:lnTo>
                  <a:lnTo>
                    <a:pt x="750" y="1075"/>
                  </a:lnTo>
                  <a:lnTo>
                    <a:pt x="750" y="1075"/>
                  </a:lnTo>
                  <a:lnTo>
                    <a:pt x="746" y="1075"/>
                  </a:lnTo>
                  <a:lnTo>
                    <a:pt x="727" y="1075"/>
                  </a:lnTo>
                  <a:lnTo>
                    <a:pt x="714" y="1075"/>
                  </a:lnTo>
                  <a:lnTo>
                    <a:pt x="704" y="1079"/>
                  </a:lnTo>
                  <a:lnTo>
                    <a:pt x="700" y="1079"/>
                  </a:lnTo>
                  <a:lnTo>
                    <a:pt x="695" y="1079"/>
                  </a:lnTo>
                  <a:lnTo>
                    <a:pt x="691" y="1084"/>
                  </a:lnTo>
                  <a:lnTo>
                    <a:pt x="686" y="1084"/>
                  </a:lnTo>
                  <a:lnTo>
                    <a:pt x="682" y="1088"/>
                  </a:lnTo>
                  <a:lnTo>
                    <a:pt x="682" y="1093"/>
                  </a:lnTo>
                  <a:lnTo>
                    <a:pt x="682" y="1097"/>
                  </a:lnTo>
                  <a:lnTo>
                    <a:pt x="682" y="1102"/>
                  </a:lnTo>
                  <a:lnTo>
                    <a:pt x="682" y="1111"/>
                  </a:lnTo>
                  <a:lnTo>
                    <a:pt x="677" y="1116"/>
                  </a:lnTo>
                  <a:lnTo>
                    <a:pt x="668" y="1134"/>
                  </a:lnTo>
                  <a:lnTo>
                    <a:pt x="659" y="1152"/>
                  </a:lnTo>
                  <a:lnTo>
                    <a:pt x="659" y="1157"/>
                  </a:lnTo>
                  <a:lnTo>
                    <a:pt x="659" y="1157"/>
                  </a:lnTo>
                  <a:lnTo>
                    <a:pt x="659" y="1161"/>
                  </a:lnTo>
                  <a:lnTo>
                    <a:pt x="659" y="1166"/>
                  </a:lnTo>
                  <a:lnTo>
                    <a:pt x="654" y="1171"/>
                  </a:lnTo>
                  <a:lnTo>
                    <a:pt x="650" y="1175"/>
                  </a:lnTo>
                  <a:lnTo>
                    <a:pt x="650" y="1180"/>
                  </a:lnTo>
                  <a:lnTo>
                    <a:pt x="650" y="1184"/>
                  </a:lnTo>
                  <a:lnTo>
                    <a:pt x="650" y="1189"/>
                  </a:lnTo>
                  <a:lnTo>
                    <a:pt x="650" y="1193"/>
                  </a:lnTo>
                  <a:lnTo>
                    <a:pt x="650" y="1198"/>
                  </a:lnTo>
                  <a:lnTo>
                    <a:pt x="650" y="1203"/>
                  </a:lnTo>
                  <a:lnTo>
                    <a:pt x="645" y="1203"/>
                  </a:lnTo>
                  <a:lnTo>
                    <a:pt x="645" y="1221"/>
                  </a:lnTo>
                  <a:lnTo>
                    <a:pt x="640" y="1225"/>
                  </a:lnTo>
                  <a:lnTo>
                    <a:pt x="640" y="1225"/>
                  </a:lnTo>
                  <a:lnTo>
                    <a:pt x="640" y="1225"/>
                  </a:lnTo>
                  <a:lnTo>
                    <a:pt x="640" y="1230"/>
                  </a:lnTo>
                  <a:lnTo>
                    <a:pt x="636" y="1235"/>
                  </a:lnTo>
                  <a:lnTo>
                    <a:pt x="627" y="1235"/>
                  </a:lnTo>
                  <a:lnTo>
                    <a:pt x="622" y="1239"/>
                  </a:lnTo>
                  <a:lnTo>
                    <a:pt x="618" y="1239"/>
                  </a:lnTo>
                  <a:lnTo>
                    <a:pt x="595" y="1235"/>
                  </a:lnTo>
                  <a:lnTo>
                    <a:pt x="586" y="1235"/>
                  </a:lnTo>
                  <a:lnTo>
                    <a:pt x="576" y="1235"/>
                  </a:lnTo>
                  <a:lnTo>
                    <a:pt x="572" y="1230"/>
                  </a:lnTo>
                  <a:lnTo>
                    <a:pt x="572" y="1230"/>
                  </a:lnTo>
                  <a:lnTo>
                    <a:pt x="567" y="1230"/>
                  </a:lnTo>
                  <a:lnTo>
                    <a:pt x="558" y="1225"/>
                  </a:lnTo>
                  <a:lnTo>
                    <a:pt x="554" y="1225"/>
                  </a:lnTo>
                  <a:lnTo>
                    <a:pt x="549" y="1225"/>
                  </a:lnTo>
                  <a:lnTo>
                    <a:pt x="549" y="1221"/>
                  </a:lnTo>
                  <a:lnTo>
                    <a:pt x="549" y="1221"/>
                  </a:lnTo>
                  <a:lnTo>
                    <a:pt x="544" y="1216"/>
                  </a:lnTo>
                  <a:lnTo>
                    <a:pt x="540" y="1216"/>
                  </a:lnTo>
                  <a:lnTo>
                    <a:pt x="535" y="1216"/>
                  </a:lnTo>
                  <a:lnTo>
                    <a:pt x="531" y="1212"/>
                  </a:lnTo>
                  <a:lnTo>
                    <a:pt x="531" y="1207"/>
                  </a:lnTo>
                  <a:lnTo>
                    <a:pt x="522" y="1203"/>
                  </a:lnTo>
                  <a:lnTo>
                    <a:pt x="517" y="1203"/>
                  </a:lnTo>
                  <a:lnTo>
                    <a:pt x="512" y="1198"/>
                  </a:lnTo>
                  <a:lnTo>
                    <a:pt x="508" y="1198"/>
                  </a:lnTo>
                  <a:lnTo>
                    <a:pt x="503" y="1193"/>
                  </a:lnTo>
                  <a:lnTo>
                    <a:pt x="499" y="1193"/>
                  </a:lnTo>
                  <a:lnTo>
                    <a:pt x="490" y="1193"/>
                  </a:lnTo>
                  <a:lnTo>
                    <a:pt x="485" y="1193"/>
                  </a:lnTo>
                  <a:lnTo>
                    <a:pt x="485" y="1198"/>
                  </a:lnTo>
                  <a:lnTo>
                    <a:pt x="476" y="1198"/>
                  </a:lnTo>
                  <a:lnTo>
                    <a:pt x="476" y="1203"/>
                  </a:lnTo>
                  <a:lnTo>
                    <a:pt x="471" y="1203"/>
                  </a:lnTo>
                  <a:lnTo>
                    <a:pt x="471" y="1203"/>
                  </a:lnTo>
                  <a:lnTo>
                    <a:pt x="467" y="1203"/>
                  </a:lnTo>
                  <a:lnTo>
                    <a:pt x="462" y="1207"/>
                  </a:lnTo>
                  <a:lnTo>
                    <a:pt x="462" y="1207"/>
                  </a:lnTo>
                  <a:lnTo>
                    <a:pt x="453" y="1216"/>
                  </a:lnTo>
                  <a:lnTo>
                    <a:pt x="448" y="1221"/>
                  </a:lnTo>
                  <a:lnTo>
                    <a:pt x="439" y="1225"/>
                  </a:lnTo>
                  <a:lnTo>
                    <a:pt x="435" y="1239"/>
                  </a:lnTo>
                  <a:lnTo>
                    <a:pt x="430" y="1244"/>
                  </a:lnTo>
                  <a:lnTo>
                    <a:pt x="426" y="1244"/>
                  </a:lnTo>
                  <a:lnTo>
                    <a:pt x="421" y="1244"/>
                  </a:lnTo>
                  <a:lnTo>
                    <a:pt x="416" y="1248"/>
                  </a:lnTo>
                  <a:lnTo>
                    <a:pt x="412" y="1253"/>
                  </a:lnTo>
                  <a:lnTo>
                    <a:pt x="412" y="1257"/>
                  </a:lnTo>
                  <a:lnTo>
                    <a:pt x="407" y="1257"/>
                  </a:lnTo>
                  <a:lnTo>
                    <a:pt x="389" y="1276"/>
                  </a:lnTo>
                  <a:lnTo>
                    <a:pt x="384" y="1280"/>
                  </a:lnTo>
                  <a:lnTo>
                    <a:pt x="375" y="1289"/>
                  </a:lnTo>
                  <a:lnTo>
                    <a:pt x="375" y="1289"/>
                  </a:lnTo>
                  <a:lnTo>
                    <a:pt x="371" y="1289"/>
                  </a:lnTo>
                  <a:lnTo>
                    <a:pt x="371" y="1294"/>
                  </a:lnTo>
                  <a:lnTo>
                    <a:pt x="366" y="1294"/>
                  </a:lnTo>
                  <a:lnTo>
                    <a:pt x="357" y="1294"/>
                  </a:lnTo>
                  <a:lnTo>
                    <a:pt x="348" y="1294"/>
                  </a:lnTo>
                  <a:lnTo>
                    <a:pt x="330" y="1294"/>
                  </a:lnTo>
                  <a:lnTo>
                    <a:pt x="316" y="1294"/>
                  </a:lnTo>
                  <a:lnTo>
                    <a:pt x="311" y="1294"/>
                  </a:lnTo>
                  <a:lnTo>
                    <a:pt x="302" y="1294"/>
                  </a:lnTo>
                  <a:lnTo>
                    <a:pt x="288" y="1299"/>
                  </a:lnTo>
                  <a:lnTo>
                    <a:pt x="288" y="1299"/>
                  </a:lnTo>
                  <a:lnTo>
                    <a:pt x="288" y="1299"/>
                  </a:lnTo>
                  <a:lnTo>
                    <a:pt x="284" y="1299"/>
                  </a:lnTo>
                  <a:lnTo>
                    <a:pt x="279" y="1303"/>
                  </a:lnTo>
                  <a:lnTo>
                    <a:pt x="275" y="1303"/>
                  </a:lnTo>
                  <a:lnTo>
                    <a:pt x="270" y="1308"/>
                  </a:lnTo>
                  <a:lnTo>
                    <a:pt x="266" y="1308"/>
                  </a:lnTo>
                  <a:lnTo>
                    <a:pt x="266" y="1312"/>
                  </a:lnTo>
                  <a:lnTo>
                    <a:pt x="261" y="1312"/>
                  </a:lnTo>
                  <a:lnTo>
                    <a:pt x="256" y="1312"/>
                  </a:lnTo>
                  <a:lnTo>
                    <a:pt x="247" y="1317"/>
                  </a:lnTo>
                  <a:lnTo>
                    <a:pt x="243" y="1317"/>
                  </a:lnTo>
                  <a:lnTo>
                    <a:pt x="243" y="1326"/>
                  </a:lnTo>
                  <a:lnTo>
                    <a:pt x="229" y="1335"/>
                  </a:lnTo>
                  <a:lnTo>
                    <a:pt x="224" y="1335"/>
                  </a:lnTo>
                  <a:lnTo>
                    <a:pt x="224" y="1340"/>
                  </a:lnTo>
                  <a:lnTo>
                    <a:pt x="220" y="1340"/>
                  </a:lnTo>
                  <a:lnTo>
                    <a:pt x="220" y="1349"/>
                  </a:lnTo>
                  <a:lnTo>
                    <a:pt x="215" y="1353"/>
                  </a:lnTo>
                  <a:lnTo>
                    <a:pt x="211" y="1353"/>
                  </a:lnTo>
                  <a:lnTo>
                    <a:pt x="211" y="1358"/>
                  </a:lnTo>
                  <a:lnTo>
                    <a:pt x="211" y="1363"/>
                  </a:lnTo>
                  <a:lnTo>
                    <a:pt x="206" y="1367"/>
                  </a:lnTo>
                  <a:lnTo>
                    <a:pt x="206" y="1372"/>
                  </a:lnTo>
                  <a:lnTo>
                    <a:pt x="202" y="1381"/>
                  </a:lnTo>
                  <a:lnTo>
                    <a:pt x="202" y="1399"/>
                  </a:lnTo>
                  <a:lnTo>
                    <a:pt x="202" y="1399"/>
                  </a:lnTo>
                  <a:lnTo>
                    <a:pt x="197" y="1404"/>
                  </a:lnTo>
                  <a:lnTo>
                    <a:pt x="183" y="1413"/>
                  </a:lnTo>
                  <a:lnTo>
                    <a:pt x="179" y="1413"/>
                  </a:lnTo>
                  <a:lnTo>
                    <a:pt x="165" y="1417"/>
                  </a:lnTo>
                  <a:lnTo>
                    <a:pt x="160" y="1413"/>
                  </a:lnTo>
                  <a:lnTo>
                    <a:pt x="156" y="1413"/>
                  </a:lnTo>
                  <a:lnTo>
                    <a:pt x="151" y="1417"/>
                  </a:lnTo>
                  <a:lnTo>
                    <a:pt x="133" y="1417"/>
                  </a:lnTo>
                  <a:lnTo>
                    <a:pt x="128" y="1413"/>
                  </a:lnTo>
                  <a:lnTo>
                    <a:pt x="106" y="1404"/>
                  </a:lnTo>
                  <a:lnTo>
                    <a:pt x="106" y="1399"/>
                  </a:lnTo>
                  <a:lnTo>
                    <a:pt x="106" y="1399"/>
                  </a:lnTo>
                  <a:lnTo>
                    <a:pt x="106" y="1395"/>
                  </a:lnTo>
                  <a:lnTo>
                    <a:pt x="101" y="1395"/>
                  </a:lnTo>
                  <a:lnTo>
                    <a:pt x="101" y="1390"/>
                  </a:lnTo>
                  <a:lnTo>
                    <a:pt x="101" y="1385"/>
                  </a:lnTo>
                  <a:lnTo>
                    <a:pt x="96" y="1381"/>
                  </a:lnTo>
                  <a:lnTo>
                    <a:pt x="96" y="1376"/>
                  </a:lnTo>
                  <a:lnTo>
                    <a:pt x="92" y="1376"/>
                  </a:lnTo>
                  <a:lnTo>
                    <a:pt x="92" y="1376"/>
                  </a:lnTo>
                  <a:lnTo>
                    <a:pt x="92" y="1376"/>
                  </a:lnTo>
                  <a:lnTo>
                    <a:pt x="92" y="1372"/>
                  </a:lnTo>
                  <a:lnTo>
                    <a:pt x="87" y="1372"/>
                  </a:lnTo>
                  <a:lnTo>
                    <a:pt x="87" y="1367"/>
                  </a:lnTo>
                  <a:lnTo>
                    <a:pt x="83" y="1367"/>
                  </a:lnTo>
                  <a:lnTo>
                    <a:pt x="78" y="1363"/>
                  </a:lnTo>
                  <a:lnTo>
                    <a:pt x="74" y="1358"/>
                  </a:lnTo>
                  <a:lnTo>
                    <a:pt x="69" y="1358"/>
                  </a:lnTo>
                  <a:lnTo>
                    <a:pt x="69" y="1358"/>
                  </a:lnTo>
                  <a:lnTo>
                    <a:pt x="60" y="1353"/>
                  </a:lnTo>
                  <a:lnTo>
                    <a:pt x="51" y="1349"/>
                  </a:lnTo>
                  <a:lnTo>
                    <a:pt x="46" y="1349"/>
                  </a:lnTo>
                  <a:lnTo>
                    <a:pt x="46" y="1344"/>
                  </a:lnTo>
                  <a:lnTo>
                    <a:pt x="42" y="1344"/>
                  </a:lnTo>
                  <a:lnTo>
                    <a:pt x="42" y="1340"/>
                  </a:lnTo>
                  <a:lnTo>
                    <a:pt x="37" y="1340"/>
                  </a:lnTo>
                  <a:lnTo>
                    <a:pt x="32" y="1335"/>
                  </a:lnTo>
                  <a:lnTo>
                    <a:pt x="32" y="1335"/>
                  </a:lnTo>
                  <a:lnTo>
                    <a:pt x="28" y="1326"/>
                  </a:lnTo>
                  <a:lnTo>
                    <a:pt x="28" y="1321"/>
                  </a:lnTo>
                  <a:lnTo>
                    <a:pt x="23" y="1321"/>
                  </a:lnTo>
                  <a:lnTo>
                    <a:pt x="23" y="1317"/>
                  </a:lnTo>
                  <a:lnTo>
                    <a:pt x="23" y="1312"/>
                  </a:lnTo>
                  <a:lnTo>
                    <a:pt x="19" y="1312"/>
                  </a:lnTo>
                  <a:lnTo>
                    <a:pt x="19" y="1312"/>
                  </a:lnTo>
                  <a:lnTo>
                    <a:pt x="14" y="1308"/>
                  </a:lnTo>
                  <a:lnTo>
                    <a:pt x="10" y="1308"/>
                  </a:lnTo>
                  <a:lnTo>
                    <a:pt x="5" y="1303"/>
                  </a:lnTo>
                  <a:lnTo>
                    <a:pt x="0" y="1303"/>
                  </a:lnTo>
                  <a:lnTo>
                    <a:pt x="0" y="1299"/>
                  </a:lnTo>
                  <a:lnTo>
                    <a:pt x="0" y="1294"/>
                  </a:lnTo>
                  <a:lnTo>
                    <a:pt x="0" y="1289"/>
                  </a:lnTo>
                  <a:lnTo>
                    <a:pt x="5" y="1289"/>
                  </a:lnTo>
                  <a:lnTo>
                    <a:pt x="5" y="1289"/>
                  </a:lnTo>
                  <a:lnTo>
                    <a:pt x="10" y="1285"/>
                  </a:lnTo>
                  <a:lnTo>
                    <a:pt x="10" y="1280"/>
                  </a:lnTo>
                  <a:lnTo>
                    <a:pt x="14" y="1276"/>
                  </a:lnTo>
                  <a:lnTo>
                    <a:pt x="19" y="1271"/>
                  </a:lnTo>
                  <a:lnTo>
                    <a:pt x="23" y="1267"/>
                  </a:lnTo>
                  <a:lnTo>
                    <a:pt x="23" y="1267"/>
                  </a:lnTo>
                  <a:lnTo>
                    <a:pt x="23" y="1267"/>
                  </a:lnTo>
                  <a:lnTo>
                    <a:pt x="28" y="1267"/>
                  </a:lnTo>
                  <a:lnTo>
                    <a:pt x="32" y="1262"/>
                  </a:lnTo>
                  <a:lnTo>
                    <a:pt x="37" y="1257"/>
                  </a:lnTo>
                  <a:lnTo>
                    <a:pt x="46" y="1257"/>
                  </a:lnTo>
                  <a:lnTo>
                    <a:pt x="46" y="1253"/>
                  </a:lnTo>
                  <a:lnTo>
                    <a:pt x="46" y="1253"/>
                  </a:lnTo>
                  <a:lnTo>
                    <a:pt x="51" y="1253"/>
                  </a:lnTo>
                  <a:lnTo>
                    <a:pt x="55" y="1248"/>
                  </a:lnTo>
                  <a:lnTo>
                    <a:pt x="60" y="1248"/>
                  </a:lnTo>
                  <a:lnTo>
                    <a:pt x="60" y="1244"/>
                  </a:lnTo>
                  <a:lnTo>
                    <a:pt x="64" y="1244"/>
                  </a:lnTo>
                  <a:lnTo>
                    <a:pt x="69" y="1244"/>
                  </a:lnTo>
                  <a:lnTo>
                    <a:pt x="69" y="1239"/>
                  </a:lnTo>
                  <a:lnTo>
                    <a:pt x="69" y="1235"/>
                  </a:lnTo>
                  <a:lnTo>
                    <a:pt x="64" y="1230"/>
                  </a:lnTo>
                  <a:lnTo>
                    <a:pt x="64" y="1225"/>
                  </a:lnTo>
                  <a:lnTo>
                    <a:pt x="60" y="1225"/>
                  </a:lnTo>
                  <a:lnTo>
                    <a:pt x="55" y="1225"/>
                  </a:lnTo>
                  <a:lnTo>
                    <a:pt x="51" y="1225"/>
                  </a:lnTo>
                  <a:lnTo>
                    <a:pt x="46" y="1221"/>
                  </a:lnTo>
                  <a:lnTo>
                    <a:pt x="37" y="1216"/>
                  </a:lnTo>
                  <a:lnTo>
                    <a:pt x="23" y="1212"/>
                  </a:lnTo>
                  <a:lnTo>
                    <a:pt x="23" y="1207"/>
                  </a:lnTo>
                  <a:lnTo>
                    <a:pt x="14" y="1207"/>
                  </a:lnTo>
                  <a:lnTo>
                    <a:pt x="10" y="1207"/>
                  </a:lnTo>
                  <a:lnTo>
                    <a:pt x="10" y="1203"/>
                  </a:lnTo>
                  <a:lnTo>
                    <a:pt x="5" y="1203"/>
                  </a:lnTo>
                  <a:lnTo>
                    <a:pt x="5" y="1198"/>
                  </a:lnTo>
                  <a:lnTo>
                    <a:pt x="5" y="1193"/>
                  </a:lnTo>
                  <a:lnTo>
                    <a:pt x="10" y="1189"/>
                  </a:lnTo>
                  <a:lnTo>
                    <a:pt x="14" y="1189"/>
                  </a:lnTo>
                  <a:lnTo>
                    <a:pt x="19" y="1184"/>
                  </a:lnTo>
                  <a:lnTo>
                    <a:pt x="23" y="1184"/>
                  </a:lnTo>
                  <a:lnTo>
                    <a:pt x="28" y="1184"/>
                  </a:lnTo>
                  <a:lnTo>
                    <a:pt x="28" y="1180"/>
                  </a:lnTo>
                  <a:lnTo>
                    <a:pt x="32" y="1180"/>
                  </a:lnTo>
                  <a:lnTo>
                    <a:pt x="37" y="1180"/>
                  </a:lnTo>
                  <a:lnTo>
                    <a:pt x="37" y="1180"/>
                  </a:lnTo>
                  <a:lnTo>
                    <a:pt x="42" y="1180"/>
                  </a:lnTo>
                  <a:lnTo>
                    <a:pt x="46" y="1175"/>
                  </a:lnTo>
                  <a:lnTo>
                    <a:pt x="46" y="1171"/>
                  </a:lnTo>
                  <a:lnTo>
                    <a:pt x="51" y="1166"/>
                  </a:lnTo>
                  <a:lnTo>
                    <a:pt x="51" y="1161"/>
                  </a:lnTo>
                  <a:lnTo>
                    <a:pt x="55" y="1157"/>
                  </a:lnTo>
                  <a:lnTo>
                    <a:pt x="55" y="1157"/>
                  </a:lnTo>
                  <a:lnTo>
                    <a:pt x="55" y="1148"/>
                  </a:lnTo>
                  <a:lnTo>
                    <a:pt x="55" y="1143"/>
                  </a:lnTo>
                  <a:lnTo>
                    <a:pt x="55" y="1139"/>
                  </a:lnTo>
                  <a:lnTo>
                    <a:pt x="51" y="1129"/>
                  </a:lnTo>
                  <a:lnTo>
                    <a:pt x="51" y="1125"/>
                  </a:lnTo>
                  <a:lnTo>
                    <a:pt x="51" y="1120"/>
                  </a:lnTo>
                  <a:lnTo>
                    <a:pt x="51" y="1116"/>
                  </a:lnTo>
                  <a:lnTo>
                    <a:pt x="51" y="1116"/>
                  </a:lnTo>
                  <a:lnTo>
                    <a:pt x="55" y="1102"/>
                  </a:lnTo>
                  <a:lnTo>
                    <a:pt x="55" y="1093"/>
                  </a:lnTo>
                  <a:lnTo>
                    <a:pt x="60" y="1088"/>
                  </a:lnTo>
                  <a:lnTo>
                    <a:pt x="64" y="1088"/>
                  </a:lnTo>
                  <a:lnTo>
                    <a:pt x="64" y="1084"/>
                  </a:lnTo>
                  <a:lnTo>
                    <a:pt x="69" y="1079"/>
                  </a:lnTo>
                  <a:lnTo>
                    <a:pt x="69" y="1075"/>
                  </a:lnTo>
                  <a:lnTo>
                    <a:pt x="69" y="1075"/>
                  </a:lnTo>
                  <a:lnTo>
                    <a:pt x="74" y="1070"/>
                  </a:lnTo>
                  <a:lnTo>
                    <a:pt x="74" y="1070"/>
                  </a:lnTo>
                  <a:lnTo>
                    <a:pt x="83" y="1070"/>
                  </a:lnTo>
                  <a:lnTo>
                    <a:pt x="87" y="1065"/>
                  </a:lnTo>
                  <a:lnTo>
                    <a:pt x="92" y="1065"/>
                  </a:lnTo>
                  <a:lnTo>
                    <a:pt x="96" y="1065"/>
                  </a:lnTo>
                  <a:lnTo>
                    <a:pt x="96" y="1061"/>
                  </a:lnTo>
                  <a:lnTo>
                    <a:pt x="101" y="1061"/>
                  </a:lnTo>
                  <a:lnTo>
                    <a:pt x="101" y="1061"/>
                  </a:lnTo>
                  <a:lnTo>
                    <a:pt x="106" y="1061"/>
                  </a:lnTo>
                  <a:lnTo>
                    <a:pt x="115" y="1056"/>
                  </a:lnTo>
                  <a:lnTo>
                    <a:pt x="119" y="1052"/>
                  </a:lnTo>
                  <a:lnTo>
                    <a:pt x="124" y="1052"/>
                  </a:lnTo>
                  <a:lnTo>
                    <a:pt x="128" y="1052"/>
                  </a:lnTo>
                  <a:lnTo>
                    <a:pt x="133" y="1052"/>
                  </a:lnTo>
                  <a:lnTo>
                    <a:pt x="133" y="1047"/>
                  </a:lnTo>
                  <a:lnTo>
                    <a:pt x="138" y="1047"/>
                  </a:lnTo>
                  <a:lnTo>
                    <a:pt x="142" y="1047"/>
                  </a:lnTo>
                  <a:lnTo>
                    <a:pt x="151" y="1047"/>
                  </a:lnTo>
                  <a:lnTo>
                    <a:pt x="151" y="1043"/>
                  </a:lnTo>
                  <a:lnTo>
                    <a:pt x="156" y="1043"/>
                  </a:lnTo>
                  <a:lnTo>
                    <a:pt x="156" y="1043"/>
                  </a:lnTo>
                  <a:lnTo>
                    <a:pt x="156" y="1038"/>
                  </a:lnTo>
                  <a:lnTo>
                    <a:pt x="160" y="1038"/>
                  </a:lnTo>
                  <a:lnTo>
                    <a:pt x="165" y="1038"/>
                  </a:lnTo>
                  <a:lnTo>
                    <a:pt x="170" y="1033"/>
                  </a:lnTo>
                  <a:lnTo>
                    <a:pt x="174" y="1033"/>
                  </a:lnTo>
                  <a:lnTo>
                    <a:pt x="179" y="1029"/>
                  </a:lnTo>
                  <a:lnTo>
                    <a:pt x="183" y="1024"/>
                  </a:lnTo>
                  <a:lnTo>
                    <a:pt x="183" y="1024"/>
                  </a:lnTo>
                  <a:lnTo>
                    <a:pt x="188" y="1020"/>
                  </a:lnTo>
                  <a:lnTo>
                    <a:pt x="192" y="1020"/>
                  </a:lnTo>
                  <a:lnTo>
                    <a:pt x="197" y="1015"/>
                  </a:lnTo>
                  <a:lnTo>
                    <a:pt x="202" y="1006"/>
                  </a:lnTo>
                  <a:lnTo>
                    <a:pt x="206" y="1006"/>
                  </a:lnTo>
                  <a:lnTo>
                    <a:pt x="211" y="1006"/>
                  </a:lnTo>
                  <a:lnTo>
                    <a:pt x="211" y="1001"/>
                  </a:lnTo>
                  <a:lnTo>
                    <a:pt x="215" y="997"/>
                  </a:lnTo>
                  <a:lnTo>
                    <a:pt x="215" y="988"/>
                  </a:lnTo>
                  <a:lnTo>
                    <a:pt x="215" y="983"/>
                  </a:lnTo>
                  <a:lnTo>
                    <a:pt x="215" y="983"/>
                  </a:lnTo>
                  <a:lnTo>
                    <a:pt x="211" y="983"/>
                  </a:lnTo>
                  <a:lnTo>
                    <a:pt x="206" y="969"/>
                  </a:lnTo>
                  <a:lnTo>
                    <a:pt x="206" y="965"/>
                  </a:lnTo>
                  <a:lnTo>
                    <a:pt x="202" y="956"/>
                  </a:lnTo>
                  <a:lnTo>
                    <a:pt x="202" y="951"/>
                  </a:lnTo>
                  <a:lnTo>
                    <a:pt x="202" y="937"/>
                  </a:lnTo>
                  <a:lnTo>
                    <a:pt x="206" y="937"/>
                  </a:lnTo>
                  <a:lnTo>
                    <a:pt x="211" y="928"/>
                  </a:lnTo>
                  <a:lnTo>
                    <a:pt x="215" y="924"/>
                  </a:lnTo>
                  <a:lnTo>
                    <a:pt x="220" y="919"/>
                  </a:lnTo>
                  <a:lnTo>
                    <a:pt x="224" y="915"/>
                  </a:lnTo>
                  <a:lnTo>
                    <a:pt x="229" y="915"/>
                  </a:lnTo>
                  <a:lnTo>
                    <a:pt x="234" y="915"/>
                  </a:lnTo>
                  <a:lnTo>
                    <a:pt x="234" y="910"/>
                  </a:lnTo>
                  <a:lnTo>
                    <a:pt x="238" y="910"/>
                  </a:lnTo>
                  <a:lnTo>
                    <a:pt x="238" y="905"/>
                  </a:lnTo>
                  <a:lnTo>
                    <a:pt x="238" y="901"/>
                  </a:lnTo>
                  <a:lnTo>
                    <a:pt x="243" y="901"/>
                  </a:lnTo>
                  <a:lnTo>
                    <a:pt x="243" y="896"/>
                  </a:lnTo>
                  <a:lnTo>
                    <a:pt x="243" y="896"/>
                  </a:lnTo>
                  <a:lnTo>
                    <a:pt x="243" y="892"/>
                  </a:lnTo>
                  <a:lnTo>
                    <a:pt x="243" y="887"/>
                  </a:lnTo>
                  <a:lnTo>
                    <a:pt x="243" y="883"/>
                  </a:lnTo>
                  <a:lnTo>
                    <a:pt x="243" y="878"/>
                  </a:lnTo>
                  <a:lnTo>
                    <a:pt x="247" y="878"/>
                  </a:lnTo>
                  <a:lnTo>
                    <a:pt x="247" y="873"/>
                  </a:lnTo>
                  <a:lnTo>
                    <a:pt x="247" y="873"/>
                  </a:lnTo>
                  <a:lnTo>
                    <a:pt x="252" y="869"/>
                  </a:lnTo>
                  <a:lnTo>
                    <a:pt x="261" y="860"/>
                  </a:lnTo>
                  <a:lnTo>
                    <a:pt x="261" y="855"/>
                  </a:lnTo>
                  <a:lnTo>
                    <a:pt x="266" y="855"/>
                  </a:lnTo>
                  <a:lnTo>
                    <a:pt x="266" y="851"/>
                  </a:lnTo>
                  <a:lnTo>
                    <a:pt x="270" y="851"/>
                  </a:lnTo>
                  <a:lnTo>
                    <a:pt x="275" y="851"/>
                  </a:lnTo>
                  <a:lnTo>
                    <a:pt x="279" y="851"/>
                  </a:lnTo>
                  <a:lnTo>
                    <a:pt x="284" y="841"/>
                  </a:lnTo>
                  <a:lnTo>
                    <a:pt x="288" y="837"/>
                  </a:lnTo>
                  <a:lnTo>
                    <a:pt x="288" y="832"/>
                  </a:lnTo>
                  <a:lnTo>
                    <a:pt x="288" y="828"/>
                  </a:lnTo>
                  <a:lnTo>
                    <a:pt x="284" y="828"/>
                  </a:lnTo>
                  <a:lnTo>
                    <a:pt x="279" y="819"/>
                  </a:lnTo>
                  <a:lnTo>
                    <a:pt x="279" y="814"/>
                  </a:lnTo>
                  <a:lnTo>
                    <a:pt x="279" y="809"/>
                  </a:lnTo>
                  <a:lnTo>
                    <a:pt x="275" y="809"/>
                  </a:lnTo>
                  <a:lnTo>
                    <a:pt x="275" y="805"/>
                  </a:lnTo>
                  <a:lnTo>
                    <a:pt x="266" y="796"/>
                  </a:lnTo>
                  <a:lnTo>
                    <a:pt x="266" y="791"/>
                  </a:lnTo>
                  <a:lnTo>
                    <a:pt x="261" y="787"/>
                  </a:lnTo>
                  <a:lnTo>
                    <a:pt x="256" y="787"/>
                  </a:lnTo>
                  <a:lnTo>
                    <a:pt x="252" y="787"/>
                  </a:lnTo>
                  <a:lnTo>
                    <a:pt x="247" y="787"/>
                  </a:lnTo>
                  <a:lnTo>
                    <a:pt x="243" y="782"/>
                  </a:lnTo>
                  <a:lnTo>
                    <a:pt x="243" y="782"/>
                  </a:lnTo>
                  <a:lnTo>
                    <a:pt x="243" y="777"/>
                  </a:lnTo>
                  <a:lnTo>
                    <a:pt x="238" y="773"/>
                  </a:lnTo>
                  <a:lnTo>
                    <a:pt x="234" y="768"/>
                  </a:lnTo>
                  <a:lnTo>
                    <a:pt x="234" y="764"/>
                  </a:lnTo>
                  <a:lnTo>
                    <a:pt x="234" y="764"/>
                  </a:lnTo>
                  <a:lnTo>
                    <a:pt x="238" y="755"/>
                  </a:lnTo>
                  <a:lnTo>
                    <a:pt x="238" y="750"/>
                  </a:lnTo>
                  <a:lnTo>
                    <a:pt x="238" y="745"/>
                  </a:lnTo>
                  <a:lnTo>
                    <a:pt x="243" y="741"/>
                  </a:lnTo>
                  <a:lnTo>
                    <a:pt x="243" y="741"/>
                  </a:lnTo>
                  <a:lnTo>
                    <a:pt x="243" y="736"/>
                  </a:lnTo>
                  <a:lnTo>
                    <a:pt x="247" y="736"/>
                  </a:lnTo>
                  <a:lnTo>
                    <a:pt x="247" y="732"/>
                  </a:lnTo>
                  <a:lnTo>
                    <a:pt x="252" y="732"/>
                  </a:lnTo>
                  <a:lnTo>
                    <a:pt x="252" y="727"/>
                  </a:lnTo>
                  <a:lnTo>
                    <a:pt x="256" y="723"/>
                  </a:lnTo>
                  <a:lnTo>
                    <a:pt x="256" y="718"/>
                  </a:lnTo>
                  <a:lnTo>
                    <a:pt x="256" y="713"/>
                  </a:lnTo>
                  <a:lnTo>
                    <a:pt x="256" y="704"/>
                  </a:lnTo>
                  <a:lnTo>
                    <a:pt x="256" y="700"/>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prstClr val="black"/>
                </a:solidFill>
                <a:effectLst/>
                <a:uLnTx/>
                <a:uFillTx/>
                <a:latin typeface="Georgia" panose="02040502050405020303" pitchFamily="18" charset="0"/>
                <a:cs typeface="Arial" panose="020B0604020202020204" pitchFamily="34" charset="0"/>
                <a:sym typeface="Arial"/>
              </a:endParaRPr>
            </a:p>
          </p:txBody>
        </p:sp>
        <p:sp>
          <p:nvSpPr>
            <p:cNvPr id="97" name="Freeform 14">
              <a:extLst>
                <a:ext uri="{FF2B5EF4-FFF2-40B4-BE49-F238E27FC236}">
                  <a16:creationId xmlns:a16="http://schemas.microsoft.com/office/drawing/2014/main" id="{5A4F6A81-6DA3-4873-AAD1-82F4FAB182F1}"/>
                </a:ext>
              </a:extLst>
            </p:cNvPr>
            <p:cNvSpPr>
              <a:spLocks noEditPoints="1"/>
            </p:cNvSpPr>
            <p:nvPr>
              <p:custDataLst>
                <p:tags r:id="rId9"/>
              </p:custDataLst>
            </p:nvPr>
          </p:nvSpPr>
          <p:spPr bwMode="auto">
            <a:xfrm>
              <a:off x="1149399" y="3486605"/>
              <a:ext cx="1245799" cy="916361"/>
            </a:xfrm>
            <a:custGeom>
              <a:avLst/>
              <a:gdLst/>
              <a:ahLst/>
              <a:cxnLst>
                <a:cxn ang="0">
                  <a:pos x="1248" y="69"/>
                </a:cxn>
                <a:cxn ang="0">
                  <a:pos x="1275" y="96"/>
                </a:cxn>
                <a:cxn ang="0">
                  <a:pos x="1307" y="83"/>
                </a:cxn>
                <a:cxn ang="0">
                  <a:pos x="1371" y="83"/>
                </a:cxn>
                <a:cxn ang="0">
                  <a:pos x="1389" y="119"/>
                </a:cxn>
                <a:cxn ang="0">
                  <a:pos x="1426" y="156"/>
                </a:cxn>
                <a:cxn ang="0">
                  <a:pos x="1412" y="179"/>
                </a:cxn>
                <a:cxn ang="0">
                  <a:pos x="1398" y="215"/>
                </a:cxn>
                <a:cxn ang="0">
                  <a:pos x="1362" y="215"/>
                </a:cxn>
                <a:cxn ang="0">
                  <a:pos x="1357" y="229"/>
                </a:cxn>
                <a:cxn ang="0">
                  <a:pos x="1344" y="252"/>
                </a:cxn>
                <a:cxn ang="0">
                  <a:pos x="1298" y="284"/>
                </a:cxn>
                <a:cxn ang="0">
                  <a:pos x="1252" y="339"/>
                </a:cxn>
                <a:cxn ang="0">
                  <a:pos x="1193" y="389"/>
                </a:cxn>
                <a:cxn ang="0">
                  <a:pos x="1188" y="412"/>
                </a:cxn>
                <a:cxn ang="0">
                  <a:pos x="1170" y="444"/>
                </a:cxn>
                <a:cxn ang="0">
                  <a:pos x="1174" y="457"/>
                </a:cxn>
                <a:cxn ang="0">
                  <a:pos x="1202" y="489"/>
                </a:cxn>
                <a:cxn ang="0">
                  <a:pos x="1184" y="535"/>
                </a:cxn>
                <a:cxn ang="0">
                  <a:pos x="1174" y="567"/>
                </a:cxn>
                <a:cxn ang="0">
                  <a:pos x="1165" y="640"/>
                </a:cxn>
                <a:cxn ang="0">
                  <a:pos x="1147" y="672"/>
                </a:cxn>
                <a:cxn ang="0">
                  <a:pos x="1129" y="695"/>
                </a:cxn>
                <a:cxn ang="0">
                  <a:pos x="1115" y="713"/>
                </a:cxn>
                <a:cxn ang="0">
                  <a:pos x="1115" y="718"/>
                </a:cxn>
                <a:cxn ang="0">
                  <a:pos x="1101" y="736"/>
                </a:cxn>
                <a:cxn ang="0">
                  <a:pos x="1088" y="759"/>
                </a:cxn>
                <a:cxn ang="0">
                  <a:pos x="1083" y="787"/>
                </a:cxn>
                <a:cxn ang="0">
                  <a:pos x="1060" y="800"/>
                </a:cxn>
                <a:cxn ang="0">
                  <a:pos x="1051" y="828"/>
                </a:cxn>
                <a:cxn ang="0">
                  <a:pos x="1037" y="819"/>
                </a:cxn>
                <a:cxn ang="0">
                  <a:pos x="1028" y="814"/>
                </a:cxn>
                <a:cxn ang="0">
                  <a:pos x="1005" y="805"/>
                </a:cxn>
                <a:cxn ang="0">
                  <a:pos x="1001" y="796"/>
                </a:cxn>
                <a:cxn ang="0">
                  <a:pos x="982" y="777"/>
                </a:cxn>
                <a:cxn ang="0">
                  <a:pos x="941" y="727"/>
                </a:cxn>
                <a:cxn ang="0">
                  <a:pos x="882" y="649"/>
                </a:cxn>
                <a:cxn ang="0">
                  <a:pos x="818" y="608"/>
                </a:cxn>
                <a:cxn ang="0">
                  <a:pos x="800" y="585"/>
                </a:cxn>
                <a:cxn ang="0">
                  <a:pos x="827" y="572"/>
                </a:cxn>
                <a:cxn ang="0">
                  <a:pos x="818" y="503"/>
                </a:cxn>
                <a:cxn ang="0">
                  <a:pos x="818" y="425"/>
                </a:cxn>
                <a:cxn ang="0">
                  <a:pos x="841" y="371"/>
                </a:cxn>
                <a:cxn ang="0">
                  <a:pos x="877" y="329"/>
                </a:cxn>
                <a:cxn ang="0">
                  <a:pos x="918" y="357"/>
                </a:cxn>
                <a:cxn ang="0">
                  <a:pos x="955" y="329"/>
                </a:cxn>
                <a:cxn ang="0">
                  <a:pos x="978" y="311"/>
                </a:cxn>
                <a:cxn ang="0">
                  <a:pos x="982" y="279"/>
                </a:cxn>
                <a:cxn ang="0">
                  <a:pos x="1010" y="247"/>
                </a:cxn>
                <a:cxn ang="0">
                  <a:pos x="1037" y="220"/>
                </a:cxn>
                <a:cxn ang="0">
                  <a:pos x="1060" y="197"/>
                </a:cxn>
                <a:cxn ang="0">
                  <a:pos x="1037" y="169"/>
                </a:cxn>
                <a:cxn ang="0">
                  <a:pos x="1019" y="133"/>
                </a:cxn>
                <a:cxn ang="0">
                  <a:pos x="1014" y="87"/>
                </a:cxn>
                <a:cxn ang="0">
                  <a:pos x="1056" y="69"/>
                </a:cxn>
                <a:cxn ang="0">
                  <a:pos x="1106" y="64"/>
                </a:cxn>
                <a:cxn ang="0">
                  <a:pos x="1101" y="28"/>
                </a:cxn>
                <a:cxn ang="0">
                  <a:pos x="1097" y="14"/>
                </a:cxn>
                <a:cxn ang="0">
                  <a:pos x="1129" y="5"/>
                </a:cxn>
                <a:cxn ang="0">
                  <a:pos x="1211" y="23"/>
                </a:cxn>
                <a:cxn ang="0">
                  <a:pos x="1252" y="37"/>
                </a:cxn>
                <a:cxn ang="0">
                  <a:pos x="1248" y="69"/>
                </a:cxn>
              </a:cxnLst>
              <a:rect l="0" t="0" r="r" b="b"/>
              <a:pathLst>
                <a:path w="1426" h="905">
                  <a:moveTo>
                    <a:pt x="4" y="905"/>
                  </a:moveTo>
                  <a:lnTo>
                    <a:pt x="4" y="905"/>
                  </a:lnTo>
                  <a:lnTo>
                    <a:pt x="0" y="901"/>
                  </a:lnTo>
                  <a:lnTo>
                    <a:pt x="0" y="901"/>
                  </a:lnTo>
                  <a:lnTo>
                    <a:pt x="0" y="901"/>
                  </a:lnTo>
                  <a:lnTo>
                    <a:pt x="4" y="901"/>
                  </a:lnTo>
                  <a:lnTo>
                    <a:pt x="4" y="905"/>
                  </a:lnTo>
                  <a:lnTo>
                    <a:pt x="4" y="905"/>
                  </a:lnTo>
                  <a:close/>
                  <a:moveTo>
                    <a:pt x="1248" y="69"/>
                  </a:moveTo>
                  <a:lnTo>
                    <a:pt x="1248" y="73"/>
                  </a:lnTo>
                  <a:lnTo>
                    <a:pt x="1252" y="73"/>
                  </a:lnTo>
                  <a:lnTo>
                    <a:pt x="1257" y="83"/>
                  </a:lnTo>
                  <a:lnTo>
                    <a:pt x="1257" y="83"/>
                  </a:lnTo>
                  <a:lnTo>
                    <a:pt x="1261" y="83"/>
                  </a:lnTo>
                  <a:lnTo>
                    <a:pt x="1266" y="87"/>
                  </a:lnTo>
                  <a:lnTo>
                    <a:pt x="1266" y="87"/>
                  </a:lnTo>
                  <a:lnTo>
                    <a:pt x="1275" y="92"/>
                  </a:lnTo>
                  <a:lnTo>
                    <a:pt x="1275" y="96"/>
                  </a:lnTo>
                  <a:lnTo>
                    <a:pt x="1280" y="96"/>
                  </a:lnTo>
                  <a:lnTo>
                    <a:pt x="1280" y="96"/>
                  </a:lnTo>
                  <a:lnTo>
                    <a:pt x="1284" y="96"/>
                  </a:lnTo>
                  <a:lnTo>
                    <a:pt x="1289" y="96"/>
                  </a:lnTo>
                  <a:lnTo>
                    <a:pt x="1293" y="92"/>
                  </a:lnTo>
                  <a:lnTo>
                    <a:pt x="1298" y="87"/>
                  </a:lnTo>
                  <a:lnTo>
                    <a:pt x="1302" y="87"/>
                  </a:lnTo>
                  <a:lnTo>
                    <a:pt x="1302" y="83"/>
                  </a:lnTo>
                  <a:lnTo>
                    <a:pt x="1307" y="83"/>
                  </a:lnTo>
                  <a:lnTo>
                    <a:pt x="1312" y="83"/>
                  </a:lnTo>
                  <a:lnTo>
                    <a:pt x="1321" y="78"/>
                  </a:lnTo>
                  <a:lnTo>
                    <a:pt x="1325" y="78"/>
                  </a:lnTo>
                  <a:lnTo>
                    <a:pt x="1334" y="78"/>
                  </a:lnTo>
                  <a:lnTo>
                    <a:pt x="1348" y="78"/>
                  </a:lnTo>
                  <a:lnTo>
                    <a:pt x="1353" y="78"/>
                  </a:lnTo>
                  <a:lnTo>
                    <a:pt x="1357" y="78"/>
                  </a:lnTo>
                  <a:lnTo>
                    <a:pt x="1366" y="78"/>
                  </a:lnTo>
                  <a:lnTo>
                    <a:pt x="1371" y="83"/>
                  </a:lnTo>
                  <a:lnTo>
                    <a:pt x="1376" y="87"/>
                  </a:lnTo>
                  <a:lnTo>
                    <a:pt x="1380" y="92"/>
                  </a:lnTo>
                  <a:lnTo>
                    <a:pt x="1380" y="96"/>
                  </a:lnTo>
                  <a:lnTo>
                    <a:pt x="1380" y="101"/>
                  </a:lnTo>
                  <a:lnTo>
                    <a:pt x="1385" y="101"/>
                  </a:lnTo>
                  <a:lnTo>
                    <a:pt x="1385" y="105"/>
                  </a:lnTo>
                  <a:lnTo>
                    <a:pt x="1385" y="110"/>
                  </a:lnTo>
                  <a:lnTo>
                    <a:pt x="1389" y="110"/>
                  </a:lnTo>
                  <a:lnTo>
                    <a:pt x="1389" y="119"/>
                  </a:lnTo>
                  <a:lnTo>
                    <a:pt x="1394" y="124"/>
                  </a:lnTo>
                  <a:lnTo>
                    <a:pt x="1398" y="128"/>
                  </a:lnTo>
                  <a:lnTo>
                    <a:pt x="1403" y="133"/>
                  </a:lnTo>
                  <a:lnTo>
                    <a:pt x="1412" y="133"/>
                  </a:lnTo>
                  <a:lnTo>
                    <a:pt x="1417" y="137"/>
                  </a:lnTo>
                  <a:lnTo>
                    <a:pt x="1421" y="142"/>
                  </a:lnTo>
                  <a:lnTo>
                    <a:pt x="1426" y="147"/>
                  </a:lnTo>
                  <a:lnTo>
                    <a:pt x="1426" y="151"/>
                  </a:lnTo>
                  <a:lnTo>
                    <a:pt x="1426" y="156"/>
                  </a:lnTo>
                  <a:lnTo>
                    <a:pt x="1426" y="165"/>
                  </a:lnTo>
                  <a:lnTo>
                    <a:pt x="1417" y="165"/>
                  </a:lnTo>
                  <a:lnTo>
                    <a:pt x="1412" y="165"/>
                  </a:lnTo>
                  <a:lnTo>
                    <a:pt x="1412" y="169"/>
                  </a:lnTo>
                  <a:lnTo>
                    <a:pt x="1412" y="169"/>
                  </a:lnTo>
                  <a:lnTo>
                    <a:pt x="1412" y="174"/>
                  </a:lnTo>
                  <a:lnTo>
                    <a:pt x="1408" y="174"/>
                  </a:lnTo>
                  <a:lnTo>
                    <a:pt x="1412" y="179"/>
                  </a:lnTo>
                  <a:lnTo>
                    <a:pt x="1412" y="179"/>
                  </a:lnTo>
                  <a:lnTo>
                    <a:pt x="1408" y="188"/>
                  </a:lnTo>
                  <a:lnTo>
                    <a:pt x="1408" y="192"/>
                  </a:lnTo>
                  <a:lnTo>
                    <a:pt x="1408" y="192"/>
                  </a:lnTo>
                  <a:lnTo>
                    <a:pt x="1403" y="192"/>
                  </a:lnTo>
                  <a:lnTo>
                    <a:pt x="1403" y="192"/>
                  </a:lnTo>
                  <a:lnTo>
                    <a:pt x="1403" y="197"/>
                  </a:lnTo>
                  <a:lnTo>
                    <a:pt x="1403" y="197"/>
                  </a:lnTo>
                  <a:lnTo>
                    <a:pt x="1398" y="215"/>
                  </a:lnTo>
                  <a:lnTo>
                    <a:pt x="1398" y="215"/>
                  </a:lnTo>
                  <a:lnTo>
                    <a:pt x="1385" y="211"/>
                  </a:lnTo>
                  <a:lnTo>
                    <a:pt x="1380" y="206"/>
                  </a:lnTo>
                  <a:lnTo>
                    <a:pt x="1380" y="206"/>
                  </a:lnTo>
                  <a:lnTo>
                    <a:pt x="1376" y="206"/>
                  </a:lnTo>
                  <a:lnTo>
                    <a:pt x="1371" y="201"/>
                  </a:lnTo>
                  <a:lnTo>
                    <a:pt x="1366" y="201"/>
                  </a:lnTo>
                  <a:lnTo>
                    <a:pt x="1366" y="206"/>
                  </a:lnTo>
                  <a:lnTo>
                    <a:pt x="1366" y="211"/>
                  </a:lnTo>
                  <a:lnTo>
                    <a:pt x="1362" y="215"/>
                  </a:lnTo>
                  <a:lnTo>
                    <a:pt x="1366" y="215"/>
                  </a:lnTo>
                  <a:lnTo>
                    <a:pt x="1366" y="220"/>
                  </a:lnTo>
                  <a:lnTo>
                    <a:pt x="1366" y="220"/>
                  </a:lnTo>
                  <a:lnTo>
                    <a:pt x="1366" y="224"/>
                  </a:lnTo>
                  <a:lnTo>
                    <a:pt x="1362" y="224"/>
                  </a:lnTo>
                  <a:lnTo>
                    <a:pt x="1362" y="224"/>
                  </a:lnTo>
                  <a:lnTo>
                    <a:pt x="1362" y="229"/>
                  </a:lnTo>
                  <a:lnTo>
                    <a:pt x="1362" y="229"/>
                  </a:lnTo>
                  <a:lnTo>
                    <a:pt x="1357" y="229"/>
                  </a:lnTo>
                  <a:lnTo>
                    <a:pt x="1357" y="229"/>
                  </a:lnTo>
                  <a:lnTo>
                    <a:pt x="1362" y="229"/>
                  </a:lnTo>
                  <a:lnTo>
                    <a:pt x="1362" y="229"/>
                  </a:lnTo>
                  <a:lnTo>
                    <a:pt x="1357" y="233"/>
                  </a:lnTo>
                  <a:lnTo>
                    <a:pt x="1357" y="233"/>
                  </a:lnTo>
                  <a:lnTo>
                    <a:pt x="1353" y="238"/>
                  </a:lnTo>
                  <a:lnTo>
                    <a:pt x="1348" y="247"/>
                  </a:lnTo>
                  <a:lnTo>
                    <a:pt x="1344" y="252"/>
                  </a:lnTo>
                  <a:lnTo>
                    <a:pt x="1344" y="252"/>
                  </a:lnTo>
                  <a:lnTo>
                    <a:pt x="1334" y="265"/>
                  </a:lnTo>
                  <a:lnTo>
                    <a:pt x="1334" y="265"/>
                  </a:lnTo>
                  <a:lnTo>
                    <a:pt x="1330" y="265"/>
                  </a:lnTo>
                  <a:lnTo>
                    <a:pt x="1325" y="270"/>
                  </a:lnTo>
                  <a:lnTo>
                    <a:pt x="1321" y="270"/>
                  </a:lnTo>
                  <a:lnTo>
                    <a:pt x="1316" y="270"/>
                  </a:lnTo>
                  <a:lnTo>
                    <a:pt x="1307" y="279"/>
                  </a:lnTo>
                  <a:lnTo>
                    <a:pt x="1302" y="284"/>
                  </a:lnTo>
                  <a:lnTo>
                    <a:pt x="1298" y="284"/>
                  </a:lnTo>
                  <a:lnTo>
                    <a:pt x="1298" y="293"/>
                  </a:lnTo>
                  <a:lnTo>
                    <a:pt x="1293" y="302"/>
                  </a:lnTo>
                  <a:lnTo>
                    <a:pt x="1289" y="307"/>
                  </a:lnTo>
                  <a:lnTo>
                    <a:pt x="1275" y="316"/>
                  </a:lnTo>
                  <a:lnTo>
                    <a:pt x="1275" y="316"/>
                  </a:lnTo>
                  <a:lnTo>
                    <a:pt x="1266" y="329"/>
                  </a:lnTo>
                  <a:lnTo>
                    <a:pt x="1261" y="329"/>
                  </a:lnTo>
                  <a:lnTo>
                    <a:pt x="1252" y="339"/>
                  </a:lnTo>
                  <a:lnTo>
                    <a:pt x="1252" y="339"/>
                  </a:lnTo>
                  <a:lnTo>
                    <a:pt x="1238" y="352"/>
                  </a:lnTo>
                  <a:lnTo>
                    <a:pt x="1234" y="352"/>
                  </a:lnTo>
                  <a:lnTo>
                    <a:pt x="1229" y="357"/>
                  </a:lnTo>
                  <a:lnTo>
                    <a:pt x="1229" y="357"/>
                  </a:lnTo>
                  <a:lnTo>
                    <a:pt x="1225" y="361"/>
                  </a:lnTo>
                  <a:lnTo>
                    <a:pt x="1211" y="371"/>
                  </a:lnTo>
                  <a:lnTo>
                    <a:pt x="1202" y="375"/>
                  </a:lnTo>
                  <a:lnTo>
                    <a:pt x="1202" y="375"/>
                  </a:lnTo>
                  <a:lnTo>
                    <a:pt x="1193" y="389"/>
                  </a:lnTo>
                  <a:lnTo>
                    <a:pt x="1184" y="393"/>
                  </a:lnTo>
                  <a:lnTo>
                    <a:pt x="1179" y="398"/>
                  </a:lnTo>
                  <a:lnTo>
                    <a:pt x="1174" y="403"/>
                  </a:lnTo>
                  <a:lnTo>
                    <a:pt x="1174" y="403"/>
                  </a:lnTo>
                  <a:lnTo>
                    <a:pt x="1179" y="407"/>
                  </a:lnTo>
                  <a:lnTo>
                    <a:pt x="1179" y="407"/>
                  </a:lnTo>
                  <a:lnTo>
                    <a:pt x="1184" y="412"/>
                  </a:lnTo>
                  <a:lnTo>
                    <a:pt x="1188" y="412"/>
                  </a:lnTo>
                  <a:lnTo>
                    <a:pt x="1188" y="412"/>
                  </a:lnTo>
                  <a:lnTo>
                    <a:pt x="1188" y="416"/>
                  </a:lnTo>
                  <a:lnTo>
                    <a:pt x="1184" y="416"/>
                  </a:lnTo>
                  <a:lnTo>
                    <a:pt x="1179" y="421"/>
                  </a:lnTo>
                  <a:lnTo>
                    <a:pt x="1179" y="421"/>
                  </a:lnTo>
                  <a:lnTo>
                    <a:pt x="1179" y="425"/>
                  </a:lnTo>
                  <a:lnTo>
                    <a:pt x="1184" y="425"/>
                  </a:lnTo>
                  <a:lnTo>
                    <a:pt x="1184" y="430"/>
                  </a:lnTo>
                  <a:lnTo>
                    <a:pt x="1179" y="435"/>
                  </a:lnTo>
                  <a:lnTo>
                    <a:pt x="1170" y="444"/>
                  </a:lnTo>
                  <a:lnTo>
                    <a:pt x="1170" y="444"/>
                  </a:lnTo>
                  <a:lnTo>
                    <a:pt x="1165" y="439"/>
                  </a:lnTo>
                  <a:lnTo>
                    <a:pt x="1165" y="444"/>
                  </a:lnTo>
                  <a:lnTo>
                    <a:pt x="1165" y="444"/>
                  </a:lnTo>
                  <a:lnTo>
                    <a:pt x="1170" y="448"/>
                  </a:lnTo>
                  <a:lnTo>
                    <a:pt x="1170" y="453"/>
                  </a:lnTo>
                  <a:lnTo>
                    <a:pt x="1170" y="453"/>
                  </a:lnTo>
                  <a:lnTo>
                    <a:pt x="1174" y="457"/>
                  </a:lnTo>
                  <a:lnTo>
                    <a:pt x="1174" y="457"/>
                  </a:lnTo>
                  <a:lnTo>
                    <a:pt x="1179" y="462"/>
                  </a:lnTo>
                  <a:lnTo>
                    <a:pt x="1184" y="467"/>
                  </a:lnTo>
                  <a:lnTo>
                    <a:pt x="1184" y="471"/>
                  </a:lnTo>
                  <a:lnTo>
                    <a:pt x="1188" y="476"/>
                  </a:lnTo>
                  <a:lnTo>
                    <a:pt x="1193" y="476"/>
                  </a:lnTo>
                  <a:lnTo>
                    <a:pt x="1197" y="480"/>
                  </a:lnTo>
                  <a:lnTo>
                    <a:pt x="1197" y="480"/>
                  </a:lnTo>
                  <a:lnTo>
                    <a:pt x="1197" y="485"/>
                  </a:lnTo>
                  <a:lnTo>
                    <a:pt x="1202" y="489"/>
                  </a:lnTo>
                  <a:lnTo>
                    <a:pt x="1202" y="494"/>
                  </a:lnTo>
                  <a:lnTo>
                    <a:pt x="1202" y="499"/>
                  </a:lnTo>
                  <a:lnTo>
                    <a:pt x="1197" y="503"/>
                  </a:lnTo>
                  <a:lnTo>
                    <a:pt x="1193" y="508"/>
                  </a:lnTo>
                  <a:lnTo>
                    <a:pt x="1188" y="517"/>
                  </a:lnTo>
                  <a:lnTo>
                    <a:pt x="1188" y="521"/>
                  </a:lnTo>
                  <a:lnTo>
                    <a:pt x="1184" y="521"/>
                  </a:lnTo>
                  <a:lnTo>
                    <a:pt x="1184" y="526"/>
                  </a:lnTo>
                  <a:lnTo>
                    <a:pt x="1184" y="535"/>
                  </a:lnTo>
                  <a:lnTo>
                    <a:pt x="1184" y="535"/>
                  </a:lnTo>
                  <a:lnTo>
                    <a:pt x="1179" y="540"/>
                  </a:lnTo>
                  <a:lnTo>
                    <a:pt x="1174" y="544"/>
                  </a:lnTo>
                  <a:lnTo>
                    <a:pt x="1174" y="549"/>
                  </a:lnTo>
                  <a:lnTo>
                    <a:pt x="1174" y="553"/>
                  </a:lnTo>
                  <a:lnTo>
                    <a:pt x="1174" y="558"/>
                  </a:lnTo>
                  <a:lnTo>
                    <a:pt x="1174" y="558"/>
                  </a:lnTo>
                  <a:lnTo>
                    <a:pt x="1174" y="563"/>
                  </a:lnTo>
                  <a:lnTo>
                    <a:pt x="1174" y="567"/>
                  </a:lnTo>
                  <a:lnTo>
                    <a:pt x="1174" y="572"/>
                  </a:lnTo>
                  <a:lnTo>
                    <a:pt x="1170" y="585"/>
                  </a:lnTo>
                  <a:lnTo>
                    <a:pt x="1170" y="595"/>
                  </a:lnTo>
                  <a:lnTo>
                    <a:pt x="1165" y="604"/>
                  </a:lnTo>
                  <a:lnTo>
                    <a:pt x="1165" y="613"/>
                  </a:lnTo>
                  <a:lnTo>
                    <a:pt x="1165" y="622"/>
                  </a:lnTo>
                  <a:lnTo>
                    <a:pt x="1165" y="627"/>
                  </a:lnTo>
                  <a:lnTo>
                    <a:pt x="1165" y="631"/>
                  </a:lnTo>
                  <a:lnTo>
                    <a:pt x="1165" y="640"/>
                  </a:lnTo>
                  <a:lnTo>
                    <a:pt x="1165" y="645"/>
                  </a:lnTo>
                  <a:lnTo>
                    <a:pt x="1161" y="649"/>
                  </a:lnTo>
                  <a:lnTo>
                    <a:pt x="1161" y="654"/>
                  </a:lnTo>
                  <a:lnTo>
                    <a:pt x="1156" y="659"/>
                  </a:lnTo>
                  <a:lnTo>
                    <a:pt x="1156" y="659"/>
                  </a:lnTo>
                  <a:lnTo>
                    <a:pt x="1156" y="659"/>
                  </a:lnTo>
                  <a:lnTo>
                    <a:pt x="1156" y="663"/>
                  </a:lnTo>
                  <a:lnTo>
                    <a:pt x="1152" y="668"/>
                  </a:lnTo>
                  <a:lnTo>
                    <a:pt x="1147" y="672"/>
                  </a:lnTo>
                  <a:lnTo>
                    <a:pt x="1138" y="672"/>
                  </a:lnTo>
                  <a:lnTo>
                    <a:pt x="1138" y="677"/>
                  </a:lnTo>
                  <a:lnTo>
                    <a:pt x="1138" y="677"/>
                  </a:lnTo>
                  <a:lnTo>
                    <a:pt x="1138" y="681"/>
                  </a:lnTo>
                  <a:lnTo>
                    <a:pt x="1138" y="681"/>
                  </a:lnTo>
                  <a:lnTo>
                    <a:pt x="1133" y="681"/>
                  </a:lnTo>
                  <a:lnTo>
                    <a:pt x="1129" y="686"/>
                  </a:lnTo>
                  <a:lnTo>
                    <a:pt x="1129" y="691"/>
                  </a:lnTo>
                  <a:lnTo>
                    <a:pt x="1129" y="695"/>
                  </a:lnTo>
                  <a:lnTo>
                    <a:pt x="1124" y="695"/>
                  </a:lnTo>
                  <a:lnTo>
                    <a:pt x="1129" y="700"/>
                  </a:lnTo>
                  <a:lnTo>
                    <a:pt x="1124" y="700"/>
                  </a:lnTo>
                  <a:lnTo>
                    <a:pt x="1124" y="700"/>
                  </a:lnTo>
                  <a:lnTo>
                    <a:pt x="1124" y="704"/>
                  </a:lnTo>
                  <a:lnTo>
                    <a:pt x="1124" y="704"/>
                  </a:lnTo>
                  <a:lnTo>
                    <a:pt x="1124" y="704"/>
                  </a:lnTo>
                  <a:lnTo>
                    <a:pt x="1120" y="704"/>
                  </a:lnTo>
                  <a:lnTo>
                    <a:pt x="1115" y="713"/>
                  </a:lnTo>
                  <a:lnTo>
                    <a:pt x="1115" y="713"/>
                  </a:lnTo>
                  <a:lnTo>
                    <a:pt x="1115" y="713"/>
                  </a:lnTo>
                  <a:lnTo>
                    <a:pt x="1120" y="713"/>
                  </a:lnTo>
                  <a:lnTo>
                    <a:pt x="1124" y="718"/>
                  </a:lnTo>
                  <a:lnTo>
                    <a:pt x="1124" y="718"/>
                  </a:lnTo>
                  <a:lnTo>
                    <a:pt x="1120" y="718"/>
                  </a:lnTo>
                  <a:lnTo>
                    <a:pt x="1120" y="718"/>
                  </a:lnTo>
                  <a:lnTo>
                    <a:pt x="1120" y="718"/>
                  </a:lnTo>
                  <a:lnTo>
                    <a:pt x="1115" y="718"/>
                  </a:lnTo>
                  <a:lnTo>
                    <a:pt x="1115" y="723"/>
                  </a:lnTo>
                  <a:lnTo>
                    <a:pt x="1115" y="723"/>
                  </a:lnTo>
                  <a:lnTo>
                    <a:pt x="1110" y="727"/>
                  </a:lnTo>
                  <a:lnTo>
                    <a:pt x="1110" y="727"/>
                  </a:lnTo>
                  <a:lnTo>
                    <a:pt x="1110" y="732"/>
                  </a:lnTo>
                  <a:lnTo>
                    <a:pt x="1110" y="732"/>
                  </a:lnTo>
                  <a:lnTo>
                    <a:pt x="1106" y="736"/>
                  </a:lnTo>
                  <a:lnTo>
                    <a:pt x="1106" y="732"/>
                  </a:lnTo>
                  <a:lnTo>
                    <a:pt x="1101" y="736"/>
                  </a:lnTo>
                  <a:lnTo>
                    <a:pt x="1101" y="736"/>
                  </a:lnTo>
                  <a:lnTo>
                    <a:pt x="1106" y="741"/>
                  </a:lnTo>
                  <a:lnTo>
                    <a:pt x="1106" y="745"/>
                  </a:lnTo>
                  <a:lnTo>
                    <a:pt x="1101" y="745"/>
                  </a:lnTo>
                  <a:lnTo>
                    <a:pt x="1097" y="745"/>
                  </a:lnTo>
                  <a:lnTo>
                    <a:pt x="1092" y="750"/>
                  </a:lnTo>
                  <a:lnTo>
                    <a:pt x="1088" y="755"/>
                  </a:lnTo>
                  <a:lnTo>
                    <a:pt x="1088" y="755"/>
                  </a:lnTo>
                  <a:lnTo>
                    <a:pt x="1088" y="759"/>
                  </a:lnTo>
                  <a:lnTo>
                    <a:pt x="1088" y="759"/>
                  </a:lnTo>
                  <a:lnTo>
                    <a:pt x="1088" y="764"/>
                  </a:lnTo>
                  <a:lnTo>
                    <a:pt x="1088" y="764"/>
                  </a:lnTo>
                  <a:lnTo>
                    <a:pt x="1092" y="768"/>
                  </a:lnTo>
                  <a:lnTo>
                    <a:pt x="1097" y="773"/>
                  </a:lnTo>
                  <a:lnTo>
                    <a:pt x="1097" y="777"/>
                  </a:lnTo>
                  <a:lnTo>
                    <a:pt x="1092" y="782"/>
                  </a:lnTo>
                  <a:lnTo>
                    <a:pt x="1083" y="787"/>
                  </a:lnTo>
                  <a:lnTo>
                    <a:pt x="1083" y="787"/>
                  </a:lnTo>
                  <a:lnTo>
                    <a:pt x="1078" y="787"/>
                  </a:lnTo>
                  <a:lnTo>
                    <a:pt x="1074" y="787"/>
                  </a:lnTo>
                  <a:lnTo>
                    <a:pt x="1074" y="782"/>
                  </a:lnTo>
                  <a:lnTo>
                    <a:pt x="1069" y="782"/>
                  </a:lnTo>
                  <a:lnTo>
                    <a:pt x="1069" y="782"/>
                  </a:lnTo>
                  <a:lnTo>
                    <a:pt x="1065" y="787"/>
                  </a:lnTo>
                  <a:lnTo>
                    <a:pt x="1065" y="787"/>
                  </a:lnTo>
                  <a:lnTo>
                    <a:pt x="1060" y="791"/>
                  </a:lnTo>
                  <a:lnTo>
                    <a:pt x="1060" y="800"/>
                  </a:lnTo>
                  <a:lnTo>
                    <a:pt x="1056" y="809"/>
                  </a:lnTo>
                  <a:lnTo>
                    <a:pt x="1056" y="819"/>
                  </a:lnTo>
                  <a:lnTo>
                    <a:pt x="1060" y="819"/>
                  </a:lnTo>
                  <a:lnTo>
                    <a:pt x="1060" y="823"/>
                  </a:lnTo>
                  <a:lnTo>
                    <a:pt x="1060" y="823"/>
                  </a:lnTo>
                  <a:lnTo>
                    <a:pt x="1060" y="823"/>
                  </a:lnTo>
                  <a:lnTo>
                    <a:pt x="1056" y="823"/>
                  </a:lnTo>
                  <a:lnTo>
                    <a:pt x="1051" y="823"/>
                  </a:lnTo>
                  <a:lnTo>
                    <a:pt x="1051" y="828"/>
                  </a:lnTo>
                  <a:lnTo>
                    <a:pt x="1046" y="828"/>
                  </a:lnTo>
                  <a:lnTo>
                    <a:pt x="1042" y="832"/>
                  </a:lnTo>
                  <a:lnTo>
                    <a:pt x="1042" y="832"/>
                  </a:lnTo>
                  <a:lnTo>
                    <a:pt x="1037" y="828"/>
                  </a:lnTo>
                  <a:lnTo>
                    <a:pt x="1033" y="828"/>
                  </a:lnTo>
                  <a:lnTo>
                    <a:pt x="1033" y="823"/>
                  </a:lnTo>
                  <a:lnTo>
                    <a:pt x="1033" y="819"/>
                  </a:lnTo>
                  <a:lnTo>
                    <a:pt x="1037" y="814"/>
                  </a:lnTo>
                  <a:lnTo>
                    <a:pt x="1037" y="819"/>
                  </a:lnTo>
                  <a:lnTo>
                    <a:pt x="1037" y="814"/>
                  </a:lnTo>
                  <a:lnTo>
                    <a:pt x="1037" y="814"/>
                  </a:lnTo>
                  <a:lnTo>
                    <a:pt x="1037" y="809"/>
                  </a:lnTo>
                  <a:lnTo>
                    <a:pt x="1033" y="805"/>
                  </a:lnTo>
                  <a:lnTo>
                    <a:pt x="1033" y="805"/>
                  </a:lnTo>
                  <a:lnTo>
                    <a:pt x="1033" y="809"/>
                  </a:lnTo>
                  <a:lnTo>
                    <a:pt x="1033" y="809"/>
                  </a:lnTo>
                  <a:lnTo>
                    <a:pt x="1028" y="814"/>
                  </a:lnTo>
                  <a:lnTo>
                    <a:pt x="1028" y="814"/>
                  </a:lnTo>
                  <a:lnTo>
                    <a:pt x="1024" y="814"/>
                  </a:lnTo>
                  <a:lnTo>
                    <a:pt x="1024" y="814"/>
                  </a:lnTo>
                  <a:lnTo>
                    <a:pt x="1019" y="819"/>
                  </a:lnTo>
                  <a:lnTo>
                    <a:pt x="1014" y="819"/>
                  </a:lnTo>
                  <a:lnTo>
                    <a:pt x="1014" y="814"/>
                  </a:lnTo>
                  <a:lnTo>
                    <a:pt x="1014" y="814"/>
                  </a:lnTo>
                  <a:lnTo>
                    <a:pt x="1010" y="814"/>
                  </a:lnTo>
                  <a:lnTo>
                    <a:pt x="1010" y="814"/>
                  </a:lnTo>
                  <a:lnTo>
                    <a:pt x="1005" y="805"/>
                  </a:lnTo>
                  <a:lnTo>
                    <a:pt x="1005" y="805"/>
                  </a:lnTo>
                  <a:lnTo>
                    <a:pt x="1010" y="800"/>
                  </a:lnTo>
                  <a:lnTo>
                    <a:pt x="1010" y="800"/>
                  </a:lnTo>
                  <a:lnTo>
                    <a:pt x="1010" y="800"/>
                  </a:lnTo>
                  <a:lnTo>
                    <a:pt x="1010" y="796"/>
                  </a:lnTo>
                  <a:lnTo>
                    <a:pt x="1010" y="796"/>
                  </a:lnTo>
                  <a:lnTo>
                    <a:pt x="1005" y="796"/>
                  </a:lnTo>
                  <a:lnTo>
                    <a:pt x="1001" y="796"/>
                  </a:lnTo>
                  <a:lnTo>
                    <a:pt x="1001" y="796"/>
                  </a:lnTo>
                  <a:lnTo>
                    <a:pt x="996" y="796"/>
                  </a:lnTo>
                  <a:lnTo>
                    <a:pt x="996" y="791"/>
                  </a:lnTo>
                  <a:lnTo>
                    <a:pt x="987" y="791"/>
                  </a:lnTo>
                  <a:lnTo>
                    <a:pt x="982" y="787"/>
                  </a:lnTo>
                  <a:lnTo>
                    <a:pt x="982" y="782"/>
                  </a:lnTo>
                  <a:lnTo>
                    <a:pt x="987" y="777"/>
                  </a:lnTo>
                  <a:lnTo>
                    <a:pt x="987" y="777"/>
                  </a:lnTo>
                  <a:lnTo>
                    <a:pt x="982" y="777"/>
                  </a:lnTo>
                  <a:lnTo>
                    <a:pt x="982" y="777"/>
                  </a:lnTo>
                  <a:lnTo>
                    <a:pt x="973" y="773"/>
                  </a:lnTo>
                  <a:lnTo>
                    <a:pt x="973" y="768"/>
                  </a:lnTo>
                  <a:lnTo>
                    <a:pt x="969" y="768"/>
                  </a:lnTo>
                  <a:lnTo>
                    <a:pt x="969" y="768"/>
                  </a:lnTo>
                  <a:lnTo>
                    <a:pt x="969" y="768"/>
                  </a:lnTo>
                  <a:lnTo>
                    <a:pt x="964" y="768"/>
                  </a:lnTo>
                  <a:lnTo>
                    <a:pt x="960" y="755"/>
                  </a:lnTo>
                  <a:lnTo>
                    <a:pt x="941" y="732"/>
                  </a:lnTo>
                  <a:lnTo>
                    <a:pt x="941" y="727"/>
                  </a:lnTo>
                  <a:lnTo>
                    <a:pt x="928" y="723"/>
                  </a:lnTo>
                  <a:lnTo>
                    <a:pt x="918" y="718"/>
                  </a:lnTo>
                  <a:lnTo>
                    <a:pt x="914" y="718"/>
                  </a:lnTo>
                  <a:lnTo>
                    <a:pt x="905" y="704"/>
                  </a:lnTo>
                  <a:lnTo>
                    <a:pt x="891" y="686"/>
                  </a:lnTo>
                  <a:lnTo>
                    <a:pt x="882" y="672"/>
                  </a:lnTo>
                  <a:lnTo>
                    <a:pt x="882" y="659"/>
                  </a:lnTo>
                  <a:lnTo>
                    <a:pt x="882" y="654"/>
                  </a:lnTo>
                  <a:lnTo>
                    <a:pt x="882" y="649"/>
                  </a:lnTo>
                  <a:lnTo>
                    <a:pt x="886" y="636"/>
                  </a:lnTo>
                  <a:lnTo>
                    <a:pt x="886" y="631"/>
                  </a:lnTo>
                  <a:lnTo>
                    <a:pt x="882" y="617"/>
                  </a:lnTo>
                  <a:lnTo>
                    <a:pt x="873" y="613"/>
                  </a:lnTo>
                  <a:lnTo>
                    <a:pt x="859" y="613"/>
                  </a:lnTo>
                  <a:lnTo>
                    <a:pt x="850" y="613"/>
                  </a:lnTo>
                  <a:lnTo>
                    <a:pt x="841" y="613"/>
                  </a:lnTo>
                  <a:lnTo>
                    <a:pt x="832" y="613"/>
                  </a:lnTo>
                  <a:lnTo>
                    <a:pt x="818" y="608"/>
                  </a:lnTo>
                  <a:lnTo>
                    <a:pt x="818" y="604"/>
                  </a:lnTo>
                  <a:lnTo>
                    <a:pt x="809" y="599"/>
                  </a:lnTo>
                  <a:lnTo>
                    <a:pt x="800" y="595"/>
                  </a:lnTo>
                  <a:lnTo>
                    <a:pt x="795" y="595"/>
                  </a:lnTo>
                  <a:lnTo>
                    <a:pt x="790" y="595"/>
                  </a:lnTo>
                  <a:lnTo>
                    <a:pt x="790" y="590"/>
                  </a:lnTo>
                  <a:lnTo>
                    <a:pt x="790" y="585"/>
                  </a:lnTo>
                  <a:lnTo>
                    <a:pt x="795" y="585"/>
                  </a:lnTo>
                  <a:lnTo>
                    <a:pt x="800" y="585"/>
                  </a:lnTo>
                  <a:lnTo>
                    <a:pt x="804" y="585"/>
                  </a:lnTo>
                  <a:lnTo>
                    <a:pt x="804" y="576"/>
                  </a:lnTo>
                  <a:lnTo>
                    <a:pt x="800" y="572"/>
                  </a:lnTo>
                  <a:lnTo>
                    <a:pt x="795" y="572"/>
                  </a:lnTo>
                  <a:lnTo>
                    <a:pt x="804" y="567"/>
                  </a:lnTo>
                  <a:lnTo>
                    <a:pt x="809" y="563"/>
                  </a:lnTo>
                  <a:lnTo>
                    <a:pt x="813" y="567"/>
                  </a:lnTo>
                  <a:lnTo>
                    <a:pt x="818" y="572"/>
                  </a:lnTo>
                  <a:lnTo>
                    <a:pt x="827" y="572"/>
                  </a:lnTo>
                  <a:lnTo>
                    <a:pt x="836" y="563"/>
                  </a:lnTo>
                  <a:lnTo>
                    <a:pt x="832" y="553"/>
                  </a:lnTo>
                  <a:lnTo>
                    <a:pt x="827" y="549"/>
                  </a:lnTo>
                  <a:lnTo>
                    <a:pt x="827" y="540"/>
                  </a:lnTo>
                  <a:lnTo>
                    <a:pt x="818" y="526"/>
                  </a:lnTo>
                  <a:lnTo>
                    <a:pt x="818" y="517"/>
                  </a:lnTo>
                  <a:lnTo>
                    <a:pt x="818" y="512"/>
                  </a:lnTo>
                  <a:lnTo>
                    <a:pt x="818" y="508"/>
                  </a:lnTo>
                  <a:lnTo>
                    <a:pt x="818" y="503"/>
                  </a:lnTo>
                  <a:lnTo>
                    <a:pt x="818" y="499"/>
                  </a:lnTo>
                  <a:lnTo>
                    <a:pt x="813" y="485"/>
                  </a:lnTo>
                  <a:lnTo>
                    <a:pt x="809" y="467"/>
                  </a:lnTo>
                  <a:lnTo>
                    <a:pt x="809" y="457"/>
                  </a:lnTo>
                  <a:lnTo>
                    <a:pt x="809" y="453"/>
                  </a:lnTo>
                  <a:lnTo>
                    <a:pt x="804" y="444"/>
                  </a:lnTo>
                  <a:lnTo>
                    <a:pt x="809" y="439"/>
                  </a:lnTo>
                  <a:lnTo>
                    <a:pt x="818" y="430"/>
                  </a:lnTo>
                  <a:lnTo>
                    <a:pt x="818" y="425"/>
                  </a:lnTo>
                  <a:lnTo>
                    <a:pt x="818" y="421"/>
                  </a:lnTo>
                  <a:lnTo>
                    <a:pt x="822" y="421"/>
                  </a:lnTo>
                  <a:lnTo>
                    <a:pt x="832" y="416"/>
                  </a:lnTo>
                  <a:lnTo>
                    <a:pt x="827" y="403"/>
                  </a:lnTo>
                  <a:lnTo>
                    <a:pt x="822" y="398"/>
                  </a:lnTo>
                  <a:lnTo>
                    <a:pt x="822" y="393"/>
                  </a:lnTo>
                  <a:lnTo>
                    <a:pt x="832" y="393"/>
                  </a:lnTo>
                  <a:lnTo>
                    <a:pt x="841" y="384"/>
                  </a:lnTo>
                  <a:lnTo>
                    <a:pt x="841" y="371"/>
                  </a:lnTo>
                  <a:lnTo>
                    <a:pt x="845" y="357"/>
                  </a:lnTo>
                  <a:lnTo>
                    <a:pt x="845" y="348"/>
                  </a:lnTo>
                  <a:lnTo>
                    <a:pt x="841" y="343"/>
                  </a:lnTo>
                  <a:lnTo>
                    <a:pt x="841" y="334"/>
                  </a:lnTo>
                  <a:lnTo>
                    <a:pt x="841" y="329"/>
                  </a:lnTo>
                  <a:lnTo>
                    <a:pt x="850" y="329"/>
                  </a:lnTo>
                  <a:lnTo>
                    <a:pt x="868" y="329"/>
                  </a:lnTo>
                  <a:lnTo>
                    <a:pt x="873" y="334"/>
                  </a:lnTo>
                  <a:lnTo>
                    <a:pt x="877" y="329"/>
                  </a:lnTo>
                  <a:lnTo>
                    <a:pt x="882" y="329"/>
                  </a:lnTo>
                  <a:lnTo>
                    <a:pt x="886" y="329"/>
                  </a:lnTo>
                  <a:lnTo>
                    <a:pt x="886" y="334"/>
                  </a:lnTo>
                  <a:lnTo>
                    <a:pt x="891" y="334"/>
                  </a:lnTo>
                  <a:lnTo>
                    <a:pt x="896" y="339"/>
                  </a:lnTo>
                  <a:lnTo>
                    <a:pt x="900" y="348"/>
                  </a:lnTo>
                  <a:lnTo>
                    <a:pt x="905" y="352"/>
                  </a:lnTo>
                  <a:lnTo>
                    <a:pt x="909" y="357"/>
                  </a:lnTo>
                  <a:lnTo>
                    <a:pt x="918" y="357"/>
                  </a:lnTo>
                  <a:lnTo>
                    <a:pt x="918" y="352"/>
                  </a:lnTo>
                  <a:lnTo>
                    <a:pt x="923" y="352"/>
                  </a:lnTo>
                  <a:lnTo>
                    <a:pt x="928" y="352"/>
                  </a:lnTo>
                  <a:lnTo>
                    <a:pt x="928" y="348"/>
                  </a:lnTo>
                  <a:lnTo>
                    <a:pt x="932" y="343"/>
                  </a:lnTo>
                  <a:lnTo>
                    <a:pt x="946" y="334"/>
                  </a:lnTo>
                  <a:lnTo>
                    <a:pt x="950" y="329"/>
                  </a:lnTo>
                  <a:lnTo>
                    <a:pt x="950" y="329"/>
                  </a:lnTo>
                  <a:lnTo>
                    <a:pt x="955" y="329"/>
                  </a:lnTo>
                  <a:lnTo>
                    <a:pt x="960" y="329"/>
                  </a:lnTo>
                  <a:lnTo>
                    <a:pt x="964" y="329"/>
                  </a:lnTo>
                  <a:lnTo>
                    <a:pt x="973" y="334"/>
                  </a:lnTo>
                  <a:lnTo>
                    <a:pt x="973" y="334"/>
                  </a:lnTo>
                  <a:lnTo>
                    <a:pt x="973" y="329"/>
                  </a:lnTo>
                  <a:lnTo>
                    <a:pt x="973" y="329"/>
                  </a:lnTo>
                  <a:lnTo>
                    <a:pt x="978" y="325"/>
                  </a:lnTo>
                  <a:lnTo>
                    <a:pt x="978" y="320"/>
                  </a:lnTo>
                  <a:lnTo>
                    <a:pt x="978" y="311"/>
                  </a:lnTo>
                  <a:lnTo>
                    <a:pt x="978" y="307"/>
                  </a:lnTo>
                  <a:lnTo>
                    <a:pt x="973" y="302"/>
                  </a:lnTo>
                  <a:lnTo>
                    <a:pt x="973" y="293"/>
                  </a:lnTo>
                  <a:lnTo>
                    <a:pt x="973" y="293"/>
                  </a:lnTo>
                  <a:lnTo>
                    <a:pt x="973" y="288"/>
                  </a:lnTo>
                  <a:lnTo>
                    <a:pt x="973" y="288"/>
                  </a:lnTo>
                  <a:lnTo>
                    <a:pt x="973" y="284"/>
                  </a:lnTo>
                  <a:lnTo>
                    <a:pt x="978" y="279"/>
                  </a:lnTo>
                  <a:lnTo>
                    <a:pt x="982" y="279"/>
                  </a:lnTo>
                  <a:lnTo>
                    <a:pt x="987" y="275"/>
                  </a:lnTo>
                  <a:lnTo>
                    <a:pt x="987" y="270"/>
                  </a:lnTo>
                  <a:lnTo>
                    <a:pt x="992" y="265"/>
                  </a:lnTo>
                  <a:lnTo>
                    <a:pt x="992" y="265"/>
                  </a:lnTo>
                  <a:lnTo>
                    <a:pt x="996" y="261"/>
                  </a:lnTo>
                  <a:lnTo>
                    <a:pt x="1001" y="261"/>
                  </a:lnTo>
                  <a:lnTo>
                    <a:pt x="1005" y="252"/>
                  </a:lnTo>
                  <a:lnTo>
                    <a:pt x="1010" y="252"/>
                  </a:lnTo>
                  <a:lnTo>
                    <a:pt x="1010" y="247"/>
                  </a:lnTo>
                  <a:lnTo>
                    <a:pt x="1014" y="243"/>
                  </a:lnTo>
                  <a:lnTo>
                    <a:pt x="1014" y="243"/>
                  </a:lnTo>
                  <a:lnTo>
                    <a:pt x="1014" y="238"/>
                  </a:lnTo>
                  <a:lnTo>
                    <a:pt x="1014" y="233"/>
                  </a:lnTo>
                  <a:lnTo>
                    <a:pt x="1019" y="233"/>
                  </a:lnTo>
                  <a:lnTo>
                    <a:pt x="1019" y="229"/>
                  </a:lnTo>
                  <a:lnTo>
                    <a:pt x="1028" y="224"/>
                  </a:lnTo>
                  <a:lnTo>
                    <a:pt x="1037" y="220"/>
                  </a:lnTo>
                  <a:lnTo>
                    <a:pt x="1037" y="220"/>
                  </a:lnTo>
                  <a:lnTo>
                    <a:pt x="1046" y="220"/>
                  </a:lnTo>
                  <a:lnTo>
                    <a:pt x="1051" y="220"/>
                  </a:lnTo>
                  <a:lnTo>
                    <a:pt x="1056" y="220"/>
                  </a:lnTo>
                  <a:lnTo>
                    <a:pt x="1060" y="220"/>
                  </a:lnTo>
                  <a:lnTo>
                    <a:pt x="1060" y="215"/>
                  </a:lnTo>
                  <a:lnTo>
                    <a:pt x="1060" y="211"/>
                  </a:lnTo>
                  <a:lnTo>
                    <a:pt x="1060" y="201"/>
                  </a:lnTo>
                  <a:lnTo>
                    <a:pt x="1060" y="201"/>
                  </a:lnTo>
                  <a:lnTo>
                    <a:pt x="1060" y="197"/>
                  </a:lnTo>
                  <a:lnTo>
                    <a:pt x="1056" y="197"/>
                  </a:lnTo>
                  <a:lnTo>
                    <a:pt x="1051" y="197"/>
                  </a:lnTo>
                  <a:lnTo>
                    <a:pt x="1046" y="192"/>
                  </a:lnTo>
                  <a:lnTo>
                    <a:pt x="1046" y="188"/>
                  </a:lnTo>
                  <a:lnTo>
                    <a:pt x="1046" y="179"/>
                  </a:lnTo>
                  <a:lnTo>
                    <a:pt x="1042" y="179"/>
                  </a:lnTo>
                  <a:lnTo>
                    <a:pt x="1037" y="174"/>
                  </a:lnTo>
                  <a:lnTo>
                    <a:pt x="1037" y="169"/>
                  </a:lnTo>
                  <a:lnTo>
                    <a:pt x="1037" y="169"/>
                  </a:lnTo>
                  <a:lnTo>
                    <a:pt x="1037" y="165"/>
                  </a:lnTo>
                  <a:lnTo>
                    <a:pt x="1033" y="156"/>
                  </a:lnTo>
                  <a:lnTo>
                    <a:pt x="1033" y="156"/>
                  </a:lnTo>
                  <a:lnTo>
                    <a:pt x="1033" y="151"/>
                  </a:lnTo>
                  <a:lnTo>
                    <a:pt x="1028" y="147"/>
                  </a:lnTo>
                  <a:lnTo>
                    <a:pt x="1028" y="142"/>
                  </a:lnTo>
                  <a:lnTo>
                    <a:pt x="1024" y="137"/>
                  </a:lnTo>
                  <a:lnTo>
                    <a:pt x="1019" y="133"/>
                  </a:lnTo>
                  <a:lnTo>
                    <a:pt x="1019" y="133"/>
                  </a:lnTo>
                  <a:lnTo>
                    <a:pt x="1005" y="119"/>
                  </a:lnTo>
                  <a:lnTo>
                    <a:pt x="1001" y="119"/>
                  </a:lnTo>
                  <a:lnTo>
                    <a:pt x="1001" y="110"/>
                  </a:lnTo>
                  <a:lnTo>
                    <a:pt x="996" y="110"/>
                  </a:lnTo>
                  <a:lnTo>
                    <a:pt x="992" y="101"/>
                  </a:lnTo>
                  <a:lnTo>
                    <a:pt x="996" y="101"/>
                  </a:lnTo>
                  <a:lnTo>
                    <a:pt x="1001" y="101"/>
                  </a:lnTo>
                  <a:lnTo>
                    <a:pt x="1005" y="96"/>
                  </a:lnTo>
                  <a:lnTo>
                    <a:pt x="1014" y="87"/>
                  </a:lnTo>
                  <a:lnTo>
                    <a:pt x="1014" y="87"/>
                  </a:lnTo>
                  <a:lnTo>
                    <a:pt x="1014" y="83"/>
                  </a:lnTo>
                  <a:lnTo>
                    <a:pt x="1019" y="83"/>
                  </a:lnTo>
                  <a:lnTo>
                    <a:pt x="1028" y="73"/>
                  </a:lnTo>
                  <a:lnTo>
                    <a:pt x="1033" y="73"/>
                  </a:lnTo>
                  <a:lnTo>
                    <a:pt x="1037" y="69"/>
                  </a:lnTo>
                  <a:lnTo>
                    <a:pt x="1037" y="69"/>
                  </a:lnTo>
                  <a:lnTo>
                    <a:pt x="1051" y="69"/>
                  </a:lnTo>
                  <a:lnTo>
                    <a:pt x="1056" y="69"/>
                  </a:lnTo>
                  <a:lnTo>
                    <a:pt x="1065" y="69"/>
                  </a:lnTo>
                  <a:lnTo>
                    <a:pt x="1078" y="69"/>
                  </a:lnTo>
                  <a:lnTo>
                    <a:pt x="1083" y="69"/>
                  </a:lnTo>
                  <a:lnTo>
                    <a:pt x="1083" y="69"/>
                  </a:lnTo>
                  <a:lnTo>
                    <a:pt x="1083" y="69"/>
                  </a:lnTo>
                  <a:lnTo>
                    <a:pt x="1092" y="69"/>
                  </a:lnTo>
                  <a:lnTo>
                    <a:pt x="1101" y="69"/>
                  </a:lnTo>
                  <a:lnTo>
                    <a:pt x="1101" y="64"/>
                  </a:lnTo>
                  <a:lnTo>
                    <a:pt x="1106" y="64"/>
                  </a:lnTo>
                  <a:lnTo>
                    <a:pt x="1110" y="60"/>
                  </a:lnTo>
                  <a:lnTo>
                    <a:pt x="1115" y="51"/>
                  </a:lnTo>
                  <a:lnTo>
                    <a:pt x="1115" y="46"/>
                  </a:lnTo>
                  <a:lnTo>
                    <a:pt x="1115" y="41"/>
                  </a:lnTo>
                  <a:lnTo>
                    <a:pt x="1110" y="37"/>
                  </a:lnTo>
                  <a:lnTo>
                    <a:pt x="1106" y="32"/>
                  </a:lnTo>
                  <a:lnTo>
                    <a:pt x="1101" y="32"/>
                  </a:lnTo>
                  <a:lnTo>
                    <a:pt x="1101" y="28"/>
                  </a:lnTo>
                  <a:lnTo>
                    <a:pt x="1101" y="28"/>
                  </a:lnTo>
                  <a:lnTo>
                    <a:pt x="1092" y="32"/>
                  </a:lnTo>
                  <a:lnTo>
                    <a:pt x="1083" y="32"/>
                  </a:lnTo>
                  <a:lnTo>
                    <a:pt x="1083" y="28"/>
                  </a:lnTo>
                  <a:lnTo>
                    <a:pt x="1083" y="23"/>
                  </a:lnTo>
                  <a:lnTo>
                    <a:pt x="1083" y="23"/>
                  </a:lnTo>
                  <a:lnTo>
                    <a:pt x="1083" y="23"/>
                  </a:lnTo>
                  <a:lnTo>
                    <a:pt x="1088" y="19"/>
                  </a:lnTo>
                  <a:lnTo>
                    <a:pt x="1092" y="19"/>
                  </a:lnTo>
                  <a:lnTo>
                    <a:pt x="1097" y="14"/>
                  </a:lnTo>
                  <a:lnTo>
                    <a:pt x="1101" y="9"/>
                  </a:lnTo>
                  <a:lnTo>
                    <a:pt x="1101" y="5"/>
                  </a:lnTo>
                  <a:lnTo>
                    <a:pt x="1101" y="0"/>
                  </a:lnTo>
                  <a:lnTo>
                    <a:pt x="1106" y="0"/>
                  </a:lnTo>
                  <a:lnTo>
                    <a:pt x="1110" y="0"/>
                  </a:lnTo>
                  <a:lnTo>
                    <a:pt x="1115" y="0"/>
                  </a:lnTo>
                  <a:lnTo>
                    <a:pt x="1120" y="0"/>
                  </a:lnTo>
                  <a:lnTo>
                    <a:pt x="1124" y="5"/>
                  </a:lnTo>
                  <a:lnTo>
                    <a:pt x="1129" y="5"/>
                  </a:lnTo>
                  <a:lnTo>
                    <a:pt x="1142" y="5"/>
                  </a:lnTo>
                  <a:lnTo>
                    <a:pt x="1147" y="5"/>
                  </a:lnTo>
                  <a:lnTo>
                    <a:pt x="1161" y="9"/>
                  </a:lnTo>
                  <a:lnTo>
                    <a:pt x="1165" y="9"/>
                  </a:lnTo>
                  <a:lnTo>
                    <a:pt x="1170" y="9"/>
                  </a:lnTo>
                  <a:lnTo>
                    <a:pt x="1174" y="14"/>
                  </a:lnTo>
                  <a:lnTo>
                    <a:pt x="1193" y="19"/>
                  </a:lnTo>
                  <a:lnTo>
                    <a:pt x="1197" y="19"/>
                  </a:lnTo>
                  <a:lnTo>
                    <a:pt x="1211" y="23"/>
                  </a:lnTo>
                  <a:lnTo>
                    <a:pt x="1216" y="23"/>
                  </a:lnTo>
                  <a:lnTo>
                    <a:pt x="1229" y="23"/>
                  </a:lnTo>
                  <a:lnTo>
                    <a:pt x="1234" y="23"/>
                  </a:lnTo>
                  <a:lnTo>
                    <a:pt x="1234" y="28"/>
                  </a:lnTo>
                  <a:lnTo>
                    <a:pt x="1238" y="28"/>
                  </a:lnTo>
                  <a:lnTo>
                    <a:pt x="1243" y="28"/>
                  </a:lnTo>
                  <a:lnTo>
                    <a:pt x="1248" y="32"/>
                  </a:lnTo>
                  <a:lnTo>
                    <a:pt x="1252" y="32"/>
                  </a:lnTo>
                  <a:lnTo>
                    <a:pt x="1252" y="37"/>
                  </a:lnTo>
                  <a:lnTo>
                    <a:pt x="1248" y="41"/>
                  </a:lnTo>
                  <a:lnTo>
                    <a:pt x="1248" y="46"/>
                  </a:lnTo>
                  <a:lnTo>
                    <a:pt x="1248" y="46"/>
                  </a:lnTo>
                  <a:lnTo>
                    <a:pt x="1243" y="46"/>
                  </a:lnTo>
                  <a:lnTo>
                    <a:pt x="1243" y="51"/>
                  </a:lnTo>
                  <a:lnTo>
                    <a:pt x="1243" y="55"/>
                  </a:lnTo>
                  <a:lnTo>
                    <a:pt x="1243" y="60"/>
                  </a:lnTo>
                  <a:lnTo>
                    <a:pt x="1243" y="64"/>
                  </a:lnTo>
                  <a:lnTo>
                    <a:pt x="1248" y="69"/>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8" name="Freeform 15">
              <a:extLst>
                <a:ext uri="{FF2B5EF4-FFF2-40B4-BE49-F238E27FC236}">
                  <a16:creationId xmlns:a16="http://schemas.microsoft.com/office/drawing/2014/main" id="{BD291DBF-BDFA-493E-91DF-5F8B396910B7}"/>
                </a:ext>
              </a:extLst>
            </p:cNvPr>
            <p:cNvSpPr>
              <a:spLocks/>
            </p:cNvSpPr>
            <p:nvPr>
              <p:custDataLst>
                <p:tags r:id="rId10"/>
              </p:custDataLst>
            </p:nvPr>
          </p:nvSpPr>
          <p:spPr bwMode="auto">
            <a:xfrm>
              <a:off x="897695" y="3636609"/>
              <a:ext cx="582598" cy="571798"/>
            </a:xfrm>
            <a:custGeom>
              <a:avLst/>
              <a:gdLst/>
              <a:ahLst/>
              <a:cxnLst>
                <a:cxn ang="0">
                  <a:pos x="251" y="178"/>
                </a:cxn>
                <a:cxn ang="0">
                  <a:pos x="274" y="178"/>
                </a:cxn>
                <a:cxn ang="0">
                  <a:pos x="310" y="192"/>
                </a:cxn>
                <a:cxn ang="0">
                  <a:pos x="342" y="224"/>
                </a:cxn>
                <a:cxn ang="0">
                  <a:pos x="361" y="246"/>
                </a:cxn>
                <a:cxn ang="0">
                  <a:pos x="356" y="278"/>
                </a:cxn>
                <a:cxn ang="0">
                  <a:pos x="388" y="283"/>
                </a:cxn>
                <a:cxn ang="0">
                  <a:pos x="425" y="269"/>
                </a:cxn>
                <a:cxn ang="0">
                  <a:pos x="443" y="246"/>
                </a:cxn>
                <a:cxn ang="0">
                  <a:pos x="461" y="233"/>
                </a:cxn>
                <a:cxn ang="0">
                  <a:pos x="484" y="196"/>
                </a:cxn>
                <a:cxn ang="0">
                  <a:pos x="475" y="173"/>
                </a:cxn>
                <a:cxn ang="0">
                  <a:pos x="452" y="150"/>
                </a:cxn>
                <a:cxn ang="0">
                  <a:pos x="434" y="100"/>
                </a:cxn>
                <a:cxn ang="0">
                  <a:pos x="425" y="68"/>
                </a:cxn>
                <a:cxn ang="0">
                  <a:pos x="448" y="54"/>
                </a:cxn>
                <a:cxn ang="0">
                  <a:pos x="470" y="82"/>
                </a:cxn>
                <a:cxn ang="0">
                  <a:pos x="498" y="59"/>
                </a:cxn>
                <a:cxn ang="0">
                  <a:pos x="534" y="41"/>
                </a:cxn>
                <a:cxn ang="0">
                  <a:pos x="562" y="22"/>
                </a:cxn>
                <a:cxn ang="0">
                  <a:pos x="603" y="4"/>
                </a:cxn>
                <a:cxn ang="0">
                  <a:pos x="649" y="45"/>
                </a:cxn>
                <a:cxn ang="0">
                  <a:pos x="667" y="128"/>
                </a:cxn>
                <a:cxn ang="0">
                  <a:pos x="649" y="201"/>
                </a:cxn>
                <a:cxn ang="0">
                  <a:pos x="626" y="274"/>
                </a:cxn>
                <a:cxn ang="0">
                  <a:pos x="612" y="329"/>
                </a:cxn>
                <a:cxn ang="0">
                  <a:pos x="585" y="402"/>
                </a:cxn>
                <a:cxn ang="0">
                  <a:pos x="580" y="438"/>
                </a:cxn>
                <a:cxn ang="0">
                  <a:pos x="521" y="457"/>
                </a:cxn>
                <a:cxn ang="0">
                  <a:pos x="466" y="475"/>
                </a:cxn>
                <a:cxn ang="0">
                  <a:pos x="443" y="512"/>
                </a:cxn>
                <a:cxn ang="0">
                  <a:pos x="406" y="525"/>
                </a:cxn>
                <a:cxn ang="0">
                  <a:pos x="374" y="512"/>
                </a:cxn>
                <a:cxn ang="0">
                  <a:pos x="352" y="525"/>
                </a:cxn>
                <a:cxn ang="0">
                  <a:pos x="320" y="548"/>
                </a:cxn>
                <a:cxn ang="0">
                  <a:pos x="274" y="566"/>
                </a:cxn>
                <a:cxn ang="0">
                  <a:pos x="228" y="548"/>
                </a:cxn>
                <a:cxn ang="0">
                  <a:pos x="187" y="521"/>
                </a:cxn>
                <a:cxn ang="0">
                  <a:pos x="150" y="512"/>
                </a:cxn>
                <a:cxn ang="0">
                  <a:pos x="146" y="489"/>
                </a:cxn>
                <a:cxn ang="0">
                  <a:pos x="132" y="429"/>
                </a:cxn>
                <a:cxn ang="0">
                  <a:pos x="160" y="420"/>
                </a:cxn>
                <a:cxn ang="0">
                  <a:pos x="118" y="406"/>
                </a:cxn>
                <a:cxn ang="0">
                  <a:pos x="77" y="370"/>
                </a:cxn>
                <a:cxn ang="0">
                  <a:pos x="54" y="324"/>
                </a:cxn>
                <a:cxn ang="0">
                  <a:pos x="27" y="274"/>
                </a:cxn>
                <a:cxn ang="0">
                  <a:pos x="4" y="228"/>
                </a:cxn>
                <a:cxn ang="0">
                  <a:pos x="32" y="182"/>
                </a:cxn>
                <a:cxn ang="0">
                  <a:pos x="45" y="150"/>
                </a:cxn>
                <a:cxn ang="0">
                  <a:pos x="64" y="132"/>
                </a:cxn>
                <a:cxn ang="0">
                  <a:pos x="96" y="155"/>
                </a:cxn>
                <a:cxn ang="0">
                  <a:pos x="109" y="178"/>
                </a:cxn>
                <a:cxn ang="0">
                  <a:pos x="105" y="205"/>
                </a:cxn>
                <a:cxn ang="0">
                  <a:pos x="123" y="219"/>
                </a:cxn>
                <a:cxn ang="0">
                  <a:pos x="146" y="205"/>
                </a:cxn>
                <a:cxn ang="0">
                  <a:pos x="146" y="182"/>
                </a:cxn>
                <a:cxn ang="0">
                  <a:pos x="173" y="182"/>
                </a:cxn>
                <a:cxn ang="0">
                  <a:pos x="205" y="182"/>
                </a:cxn>
              </a:cxnLst>
              <a:rect l="0" t="0" r="r" b="b"/>
              <a:pathLst>
                <a:path w="667" h="566">
                  <a:moveTo>
                    <a:pt x="228" y="187"/>
                  </a:moveTo>
                  <a:lnTo>
                    <a:pt x="228" y="187"/>
                  </a:lnTo>
                  <a:lnTo>
                    <a:pt x="228" y="182"/>
                  </a:lnTo>
                  <a:lnTo>
                    <a:pt x="233" y="182"/>
                  </a:lnTo>
                  <a:lnTo>
                    <a:pt x="237" y="182"/>
                  </a:lnTo>
                  <a:lnTo>
                    <a:pt x="242" y="182"/>
                  </a:lnTo>
                  <a:lnTo>
                    <a:pt x="246" y="178"/>
                  </a:lnTo>
                  <a:lnTo>
                    <a:pt x="251" y="178"/>
                  </a:lnTo>
                  <a:lnTo>
                    <a:pt x="251" y="173"/>
                  </a:lnTo>
                  <a:lnTo>
                    <a:pt x="256" y="173"/>
                  </a:lnTo>
                  <a:lnTo>
                    <a:pt x="260" y="173"/>
                  </a:lnTo>
                  <a:lnTo>
                    <a:pt x="260" y="169"/>
                  </a:lnTo>
                  <a:lnTo>
                    <a:pt x="265" y="169"/>
                  </a:lnTo>
                  <a:lnTo>
                    <a:pt x="269" y="169"/>
                  </a:lnTo>
                  <a:lnTo>
                    <a:pt x="274" y="173"/>
                  </a:lnTo>
                  <a:lnTo>
                    <a:pt x="274" y="178"/>
                  </a:lnTo>
                  <a:lnTo>
                    <a:pt x="278" y="178"/>
                  </a:lnTo>
                  <a:lnTo>
                    <a:pt x="283" y="182"/>
                  </a:lnTo>
                  <a:lnTo>
                    <a:pt x="292" y="182"/>
                  </a:lnTo>
                  <a:lnTo>
                    <a:pt x="297" y="182"/>
                  </a:lnTo>
                  <a:lnTo>
                    <a:pt x="297" y="187"/>
                  </a:lnTo>
                  <a:lnTo>
                    <a:pt x="301" y="192"/>
                  </a:lnTo>
                  <a:lnTo>
                    <a:pt x="306" y="192"/>
                  </a:lnTo>
                  <a:lnTo>
                    <a:pt x="310" y="192"/>
                  </a:lnTo>
                  <a:lnTo>
                    <a:pt x="315" y="196"/>
                  </a:lnTo>
                  <a:lnTo>
                    <a:pt x="324" y="205"/>
                  </a:lnTo>
                  <a:lnTo>
                    <a:pt x="329" y="210"/>
                  </a:lnTo>
                  <a:lnTo>
                    <a:pt x="333" y="210"/>
                  </a:lnTo>
                  <a:lnTo>
                    <a:pt x="333" y="214"/>
                  </a:lnTo>
                  <a:lnTo>
                    <a:pt x="338" y="219"/>
                  </a:lnTo>
                  <a:lnTo>
                    <a:pt x="338" y="219"/>
                  </a:lnTo>
                  <a:lnTo>
                    <a:pt x="342" y="224"/>
                  </a:lnTo>
                  <a:lnTo>
                    <a:pt x="352" y="228"/>
                  </a:lnTo>
                  <a:lnTo>
                    <a:pt x="356" y="228"/>
                  </a:lnTo>
                  <a:lnTo>
                    <a:pt x="361" y="228"/>
                  </a:lnTo>
                  <a:lnTo>
                    <a:pt x="361" y="233"/>
                  </a:lnTo>
                  <a:lnTo>
                    <a:pt x="361" y="233"/>
                  </a:lnTo>
                  <a:lnTo>
                    <a:pt x="361" y="237"/>
                  </a:lnTo>
                  <a:lnTo>
                    <a:pt x="361" y="242"/>
                  </a:lnTo>
                  <a:lnTo>
                    <a:pt x="361" y="246"/>
                  </a:lnTo>
                  <a:lnTo>
                    <a:pt x="356" y="251"/>
                  </a:lnTo>
                  <a:lnTo>
                    <a:pt x="352" y="256"/>
                  </a:lnTo>
                  <a:lnTo>
                    <a:pt x="347" y="260"/>
                  </a:lnTo>
                  <a:lnTo>
                    <a:pt x="347" y="265"/>
                  </a:lnTo>
                  <a:lnTo>
                    <a:pt x="352" y="269"/>
                  </a:lnTo>
                  <a:lnTo>
                    <a:pt x="356" y="269"/>
                  </a:lnTo>
                  <a:lnTo>
                    <a:pt x="356" y="269"/>
                  </a:lnTo>
                  <a:lnTo>
                    <a:pt x="356" y="278"/>
                  </a:lnTo>
                  <a:lnTo>
                    <a:pt x="361" y="278"/>
                  </a:lnTo>
                  <a:lnTo>
                    <a:pt x="361" y="283"/>
                  </a:lnTo>
                  <a:lnTo>
                    <a:pt x="361" y="283"/>
                  </a:lnTo>
                  <a:lnTo>
                    <a:pt x="370" y="288"/>
                  </a:lnTo>
                  <a:lnTo>
                    <a:pt x="374" y="288"/>
                  </a:lnTo>
                  <a:lnTo>
                    <a:pt x="379" y="283"/>
                  </a:lnTo>
                  <a:lnTo>
                    <a:pt x="384" y="283"/>
                  </a:lnTo>
                  <a:lnTo>
                    <a:pt x="388" y="283"/>
                  </a:lnTo>
                  <a:lnTo>
                    <a:pt x="388" y="278"/>
                  </a:lnTo>
                  <a:lnTo>
                    <a:pt x="393" y="278"/>
                  </a:lnTo>
                  <a:lnTo>
                    <a:pt x="397" y="278"/>
                  </a:lnTo>
                  <a:lnTo>
                    <a:pt x="402" y="274"/>
                  </a:lnTo>
                  <a:lnTo>
                    <a:pt x="406" y="274"/>
                  </a:lnTo>
                  <a:lnTo>
                    <a:pt x="411" y="269"/>
                  </a:lnTo>
                  <a:lnTo>
                    <a:pt x="420" y="269"/>
                  </a:lnTo>
                  <a:lnTo>
                    <a:pt x="425" y="269"/>
                  </a:lnTo>
                  <a:lnTo>
                    <a:pt x="425" y="265"/>
                  </a:lnTo>
                  <a:lnTo>
                    <a:pt x="429" y="265"/>
                  </a:lnTo>
                  <a:lnTo>
                    <a:pt x="429" y="260"/>
                  </a:lnTo>
                  <a:lnTo>
                    <a:pt x="434" y="256"/>
                  </a:lnTo>
                  <a:lnTo>
                    <a:pt x="434" y="251"/>
                  </a:lnTo>
                  <a:lnTo>
                    <a:pt x="438" y="251"/>
                  </a:lnTo>
                  <a:lnTo>
                    <a:pt x="438" y="246"/>
                  </a:lnTo>
                  <a:lnTo>
                    <a:pt x="443" y="246"/>
                  </a:lnTo>
                  <a:lnTo>
                    <a:pt x="443" y="246"/>
                  </a:lnTo>
                  <a:lnTo>
                    <a:pt x="448" y="246"/>
                  </a:lnTo>
                  <a:lnTo>
                    <a:pt x="448" y="242"/>
                  </a:lnTo>
                  <a:lnTo>
                    <a:pt x="448" y="242"/>
                  </a:lnTo>
                  <a:lnTo>
                    <a:pt x="448" y="237"/>
                  </a:lnTo>
                  <a:lnTo>
                    <a:pt x="452" y="237"/>
                  </a:lnTo>
                  <a:lnTo>
                    <a:pt x="457" y="233"/>
                  </a:lnTo>
                  <a:lnTo>
                    <a:pt x="461" y="233"/>
                  </a:lnTo>
                  <a:lnTo>
                    <a:pt x="466" y="228"/>
                  </a:lnTo>
                  <a:lnTo>
                    <a:pt x="470" y="228"/>
                  </a:lnTo>
                  <a:lnTo>
                    <a:pt x="470" y="224"/>
                  </a:lnTo>
                  <a:lnTo>
                    <a:pt x="470" y="219"/>
                  </a:lnTo>
                  <a:lnTo>
                    <a:pt x="475" y="214"/>
                  </a:lnTo>
                  <a:lnTo>
                    <a:pt x="475" y="210"/>
                  </a:lnTo>
                  <a:lnTo>
                    <a:pt x="484" y="201"/>
                  </a:lnTo>
                  <a:lnTo>
                    <a:pt x="484" y="196"/>
                  </a:lnTo>
                  <a:lnTo>
                    <a:pt x="489" y="192"/>
                  </a:lnTo>
                  <a:lnTo>
                    <a:pt x="489" y="187"/>
                  </a:lnTo>
                  <a:lnTo>
                    <a:pt x="493" y="182"/>
                  </a:lnTo>
                  <a:lnTo>
                    <a:pt x="493" y="182"/>
                  </a:lnTo>
                  <a:lnTo>
                    <a:pt x="489" y="182"/>
                  </a:lnTo>
                  <a:lnTo>
                    <a:pt x="489" y="178"/>
                  </a:lnTo>
                  <a:lnTo>
                    <a:pt x="480" y="178"/>
                  </a:lnTo>
                  <a:lnTo>
                    <a:pt x="475" y="173"/>
                  </a:lnTo>
                  <a:lnTo>
                    <a:pt x="470" y="173"/>
                  </a:lnTo>
                  <a:lnTo>
                    <a:pt x="466" y="164"/>
                  </a:lnTo>
                  <a:lnTo>
                    <a:pt x="466" y="160"/>
                  </a:lnTo>
                  <a:lnTo>
                    <a:pt x="461" y="160"/>
                  </a:lnTo>
                  <a:lnTo>
                    <a:pt x="461" y="160"/>
                  </a:lnTo>
                  <a:lnTo>
                    <a:pt x="457" y="160"/>
                  </a:lnTo>
                  <a:lnTo>
                    <a:pt x="457" y="155"/>
                  </a:lnTo>
                  <a:lnTo>
                    <a:pt x="452" y="150"/>
                  </a:lnTo>
                  <a:lnTo>
                    <a:pt x="448" y="146"/>
                  </a:lnTo>
                  <a:lnTo>
                    <a:pt x="448" y="141"/>
                  </a:lnTo>
                  <a:lnTo>
                    <a:pt x="448" y="141"/>
                  </a:lnTo>
                  <a:lnTo>
                    <a:pt x="443" y="137"/>
                  </a:lnTo>
                  <a:lnTo>
                    <a:pt x="443" y="128"/>
                  </a:lnTo>
                  <a:lnTo>
                    <a:pt x="438" y="118"/>
                  </a:lnTo>
                  <a:lnTo>
                    <a:pt x="438" y="105"/>
                  </a:lnTo>
                  <a:lnTo>
                    <a:pt x="434" y="100"/>
                  </a:lnTo>
                  <a:lnTo>
                    <a:pt x="434" y="96"/>
                  </a:lnTo>
                  <a:lnTo>
                    <a:pt x="425" y="96"/>
                  </a:lnTo>
                  <a:lnTo>
                    <a:pt x="425" y="96"/>
                  </a:lnTo>
                  <a:lnTo>
                    <a:pt x="420" y="86"/>
                  </a:lnTo>
                  <a:lnTo>
                    <a:pt x="420" y="82"/>
                  </a:lnTo>
                  <a:lnTo>
                    <a:pt x="425" y="77"/>
                  </a:lnTo>
                  <a:lnTo>
                    <a:pt x="425" y="73"/>
                  </a:lnTo>
                  <a:lnTo>
                    <a:pt x="425" y="68"/>
                  </a:lnTo>
                  <a:lnTo>
                    <a:pt x="425" y="64"/>
                  </a:lnTo>
                  <a:lnTo>
                    <a:pt x="429" y="59"/>
                  </a:lnTo>
                  <a:lnTo>
                    <a:pt x="434" y="59"/>
                  </a:lnTo>
                  <a:lnTo>
                    <a:pt x="434" y="54"/>
                  </a:lnTo>
                  <a:lnTo>
                    <a:pt x="438" y="54"/>
                  </a:lnTo>
                  <a:lnTo>
                    <a:pt x="443" y="54"/>
                  </a:lnTo>
                  <a:lnTo>
                    <a:pt x="448" y="54"/>
                  </a:lnTo>
                  <a:lnTo>
                    <a:pt x="448" y="54"/>
                  </a:lnTo>
                  <a:lnTo>
                    <a:pt x="452" y="54"/>
                  </a:lnTo>
                  <a:lnTo>
                    <a:pt x="457" y="59"/>
                  </a:lnTo>
                  <a:lnTo>
                    <a:pt x="466" y="64"/>
                  </a:lnTo>
                  <a:lnTo>
                    <a:pt x="466" y="68"/>
                  </a:lnTo>
                  <a:lnTo>
                    <a:pt x="470" y="73"/>
                  </a:lnTo>
                  <a:lnTo>
                    <a:pt x="470" y="73"/>
                  </a:lnTo>
                  <a:lnTo>
                    <a:pt x="470" y="77"/>
                  </a:lnTo>
                  <a:lnTo>
                    <a:pt x="470" y="82"/>
                  </a:lnTo>
                  <a:lnTo>
                    <a:pt x="475" y="82"/>
                  </a:lnTo>
                  <a:lnTo>
                    <a:pt x="480" y="77"/>
                  </a:lnTo>
                  <a:lnTo>
                    <a:pt x="480" y="73"/>
                  </a:lnTo>
                  <a:lnTo>
                    <a:pt x="484" y="73"/>
                  </a:lnTo>
                  <a:lnTo>
                    <a:pt x="489" y="68"/>
                  </a:lnTo>
                  <a:lnTo>
                    <a:pt x="489" y="64"/>
                  </a:lnTo>
                  <a:lnTo>
                    <a:pt x="493" y="64"/>
                  </a:lnTo>
                  <a:lnTo>
                    <a:pt x="498" y="59"/>
                  </a:lnTo>
                  <a:lnTo>
                    <a:pt x="498" y="54"/>
                  </a:lnTo>
                  <a:lnTo>
                    <a:pt x="502" y="54"/>
                  </a:lnTo>
                  <a:lnTo>
                    <a:pt x="507" y="54"/>
                  </a:lnTo>
                  <a:lnTo>
                    <a:pt x="507" y="50"/>
                  </a:lnTo>
                  <a:lnTo>
                    <a:pt x="512" y="50"/>
                  </a:lnTo>
                  <a:lnTo>
                    <a:pt x="516" y="50"/>
                  </a:lnTo>
                  <a:lnTo>
                    <a:pt x="525" y="45"/>
                  </a:lnTo>
                  <a:lnTo>
                    <a:pt x="534" y="41"/>
                  </a:lnTo>
                  <a:lnTo>
                    <a:pt x="534" y="36"/>
                  </a:lnTo>
                  <a:lnTo>
                    <a:pt x="539" y="36"/>
                  </a:lnTo>
                  <a:lnTo>
                    <a:pt x="539" y="32"/>
                  </a:lnTo>
                  <a:lnTo>
                    <a:pt x="548" y="32"/>
                  </a:lnTo>
                  <a:lnTo>
                    <a:pt x="557" y="32"/>
                  </a:lnTo>
                  <a:lnTo>
                    <a:pt x="557" y="27"/>
                  </a:lnTo>
                  <a:lnTo>
                    <a:pt x="562" y="27"/>
                  </a:lnTo>
                  <a:lnTo>
                    <a:pt x="562" y="22"/>
                  </a:lnTo>
                  <a:lnTo>
                    <a:pt x="566" y="22"/>
                  </a:lnTo>
                  <a:lnTo>
                    <a:pt x="576" y="18"/>
                  </a:lnTo>
                  <a:lnTo>
                    <a:pt x="580" y="13"/>
                  </a:lnTo>
                  <a:lnTo>
                    <a:pt x="585" y="13"/>
                  </a:lnTo>
                  <a:lnTo>
                    <a:pt x="589" y="9"/>
                  </a:lnTo>
                  <a:lnTo>
                    <a:pt x="594" y="9"/>
                  </a:lnTo>
                  <a:lnTo>
                    <a:pt x="598" y="4"/>
                  </a:lnTo>
                  <a:lnTo>
                    <a:pt x="603" y="4"/>
                  </a:lnTo>
                  <a:lnTo>
                    <a:pt x="603" y="4"/>
                  </a:lnTo>
                  <a:lnTo>
                    <a:pt x="626" y="4"/>
                  </a:lnTo>
                  <a:lnTo>
                    <a:pt x="626" y="4"/>
                  </a:lnTo>
                  <a:lnTo>
                    <a:pt x="640" y="0"/>
                  </a:lnTo>
                  <a:lnTo>
                    <a:pt x="644" y="9"/>
                  </a:lnTo>
                  <a:lnTo>
                    <a:pt x="644" y="18"/>
                  </a:lnTo>
                  <a:lnTo>
                    <a:pt x="644" y="32"/>
                  </a:lnTo>
                  <a:lnTo>
                    <a:pt x="649" y="45"/>
                  </a:lnTo>
                  <a:lnTo>
                    <a:pt x="653" y="50"/>
                  </a:lnTo>
                  <a:lnTo>
                    <a:pt x="658" y="68"/>
                  </a:lnTo>
                  <a:lnTo>
                    <a:pt x="662" y="82"/>
                  </a:lnTo>
                  <a:lnTo>
                    <a:pt x="662" y="86"/>
                  </a:lnTo>
                  <a:lnTo>
                    <a:pt x="662" y="96"/>
                  </a:lnTo>
                  <a:lnTo>
                    <a:pt x="662" y="100"/>
                  </a:lnTo>
                  <a:lnTo>
                    <a:pt x="667" y="118"/>
                  </a:lnTo>
                  <a:lnTo>
                    <a:pt x="667" y="128"/>
                  </a:lnTo>
                  <a:lnTo>
                    <a:pt x="667" y="141"/>
                  </a:lnTo>
                  <a:lnTo>
                    <a:pt x="667" y="150"/>
                  </a:lnTo>
                  <a:lnTo>
                    <a:pt x="662" y="150"/>
                  </a:lnTo>
                  <a:lnTo>
                    <a:pt x="658" y="160"/>
                  </a:lnTo>
                  <a:lnTo>
                    <a:pt x="658" y="173"/>
                  </a:lnTo>
                  <a:lnTo>
                    <a:pt x="653" y="178"/>
                  </a:lnTo>
                  <a:lnTo>
                    <a:pt x="653" y="187"/>
                  </a:lnTo>
                  <a:lnTo>
                    <a:pt x="649" y="201"/>
                  </a:lnTo>
                  <a:lnTo>
                    <a:pt x="644" y="210"/>
                  </a:lnTo>
                  <a:lnTo>
                    <a:pt x="644" y="224"/>
                  </a:lnTo>
                  <a:lnTo>
                    <a:pt x="640" y="228"/>
                  </a:lnTo>
                  <a:lnTo>
                    <a:pt x="635" y="233"/>
                  </a:lnTo>
                  <a:lnTo>
                    <a:pt x="630" y="237"/>
                  </a:lnTo>
                  <a:lnTo>
                    <a:pt x="630" y="246"/>
                  </a:lnTo>
                  <a:lnTo>
                    <a:pt x="626" y="265"/>
                  </a:lnTo>
                  <a:lnTo>
                    <a:pt x="626" y="274"/>
                  </a:lnTo>
                  <a:lnTo>
                    <a:pt x="626" y="278"/>
                  </a:lnTo>
                  <a:lnTo>
                    <a:pt x="626" y="283"/>
                  </a:lnTo>
                  <a:lnTo>
                    <a:pt x="626" y="283"/>
                  </a:lnTo>
                  <a:lnTo>
                    <a:pt x="617" y="292"/>
                  </a:lnTo>
                  <a:lnTo>
                    <a:pt x="612" y="297"/>
                  </a:lnTo>
                  <a:lnTo>
                    <a:pt x="612" y="310"/>
                  </a:lnTo>
                  <a:lnTo>
                    <a:pt x="612" y="315"/>
                  </a:lnTo>
                  <a:lnTo>
                    <a:pt x="612" y="329"/>
                  </a:lnTo>
                  <a:lnTo>
                    <a:pt x="608" y="338"/>
                  </a:lnTo>
                  <a:lnTo>
                    <a:pt x="603" y="342"/>
                  </a:lnTo>
                  <a:lnTo>
                    <a:pt x="594" y="352"/>
                  </a:lnTo>
                  <a:lnTo>
                    <a:pt x="585" y="361"/>
                  </a:lnTo>
                  <a:lnTo>
                    <a:pt x="585" y="370"/>
                  </a:lnTo>
                  <a:lnTo>
                    <a:pt x="589" y="379"/>
                  </a:lnTo>
                  <a:lnTo>
                    <a:pt x="589" y="393"/>
                  </a:lnTo>
                  <a:lnTo>
                    <a:pt x="585" y="402"/>
                  </a:lnTo>
                  <a:lnTo>
                    <a:pt x="580" y="402"/>
                  </a:lnTo>
                  <a:lnTo>
                    <a:pt x="571" y="411"/>
                  </a:lnTo>
                  <a:lnTo>
                    <a:pt x="571" y="416"/>
                  </a:lnTo>
                  <a:lnTo>
                    <a:pt x="571" y="425"/>
                  </a:lnTo>
                  <a:lnTo>
                    <a:pt x="576" y="425"/>
                  </a:lnTo>
                  <a:lnTo>
                    <a:pt x="576" y="425"/>
                  </a:lnTo>
                  <a:lnTo>
                    <a:pt x="580" y="429"/>
                  </a:lnTo>
                  <a:lnTo>
                    <a:pt x="580" y="438"/>
                  </a:lnTo>
                  <a:lnTo>
                    <a:pt x="576" y="443"/>
                  </a:lnTo>
                  <a:lnTo>
                    <a:pt x="562" y="448"/>
                  </a:lnTo>
                  <a:lnTo>
                    <a:pt x="557" y="448"/>
                  </a:lnTo>
                  <a:lnTo>
                    <a:pt x="557" y="452"/>
                  </a:lnTo>
                  <a:lnTo>
                    <a:pt x="544" y="457"/>
                  </a:lnTo>
                  <a:lnTo>
                    <a:pt x="534" y="457"/>
                  </a:lnTo>
                  <a:lnTo>
                    <a:pt x="530" y="457"/>
                  </a:lnTo>
                  <a:lnTo>
                    <a:pt x="521" y="457"/>
                  </a:lnTo>
                  <a:lnTo>
                    <a:pt x="507" y="457"/>
                  </a:lnTo>
                  <a:lnTo>
                    <a:pt x="498" y="461"/>
                  </a:lnTo>
                  <a:lnTo>
                    <a:pt x="493" y="466"/>
                  </a:lnTo>
                  <a:lnTo>
                    <a:pt x="489" y="475"/>
                  </a:lnTo>
                  <a:lnTo>
                    <a:pt x="484" y="480"/>
                  </a:lnTo>
                  <a:lnTo>
                    <a:pt x="480" y="475"/>
                  </a:lnTo>
                  <a:lnTo>
                    <a:pt x="470" y="475"/>
                  </a:lnTo>
                  <a:lnTo>
                    <a:pt x="466" y="475"/>
                  </a:lnTo>
                  <a:lnTo>
                    <a:pt x="461" y="480"/>
                  </a:lnTo>
                  <a:lnTo>
                    <a:pt x="461" y="489"/>
                  </a:lnTo>
                  <a:lnTo>
                    <a:pt x="461" y="489"/>
                  </a:lnTo>
                  <a:lnTo>
                    <a:pt x="461" y="498"/>
                  </a:lnTo>
                  <a:lnTo>
                    <a:pt x="457" y="507"/>
                  </a:lnTo>
                  <a:lnTo>
                    <a:pt x="448" y="512"/>
                  </a:lnTo>
                  <a:lnTo>
                    <a:pt x="448" y="512"/>
                  </a:lnTo>
                  <a:lnTo>
                    <a:pt x="443" y="512"/>
                  </a:lnTo>
                  <a:lnTo>
                    <a:pt x="438" y="512"/>
                  </a:lnTo>
                  <a:lnTo>
                    <a:pt x="434" y="512"/>
                  </a:lnTo>
                  <a:lnTo>
                    <a:pt x="425" y="512"/>
                  </a:lnTo>
                  <a:lnTo>
                    <a:pt x="425" y="512"/>
                  </a:lnTo>
                  <a:lnTo>
                    <a:pt x="425" y="512"/>
                  </a:lnTo>
                  <a:lnTo>
                    <a:pt x="416" y="512"/>
                  </a:lnTo>
                  <a:lnTo>
                    <a:pt x="411" y="516"/>
                  </a:lnTo>
                  <a:lnTo>
                    <a:pt x="406" y="525"/>
                  </a:lnTo>
                  <a:lnTo>
                    <a:pt x="406" y="525"/>
                  </a:lnTo>
                  <a:lnTo>
                    <a:pt x="402" y="530"/>
                  </a:lnTo>
                  <a:lnTo>
                    <a:pt x="397" y="530"/>
                  </a:lnTo>
                  <a:lnTo>
                    <a:pt x="393" y="530"/>
                  </a:lnTo>
                  <a:lnTo>
                    <a:pt x="384" y="521"/>
                  </a:lnTo>
                  <a:lnTo>
                    <a:pt x="384" y="516"/>
                  </a:lnTo>
                  <a:lnTo>
                    <a:pt x="379" y="512"/>
                  </a:lnTo>
                  <a:lnTo>
                    <a:pt x="374" y="512"/>
                  </a:lnTo>
                  <a:lnTo>
                    <a:pt x="370" y="507"/>
                  </a:lnTo>
                  <a:lnTo>
                    <a:pt x="365" y="507"/>
                  </a:lnTo>
                  <a:lnTo>
                    <a:pt x="361" y="512"/>
                  </a:lnTo>
                  <a:lnTo>
                    <a:pt x="361" y="512"/>
                  </a:lnTo>
                  <a:lnTo>
                    <a:pt x="361" y="512"/>
                  </a:lnTo>
                  <a:lnTo>
                    <a:pt x="356" y="521"/>
                  </a:lnTo>
                  <a:lnTo>
                    <a:pt x="356" y="525"/>
                  </a:lnTo>
                  <a:lnTo>
                    <a:pt x="352" y="525"/>
                  </a:lnTo>
                  <a:lnTo>
                    <a:pt x="352" y="530"/>
                  </a:lnTo>
                  <a:lnTo>
                    <a:pt x="338" y="534"/>
                  </a:lnTo>
                  <a:lnTo>
                    <a:pt x="338" y="534"/>
                  </a:lnTo>
                  <a:lnTo>
                    <a:pt x="338" y="534"/>
                  </a:lnTo>
                  <a:lnTo>
                    <a:pt x="333" y="534"/>
                  </a:lnTo>
                  <a:lnTo>
                    <a:pt x="329" y="539"/>
                  </a:lnTo>
                  <a:lnTo>
                    <a:pt x="324" y="544"/>
                  </a:lnTo>
                  <a:lnTo>
                    <a:pt x="320" y="548"/>
                  </a:lnTo>
                  <a:lnTo>
                    <a:pt x="315" y="548"/>
                  </a:lnTo>
                  <a:lnTo>
                    <a:pt x="310" y="553"/>
                  </a:lnTo>
                  <a:lnTo>
                    <a:pt x="297" y="557"/>
                  </a:lnTo>
                  <a:lnTo>
                    <a:pt x="288" y="557"/>
                  </a:lnTo>
                  <a:lnTo>
                    <a:pt x="283" y="562"/>
                  </a:lnTo>
                  <a:lnTo>
                    <a:pt x="278" y="566"/>
                  </a:lnTo>
                  <a:lnTo>
                    <a:pt x="274" y="566"/>
                  </a:lnTo>
                  <a:lnTo>
                    <a:pt x="274" y="566"/>
                  </a:lnTo>
                  <a:lnTo>
                    <a:pt x="269" y="566"/>
                  </a:lnTo>
                  <a:lnTo>
                    <a:pt x="265" y="562"/>
                  </a:lnTo>
                  <a:lnTo>
                    <a:pt x="260" y="557"/>
                  </a:lnTo>
                  <a:lnTo>
                    <a:pt x="256" y="557"/>
                  </a:lnTo>
                  <a:lnTo>
                    <a:pt x="251" y="553"/>
                  </a:lnTo>
                  <a:lnTo>
                    <a:pt x="242" y="553"/>
                  </a:lnTo>
                  <a:lnTo>
                    <a:pt x="233" y="548"/>
                  </a:lnTo>
                  <a:lnTo>
                    <a:pt x="228" y="548"/>
                  </a:lnTo>
                  <a:lnTo>
                    <a:pt x="224" y="544"/>
                  </a:lnTo>
                  <a:lnTo>
                    <a:pt x="214" y="539"/>
                  </a:lnTo>
                  <a:lnTo>
                    <a:pt x="210" y="539"/>
                  </a:lnTo>
                  <a:lnTo>
                    <a:pt x="205" y="539"/>
                  </a:lnTo>
                  <a:lnTo>
                    <a:pt x="205" y="534"/>
                  </a:lnTo>
                  <a:lnTo>
                    <a:pt x="205" y="534"/>
                  </a:lnTo>
                  <a:lnTo>
                    <a:pt x="187" y="525"/>
                  </a:lnTo>
                  <a:lnTo>
                    <a:pt x="187" y="521"/>
                  </a:lnTo>
                  <a:lnTo>
                    <a:pt x="182" y="516"/>
                  </a:lnTo>
                  <a:lnTo>
                    <a:pt x="178" y="516"/>
                  </a:lnTo>
                  <a:lnTo>
                    <a:pt x="173" y="512"/>
                  </a:lnTo>
                  <a:lnTo>
                    <a:pt x="169" y="512"/>
                  </a:lnTo>
                  <a:lnTo>
                    <a:pt x="164" y="512"/>
                  </a:lnTo>
                  <a:lnTo>
                    <a:pt x="150" y="516"/>
                  </a:lnTo>
                  <a:lnTo>
                    <a:pt x="150" y="512"/>
                  </a:lnTo>
                  <a:lnTo>
                    <a:pt x="150" y="512"/>
                  </a:lnTo>
                  <a:lnTo>
                    <a:pt x="146" y="507"/>
                  </a:lnTo>
                  <a:lnTo>
                    <a:pt x="146" y="502"/>
                  </a:lnTo>
                  <a:lnTo>
                    <a:pt x="146" y="502"/>
                  </a:lnTo>
                  <a:lnTo>
                    <a:pt x="146" y="502"/>
                  </a:lnTo>
                  <a:lnTo>
                    <a:pt x="146" y="498"/>
                  </a:lnTo>
                  <a:lnTo>
                    <a:pt x="146" y="498"/>
                  </a:lnTo>
                  <a:lnTo>
                    <a:pt x="146" y="493"/>
                  </a:lnTo>
                  <a:lnTo>
                    <a:pt x="146" y="489"/>
                  </a:lnTo>
                  <a:lnTo>
                    <a:pt x="141" y="475"/>
                  </a:lnTo>
                  <a:lnTo>
                    <a:pt x="141" y="470"/>
                  </a:lnTo>
                  <a:lnTo>
                    <a:pt x="137" y="448"/>
                  </a:lnTo>
                  <a:lnTo>
                    <a:pt x="137" y="443"/>
                  </a:lnTo>
                  <a:lnTo>
                    <a:pt x="137" y="438"/>
                  </a:lnTo>
                  <a:lnTo>
                    <a:pt x="132" y="434"/>
                  </a:lnTo>
                  <a:lnTo>
                    <a:pt x="132" y="429"/>
                  </a:lnTo>
                  <a:lnTo>
                    <a:pt x="132" y="429"/>
                  </a:lnTo>
                  <a:lnTo>
                    <a:pt x="137" y="429"/>
                  </a:lnTo>
                  <a:lnTo>
                    <a:pt x="137" y="429"/>
                  </a:lnTo>
                  <a:lnTo>
                    <a:pt x="146" y="429"/>
                  </a:lnTo>
                  <a:lnTo>
                    <a:pt x="146" y="429"/>
                  </a:lnTo>
                  <a:lnTo>
                    <a:pt x="155" y="429"/>
                  </a:lnTo>
                  <a:lnTo>
                    <a:pt x="160" y="429"/>
                  </a:lnTo>
                  <a:lnTo>
                    <a:pt x="160" y="425"/>
                  </a:lnTo>
                  <a:lnTo>
                    <a:pt x="160" y="420"/>
                  </a:lnTo>
                  <a:lnTo>
                    <a:pt x="150" y="420"/>
                  </a:lnTo>
                  <a:lnTo>
                    <a:pt x="150" y="416"/>
                  </a:lnTo>
                  <a:lnTo>
                    <a:pt x="141" y="416"/>
                  </a:lnTo>
                  <a:lnTo>
                    <a:pt x="141" y="416"/>
                  </a:lnTo>
                  <a:lnTo>
                    <a:pt x="132" y="411"/>
                  </a:lnTo>
                  <a:lnTo>
                    <a:pt x="123" y="406"/>
                  </a:lnTo>
                  <a:lnTo>
                    <a:pt x="118" y="406"/>
                  </a:lnTo>
                  <a:lnTo>
                    <a:pt x="118" y="406"/>
                  </a:lnTo>
                  <a:lnTo>
                    <a:pt x="109" y="402"/>
                  </a:lnTo>
                  <a:lnTo>
                    <a:pt x="105" y="397"/>
                  </a:lnTo>
                  <a:lnTo>
                    <a:pt x="105" y="397"/>
                  </a:lnTo>
                  <a:lnTo>
                    <a:pt x="100" y="397"/>
                  </a:lnTo>
                  <a:lnTo>
                    <a:pt x="82" y="379"/>
                  </a:lnTo>
                  <a:lnTo>
                    <a:pt x="82" y="374"/>
                  </a:lnTo>
                  <a:lnTo>
                    <a:pt x="77" y="374"/>
                  </a:lnTo>
                  <a:lnTo>
                    <a:pt x="77" y="370"/>
                  </a:lnTo>
                  <a:lnTo>
                    <a:pt x="77" y="361"/>
                  </a:lnTo>
                  <a:lnTo>
                    <a:pt x="77" y="356"/>
                  </a:lnTo>
                  <a:lnTo>
                    <a:pt x="77" y="347"/>
                  </a:lnTo>
                  <a:lnTo>
                    <a:pt x="77" y="347"/>
                  </a:lnTo>
                  <a:lnTo>
                    <a:pt x="64" y="333"/>
                  </a:lnTo>
                  <a:lnTo>
                    <a:pt x="59" y="333"/>
                  </a:lnTo>
                  <a:lnTo>
                    <a:pt x="59" y="324"/>
                  </a:lnTo>
                  <a:lnTo>
                    <a:pt x="54" y="324"/>
                  </a:lnTo>
                  <a:lnTo>
                    <a:pt x="45" y="310"/>
                  </a:lnTo>
                  <a:lnTo>
                    <a:pt x="41" y="301"/>
                  </a:lnTo>
                  <a:lnTo>
                    <a:pt x="41" y="297"/>
                  </a:lnTo>
                  <a:lnTo>
                    <a:pt x="36" y="292"/>
                  </a:lnTo>
                  <a:lnTo>
                    <a:pt x="36" y="288"/>
                  </a:lnTo>
                  <a:lnTo>
                    <a:pt x="41" y="283"/>
                  </a:lnTo>
                  <a:lnTo>
                    <a:pt x="32" y="278"/>
                  </a:lnTo>
                  <a:lnTo>
                    <a:pt x="27" y="274"/>
                  </a:lnTo>
                  <a:lnTo>
                    <a:pt x="22" y="274"/>
                  </a:lnTo>
                  <a:lnTo>
                    <a:pt x="13" y="256"/>
                  </a:lnTo>
                  <a:lnTo>
                    <a:pt x="9" y="246"/>
                  </a:lnTo>
                  <a:lnTo>
                    <a:pt x="9" y="246"/>
                  </a:lnTo>
                  <a:lnTo>
                    <a:pt x="9" y="242"/>
                  </a:lnTo>
                  <a:lnTo>
                    <a:pt x="4" y="233"/>
                  </a:lnTo>
                  <a:lnTo>
                    <a:pt x="0" y="228"/>
                  </a:lnTo>
                  <a:lnTo>
                    <a:pt x="4" y="228"/>
                  </a:lnTo>
                  <a:lnTo>
                    <a:pt x="13" y="214"/>
                  </a:lnTo>
                  <a:lnTo>
                    <a:pt x="18" y="205"/>
                  </a:lnTo>
                  <a:lnTo>
                    <a:pt x="18" y="205"/>
                  </a:lnTo>
                  <a:lnTo>
                    <a:pt x="18" y="196"/>
                  </a:lnTo>
                  <a:lnTo>
                    <a:pt x="27" y="192"/>
                  </a:lnTo>
                  <a:lnTo>
                    <a:pt x="27" y="187"/>
                  </a:lnTo>
                  <a:lnTo>
                    <a:pt x="32" y="182"/>
                  </a:lnTo>
                  <a:lnTo>
                    <a:pt x="32" y="182"/>
                  </a:lnTo>
                  <a:lnTo>
                    <a:pt x="32" y="178"/>
                  </a:lnTo>
                  <a:lnTo>
                    <a:pt x="32" y="178"/>
                  </a:lnTo>
                  <a:lnTo>
                    <a:pt x="32" y="173"/>
                  </a:lnTo>
                  <a:lnTo>
                    <a:pt x="36" y="169"/>
                  </a:lnTo>
                  <a:lnTo>
                    <a:pt x="36" y="160"/>
                  </a:lnTo>
                  <a:lnTo>
                    <a:pt x="41" y="160"/>
                  </a:lnTo>
                  <a:lnTo>
                    <a:pt x="41" y="160"/>
                  </a:lnTo>
                  <a:lnTo>
                    <a:pt x="45" y="150"/>
                  </a:lnTo>
                  <a:lnTo>
                    <a:pt x="45" y="146"/>
                  </a:lnTo>
                  <a:lnTo>
                    <a:pt x="45" y="141"/>
                  </a:lnTo>
                  <a:lnTo>
                    <a:pt x="50" y="141"/>
                  </a:lnTo>
                  <a:lnTo>
                    <a:pt x="50" y="141"/>
                  </a:lnTo>
                  <a:lnTo>
                    <a:pt x="54" y="137"/>
                  </a:lnTo>
                  <a:lnTo>
                    <a:pt x="54" y="132"/>
                  </a:lnTo>
                  <a:lnTo>
                    <a:pt x="59" y="128"/>
                  </a:lnTo>
                  <a:lnTo>
                    <a:pt x="64" y="132"/>
                  </a:lnTo>
                  <a:lnTo>
                    <a:pt x="68" y="132"/>
                  </a:lnTo>
                  <a:lnTo>
                    <a:pt x="73" y="137"/>
                  </a:lnTo>
                  <a:lnTo>
                    <a:pt x="77" y="141"/>
                  </a:lnTo>
                  <a:lnTo>
                    <a:pt x="77" y="141"/>
                  </a:lnTo>
                  <a:lnTo>
                    <a:pt x="82" y="141"/>
                  </a:lnTo>
                  <a:lnTo>
                    <a:pt x="86" y="146"/>
                  </a:lnTo>
                  <a:lnTo>
                    <a:pt x="91" y="150"/>
                  </a:lnTo>
                  <a:lnTo>
                    <a:pt x="96" y="155"/>
                  </a:lnTo>
                  <a:lnTo>
                    <a:pt x="96" y="160"/>
                  </a:lnTo>
                  <a:lnTo>
                    <a:pt x="96" y="160"/>
                  </a:lnTo>
                  <a:lnTo>
                    <a:pt x="96" y="164"/>
                  </a:lnTo>
                  <a:lnTo>
                    <a:pt x="100" y="164"/>
                  </a:lnTo>
                  <a:lnTo>
                    <a:pt x="105" y="164"/>
                  </a:lnTo>
                  <a:lnTo>
                    <a:pt x="105" y="169"/>
                  </a:lnTo>
                  <a:lnTo>
                    <a:pt x="109" y="173"/>
                  </a:lnTo>
                  <a:lnTo>
                    <a:pt x="109" y="178"/>
                  </a:lnTo>
                  <a:lnTo>
                    <a:pt x="109" y="182"/>
                  </a:lnTo>
                  <a:lnTo>
                    <a:pt x="105" y="182"/>
                  </a:lnTo>
                  <a:lnTo>
                    <a:pt x="105" y="187"/>
                  </a:lnTo>
                  <a:lnTo>
                    <a:pt x="100" y="192"/>
                  </a:lnTo>
                  <a:lnTo>
                    <a:pt x="100" y="196"/>
                  </a:lnTo>
                  <a:lnTo>
                    <a:pt x="105" y="201"/>
                  </a:lnTo>
                  <a:lnTo>
                    <a:pt x="105" y="205"/>
                  </a:lnTo>
                  <a:lnTo>
                    <a:pt x="105" y="205"/>
                  </a:lnTo>
                  <a:lnTo>
                    <a:pt x="105" y="210"/>
                  </a:lnTo>
                  <a:lnTo>
                    <a:pt x="109" y="210"/>
                  </a:lnTo>
                  <a:lnTo>
                    <a:pt x="109" y="214"/>
                  </a:lnTo>
                  <a:lnTo>
                    <a:pt x="114" y="219"/>
                  </a:lnTo>
                  <a:lnTo>
                    <a:pt x="114" y="224"/>
                  </a:lnTo>
                  <a:lnTo>
                    <a:pt x="118" y="224"/>
                  </a:lnTo>
                  <a:lnTo>
                    <a:pt x="118" y="224"/>
                  </a:lnTo>
                  <a:lnTo>
                    <a:pt x="123" y="219"/>
                  </a:lnTo>
                  <a:lnTo>
                    <a:pt x="128" y="214"/>
                  </a:lnTo>
                  <a:lnTo>
                    <a:pt x="132" y="210"/>
                  </a:lnTo>
                  <a:lnTo>
                    <a:pt x="137" y="210"/>
                  </a:lnTo>
                  <a:lnTo>
                    <a:pt x="137" y="205"/>
                  </a:lnTo>
                  <a:lnTo>
                    <a:pt x="141" y="205"/>
                  </a:lnTo>
                  <a:lnTo>
                    <a:pt x="141" y="205"/>
                  </a:lnTo>
                  <a:lnTo>
                    <a:pt x="141" y="205"/>
                  </a:lnTo>
                  <a:lnTo>
                    <a:pt x="146" y="205"/>
                  </a:lnTo>
                  <a:lnTo>
                    <a:pt x="146" y="201"/>
                  </a:lnTo>
                  <a:lnTo>
                    <a:pt x="141" y="196"/>
                  </a:lnTo>
                  <a:lnTo>
                    <a:pt x="141" y="192"/>
                  </a:lnTo>
                  <a:lnTo>
                    <a:pt x="141" y="192"/>
                  </a:lnTo>
                  <a:lnTo>
                    <a:pt x="141" y="182"/>
                  </a:lnTo>
                  <a:lnTo>
                    <a:pt x="141" y="182"/>
                  </a:lnTo>
                  <a:lnTo>
                    <a:pt x="141" y="182"/>
                  </a:lnTo>
                  <a:lnTo>
                    <a:pt x="146" y="182"/>
                  </a:lnTo>
                  <a:lnTo>
                    <a:pt x="150" y="182"/>
                  </a:lnTo>
                  <a:lnTo>
                    <a:pt x="155" y="178"/>
                  </a:lnTo>
                  <a:lnTo>
                    <a:pt x="160" y="178"/>
                  </a:lnTo>
                  <a:lnTo>
                    <a:pt x="160" y="182"/>
                  </a:lnTo>
                  <a:lnTo>
                    <a:pt x="164" y="182"/>
                  </a:lnTo>
                  <a:lnTo>
                    <a:pt x="164" y="182"/>
                  </a:lnTo>
                  <a:lnTo>
                    <a:pt x="169" y="182"/>
                  </a:lnTo>
                  <a:lnTo>
                    <a:pt x="173" y="182"/>
                  </a:lnTo>
                  <a:lnTo>
                    <a:pt x="173" y="182"/>
                  </a:lnTo>
                  <a:lnTo>
                    <a:pt x="178" y="182"/>
                  </a:lnTo>
                  <a:lnTo>
                    <a:pt x="182" y="182"/>
                  </a:lnTo>
                  <a:lnTo>
                    <a:pt x="187" y="182"/>
                  </a:lnTo>
                  <a:lnTo>
                    <a:pt x="187" y="182"/>
                  </a:lnTo>
                  <a:lnTo>
                    <a:pt x="187" y="182"/>
                  </a:lnTo>
                  <a:lnTo>
                    <a:pt x="192" y="182"/>
                  </a:lnTo>
                  <a:lnTo>
                    <a:pt x="205" y="182"/>
                  </a:lnTo>
                  <a:lnTo>
                    <a:pt x="205" y="182"/>
                  </a:lnTo>
                  <a:lnTo>
                    <a:pt x="210" y="187"/>
                  </a:lnTo>
                  <a:lnTo>
                    <a:pt x="210" y="192"/>
                  </a:lnTo>
                  <a:lnTo>
                    <a:pt x="214" y="192"/>
                  </a:lnTo>
                  <a:lnTo>
                    <a:pt x="219" y="192"/>
                  </a:lnTo>
                  <a:lnTo>
                    <a:pt x="224" y="192"/>
                  </a:lnTo>
                  <a:lnTo>
                    <a:pt x="228" y="187"/>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99" name="Freeform 16">
              <a:extLst>
                <a:ext uri="{FF2B5EF4-FFF2-40B4-BE49-F238E27FC236}">
                  <a16:creationId xmlns:a16="http://schemas.microsoft.com/office/drawing/2014/main" id="{9D681123-C6BE-4008-B32D-2C98FCEEB5CB}"/>
                </a:ext>
              </a:extLst>
            </p:cNvPr>
            <p:cNvSpPr>
              <a:spLocks/>
            </p:cNvSpPr>
            <p:nvPr>
              <p:custDataLst>
                <p:tags r:id="rId11"/>
              </p:custDataLst>
            </p:nvPr>
          </p:nvSpPr>
          <p:spPr bwMode="auto">
            <a:xfrm>
              <a:off x="1727756" y="3534131"/>
              <a:ext cx="347862" cy="411397"/>
            </a:xfrm>
            <a:custGeom>
              <a:avLst/>
              <a:gdLst/>
              <a:ahLst/>
              <a:cxnLst>
                <a:cxn ang="0">
                  <a:pos x="28" y="297"/>
                </a:cxn>
                <a:cxn ang="0">
                  <a:pos x="55" y="306"/>
                </a:cxn>
                <a:cxn ang="0">
                  <a:pos x="83" y="325"/>
                </a:cxn>
                <a:cxn ang="0">
                  <a:pos x="87" y="302"/>
                </a:cxn>
                <a:cxn ang="0">
                  <a:pos x="83" y="283"/>
                </a:cxn>
                <a:cxn ang="0">
                  <a:pos x="101" y="261"/>
                </a:cxn>
                <a:cxn ang="0">
                  <a:pos x="106" y="233"/>
                </a:cxn>
                <a:cxn ang="0">
                  <a:pos x="74" y="201"/>
                </a:cxn>
                <a:cxn ang="0">
                  <a:pos x="87" y="151"/>
                </a:cxn>
                <a:cxn ang="0">
                  <a:pos x="83" y="87"/>
                </a:cxn>
                <a:cxn ang="0">
                  <a:pos x="74" y="46"/>
                </a:cxn>
                <a:cxn ang="0">
                  <a:pos x="142" y="55"/>
                </a:cxn>
                <a:cxn ang="0">
                  <a:pos x="151" y="69"/>
                </a:cxn>
                <a:cxn ang="0">
                  <a:pos x="165" y="87"/>
                </a:cxn>
                <a:cxn ang="0">
                  <a:pos x="179" y="96"/>
                </a:cxn>
                <a:cxn ang="0">
                  <a:pos x="197" y="82"/>
                </a:cxn>
                <a:cxn ang="0">
                  <a:pos x="202" y="46"/>
                </a:cxn>
                <a:cxn ang="0">
                  <a:pos x="215" y="23"/>
                </a:cxn>
                <a:cxn ang="0">
                  <a:pos x="247" y="23"/>
                </a:cxn>
                <a:cxn ang="0">
                  <a:pos x="284" y="5"/>
                </a:cxn>
                <a:cxn ang="0">
                  <a:pos x="302" y="5"/>
                </a:cxn>
                <a:cxn ang="0">
                  <a:pos x="311" y="23"/>
                </a:cxn>
                <a:cxn ang="0">
                  <a:pos x="325" y="41"/>
                </a:cxn>
                <a:cxn ang="0">
                  <a:pos x="339" y="64"/>
                </a:cxn>
                <a:cxn ang="0">
                  <a:pos x="362" y="91"/>
                </a:cxn>
                <a:cxn ang="0">
                  <a:pos x="371" y="110"/>
                </a:cxn>
                <a:cxn ang="0">
                  <a:pos x="380" y="133"/>
                </a:cxn>
                <a:cxn ang="0">
                  <a:pos x="394" y="151"/>
                </a:cxn>
                <a:cxn ang="0">
                  <a:pos x="398" y="169"/>
                </a:cxn>
                <a:cxn ang="0">
                  <a:pos x="375" y="174"/>
                </a:cxn>
                <a:cxn ang="0">
                  <a:pos x="352" y="187"/>
                </a:cxn>
                <a:cxn ang="0">
                  <a:pos x="348" y="206"/>
                </a:cxn>
                <a:cxn ang="0">
                  <a:pos x="330" y="219"/>
                </a:cxn>
                <a:cxn ang="0">
                  <a:pos x="311" y="238"/>
                </a:cxn>
                <a:cxn ang="0">
                  <a:pos x="311" y="256"/>
                </a:cxn>
                <a:cxn ang="0">
                  <a:pos x="311" y="283"/>
                </a:cxn>
                <a:cxn ang="0">
                  <a:pos x="298" y="283"/>
                </a:cxn>
                <a:cxn ang="0">
                  <a:pos x="270" y="297"/>
                </a:cxn>
                <a:cxn ang="0">
                  <a:pos x="256" y="311"/>
                </a:cxn>
                <a:cxn ang="0">
                  <a:pos x="229" y="288"/>
                </a:cxn>
                <a:cxn ang="0">
                  <a:pos x="211" y="288"/>
                </a:cxn>
                <a:cxn ang="0">
                  <a:pos x="179" y="297"/>
                </a:cxn>
                <a:cxn ang="0">
                  <a:pos x="170" y="347"/>
                </a:cxn>
                <a:cxn ang="0">
                  <a:pos x="160" y="375"/>
                </a:cxn>
                <a:cxn ang="0">
                  <a:pos x="142" y="398"/>
                </a:cxn>
                <a:cxn ang="0">
                  <a:pos x="110" y="389"/>
                </a:cxn>
                <a:cxn ang="0">
                  <a:pos x="92" y="352"/>
                </a:cxn>
                <a:cxn ang="0">
                  <a:pos x="69" y="352"/>
                </a:cxn>
                <a:cxn ang="0">
                  <a:pos x="46" y="347"/>
                </a:cxn>
                <a:cxn ang="0">
                  <a:pos x="14" y="347"/>
                </a:cxn>
                <a:cxn ang="0">
                  <a:pos x="0" y="325"/>
                </a:cxn>
                <a:cxn ang="0">
                  <a:pos x="14" y="297"/>
                </a:cxn>
              </a:cxnLst>
              <a:rect l="0" t="0" r="r" b="b"/>
              <a:pathLst>
                <a:path w="398" h="407">
                  <a:moveTo>
                    <a:pt x="19" y="288"/>
                  </a:moveTo>
                  <a:lnTo>
                    <a:pt x="23" y="288"/>
                  </a:lnTo>
                  <a:lnTo>
                    <a:pt x="23" y="293"/>
                  </a:lnTo>
                  <a:lnTo>
                    <a:pt x="23" y="293"/>
                  </a:lnTo>
                  <a:lnTo>
                    <a:pt x="28" y="297"/>
                  </a:lnTo>
                  <a:lnTo>
                    <a:pt x="32" y="297"/>
                  </a:lnTo>
                  <a:lnTo>
                    <a:pt x="37" y="297"/>
                  </a:lnTo>
                  <a:lnTo>
                    <a:pt x="42" y="297"/>
                  </a:lnTo>
                  <a:lnTo>
                    <a:pt x="46" y="297"/>
                  </a:lnTo>
                  <a:lnTo>
                    <a:pt x="55" y="306"/>
                  </a:lnTo>
                  <a:lnTo>
                    <a:pt x="69" y="311"/>
                  </a:lnTo>
                  <a:lnTo>
                    <a:pt x="74" y="315"/>
                  </a:lnTo>
                  <a:lnTo>
                    <a:pt x="74" y="320"/>
                  </a:lnTo>
                  <a:lnTo>
                    <a:pt x="78" y="320"/>
                  </a:lnTo>
                  <a:lnTo>
                    <a:pt x="83" y="325"/>
                  </a:lnTo>
                  <a:lnTo>
                    <a:pt x="92" y="325"/>
                  </a:lnTo>
                  <a:lnTo>
                    <a:pt x="92" y="315"/>
                  </a:lnTo>
                  <a:lnTo>
                    <a:pt x="92" y="306"/>
                  </a:lnTo>
                  <a:lnTo>
                    <a:pt x="92" y="306"/>
                  </a:lnTo>
                  <a:lnTo>
                    <a:pt x="87" y="302"/>
                  </a:lnTo>
                  <a:lnTo>
                    <a:pt x="87" y="297"/>
                  </a:lnTo>
                  <a:lnTo>
                    <a:pt x="87" y="293"/>
                  </a:lnTo>
                  <a:lnTo>
                    <a:pt x="83" y="288"/>
                  </a:lnTo>
                  <a:lnTo>
                    <a:pt x="83" y="283"/>
                  </a:lnTo>
                  <a:lnTo>
                    <a:pt x="83" y="283"/>
                  </a:lnTo>
                  <a:lnTo>
                    <a:pt x="87" y="279"/>
                  </a:lnTo>
                  <a:lnTo>
                    <a:pt x="92" y="274"/>
                  </a:lnTo>
                  <a:lnTo>
                    <a:pt x="96" y="270"/>
                  </a:lnTo>
                  <a:lnTo>
                    <a:pt x="96" y="270"/>
                  </a:lnTo>
                  <a:lnTo>
                    <a:pt x="101" y="261"/>
                  </a:lnTo>
                  <a:lnTo>
                    <a:pt x="101" y="261"/>
                  </a:lnTo>
                  <a:lnTo>
                    <a:pt x="106" y="256"/>
                  </a:lnTo>
                  <a:lnTo>
                    <a:pt x="106" y="247"/>
                  </a:lnTo>
                  <a:lnTo>
                    <a:pt x="106" y="238"/>
                  </a:lnTo>
                  <a:lnTo>
                    <a:pt x="106" y="233"/>
                  </a:lnTo>
                  <a:lnTo>
                    <a:pt x="101" y="215"/>
                  </a:lnTo>
                  <a:lnTo>
                    <a:pt x="101" y="210"/>
                  </a:lnTo>
                  <a:lnTo>
                    <a:pt x="92" y="210"/>
                  </a:lnTo>
                  <a:lnTo>
                    <a:pt x="83" y="206"/>
                  </a:lnTo>
                  <a:lnTo>
                    <a:pt x="74" y="201"/>
                  </a:lnTo>
                  <a:lnTo>
                    <a:pt x="74" y="192"/>
                  </a:lnTo>
                  <a:lnTo>
                    <a:pt x="69" y="178"/>
                  </a:lnTo>
                  <a:lnTo>
                    <a:pt x="74" y="174"/>
                  </a:lnTo>
                  <a:lnTo>
                    <a:pt x="78" y="160"/>
                  </a:lnTo>
                  <a:lnTo>
                    <a:pt x="87" y="151"/>
                  </a:lnTo>
                  <a:lnTo>
                    <a:pt x="87" y="142"/>
                  </a:lnTo>
                  <a:lnTo>
                    <a:pt x="83" y="128"/>
                  </a:lnTo>
                  <a:lnTo>
                    <a:pt x="83" y="114"/>
                  </a:lnTo>
                  <a:lnTo>
                    <a:pt x="87" y="105"/>
                  </a:lnTo>
                  <a:lnTo>
                    <a:pt x="83" y="87"/>
                  </a:lnTo>
                  <a:lnTo>
                    <a:pt x="78" y="73"/>
                  </a:lnTo>
                  <a:lnTo>
                    <a:pt x="74" y="64"/>
                  </a:lnTo>
                  <a:lnTo>
                    <a:pt x="69" y="59"/>
                  </a:lnTo>
                  <a:lnTo>
                    <a:pt x="69" y="50"/>
                  </a:lnTo>
                  <a:lnTo>
                    <a:pt x="74" y="46"/>
                  </a:lnTo>
                  <a:lnTo>
                    <a:pt x="87" y="50"/>
                  </a:lnTo>
                  <a:lnTo>
                    <a:pt x="101" y="46"/>
                  </a:lnTo>
                  <a:lnTo>
                    <a:pt x="119" y="41"/>
                  </a:lnTo>
                  <a:lnTo>
                    <a:pt x="142" y="46"/>
                  </a:lnTo>
                  <a:lnTo>
                    <a:pt x="142" y="55"/>
                  </a:lnTo>
                  <a:lnTo>
                    <a:pt x="142" y="59"/>
                  </a:lnTo>
                  <a:lnTo>
                    <a:pt x="142" y="64"/>
                  </a:lnTo>
                  <a:lnTo>
                    <a:pt x="147" y="64"/>
                  </a:lnTo>
                  <a:lnTo>
                    <a:pt x="147" y="69"/>
                  </a:lnTo>
                  <a:lnTo>
                    <a:pt x="151" y="69"/>
                  </a:lnTo>
                  <a:lnTo>
                    <a:pt x="151" y="73"/>
                  </a:lnTo>
                  <a:lnTo>
                    <a:pt x="156" y="78"/>
                  </a:lnTo>
                  <a:lnTo>
                    <a:pt x="156" y="82"/>
                  </a:lnTo>
                  <a:lnTo>
                    <a:pt x="160" y="82"/>
                  </a:lnTo>
                  <a:lnTo>
                    <a:pt x="165" y="87"/>
                  </a:lnTo>
                  <a:lnTo>
                    <a:pt x="170" y="87"/>
                  </a:lnTo>
                  <a:lnTo>
                    <a:pt x="174" y="91"/>
                  </a:lnTo>
                  <a:lnTo>
                    <a:pt x="179" y="91"/>
                  </a:lnTo>
                  <a:lnTo>
                    <a:pt x="179" y="96"/>
                  </a:lnTo>
                  <a:lnTo>
                    <a:pt x="179" y="96"/>
                  </a:lnTo>
                  <a:lnTo>
                    <a:pt x="183" y="96"/>
                  </a:lnTo>
                  <a:lnTo>
                    <a:pt x="188" y="96"/>
                  </a:lnTo>
                  <a:lnTo>
                    <a:pt x="192" y="91"/>
                  </a:lnTo>
                  <a:lnTo>
                    <a:pt x="197" y="87"/>
                  </a:lnTo>
                  <a:lnTo>
                    <a:pt x="197" y="82"/>
                  </a:lnTo>
                  <a:lnTo>
                    <a:pt x="197" y="73"/>
                  </a:lnTo>
                  <a:lnTo>
                    <a:pt x="202" y="64"/>
                  </a:lnTo>
                  <a:lnTo>
                    <a:pt x="202" y="59"/>
                  </a:lnTo>
                  <a:lnTo>
                    <a:pt x="202" y="55"/>
                  </a:lnTo>
                  <a:lnTo>
                    <a:pt x="202" y="46"/>
                  </a:lnTo>
                  <a:lnTo>
                    <a:pt x="202" y="41"/>
                  </a:lnTo>
                  <a:lnTo>
                    <a:pt x="202" y="37"/>
                  </a:lnTo>
                  <a:lnTo>
                    <a:pt x="202" y="32"/>
                  </a:lnTo>
                  <a:lnTo>
                    <a:pt x="211" y="27"/>
                  </a:lnTo>
                  <a:lnTo>
                    <a:pt x="215" y="23"/>
                  </a:lnTo>
                  <a:lnTo>
                    <a:pt x="220" y="23"/>
                  </a:lnTo>
                  <a:lnTo>
                    <a:pt x="220" y="23"/>
                  </a:lnTo>
                  <a:lnTo>
                    <a:pt x="224" y="23"/>
                  </a:lnTo>
                  <a:lnTo>
                    <a:pt x="238" y="23"/>
                  </a:lnTo>
                  <a:lnTo>
                    <a:pt x="247" y="23"/>
                  </a:lnTo>
                  <a:lnTo>
                    <a:pt x="256" y="18"/>
                  </a:lnTo>
                  <a:lnTo>
                    <a:pt x="266" y="9"/>
                  </a:lnTo>
                  <a:lnTo>
                    <a:pt x="270" y="5"/>
                  </a:lnTo>
                  <a:lnTo>
                    <a:pt x="275" y="5"/>
                  </a:lnTo>
                  <a:lnTo>
                    <a:pt x="284" y="5"/>
                  </a:lnTo>
                  <a:lnTo>
                    <a:pt x="284" y="0"/>
                  </a:lnTo>
                  <a:lnTo>
                    <a:pt x="288" y="0"/>
                  </a:lnTo>
                  <a:lnTo>
                    <a:pt x="293" y="0"/>
                  </a:lnTo>
                  <a:lnTo>
                    <a:pt x="298" y="0"/>
                  </a:lnTo>
                  <a:lnTo>
                    <a:pt x="302" y="5"/>
                  </a:lnTo>
                  <a:lnTo>
                    <a:pt x="307" y="9"/>
                  </a:lnTo>
                  <a:lnTo>
                    <a:pt x="307" y="14"/>
                  </a:lnTo>
                  <a:lnTo>
                    <a:pt x="311" y="14"/>
                  </a:lnTo>
                  <a:lnTo>
                    <a:pt x="311" y="18"/>
                  </a:lnTo>
                  <a:lnTo>
                    <a:pt x="311" y="23"/>
                  </a:lnTo>
                  <a:lnTo>
                    <a:pt x="316" y="27"/>
                  </a:lnTo>
                  <a:lnTo>
                    <a:pt x="320" y="32"/>
                  </a:lnTo>
                  <a:lnTo>
                    <a:pt x="320" y="37"/>
                  </a:lnTo>
                  <a:lnTo>
                    <a:pt x="320" y="41"/>
                  </a:lnTo>
                  <a:lnTo>
                    <a:pt x="325" y="41"/>
                  </a:lnTo>
                  <a:lnTo>
                    <a:pt x="330" y="46"/>
                  </a:lnTo>
                  <a:lnTo>
                    <a:pt x="330" y="50"/>
                  </a:lnTo>
                  <a:lnTo>
                    <a:pt x="330" y="55"/>
                  </a:lnTo>
                  <a:lnTo>
                    <a:pt x="334" y="64"/>
                  </a:lnTo>
                  <a:lnTo>
                    <a:pt x="339" y="64"/>
                  </a:lnTo>
                  <a:lnTo>
                    <a:pt x="339" y="73"/>
                  </a:lnTo>
                  <a:lnTo>
                    <a:pt x="343" y="73"/>
                  </a:lnTo>
                  <a:lnTo>
                    <a:pt x="357" y="87"/>
                  </a:lnTo>
                  <a:lnTo>
                    <a:pt x="357" y="87"/>
                  </a:lnTo>
                  <a:lnTo>
                    <a:pt x="362" y="91"/>
                  </a:lnTo>
                  <a:lnTo>
                    <a:pt x="366" y="96"/>
                  </a:lnTo>
                  <a:lnTo>
                    <a:pt x="366" y="101"/>
                  </a:lnTo>
                  <a:lnTo>
                    <a:pt x="371" y="105"/>
                  </a:lnTo>
                  <a:lnTo>
                    <a:pt x="371" y="110"/>
                  </a:lnTo>
                  <a:lnTo>
                    <a:pt x="371" y="110"/>
                  </a:lnTo>
                  <a:lnTo>
                    <a:pt x="375" y="119"/>
                  </a:lnTo>
                  <a:lnTo>
                    <a:pt x="375" y="123"/>
                  </a:lnTo>
                  <a:lnTo>
                    <a:pt x="375" y="123"/>
                  </a:lnTo>
                  <a:lnTo>
                    <a:pt x="375" y="128"/>
                  </a:lnTo>
                  <a:lnTo>
                    <a:pt x="380" y="133"/>
                  </a:lnTo>
                  <a:lnTo>
                    <a:pt x="384" y="133"/>
                  </a:lnTo>
                  <a:lnTo>
                    <a:pt x="384" y="142"/>
                  </a:lnTo>
                  <a:lnTo>
                    <a:pt x="384" y="146"/>
                  </a:lnTo>
                  <a:lnTo>
                    <a:pt x="389" y="151"/>
                  </a:lnTo>
                  <a:lnTo>
                    <a:pt x="394" y="151"/>
                  </a:lnTo>
                  <a:lnTo>
                    <a:pt x="398" y="151"/>
                  </a:lnTo>
                  <a:lnTo>
                    <a:pt x="398" y="155"/>
                  </a:lnTo>
                  <a:lnTo>
                    <a:pt x="398" y="155"/>
                  </a:lnTo>
                  <a:lnTo>
                    <a:pt x="398" y="165"/>
                  </a:lnTo>
                  <a:lnTo>
                    <a:pt x="398" y="169"/>
                  </a:lnTo>
                  <a:lnTo>
                    <a:pt x="398" y="174"/>
                  </a:lnTo>
                  <a:lnTo>
                    <a:pt x="394" y="174"/>
                  </a:lnTo>
                  <a:lnTo>
                    <a:pt x="389" y="174"/>
                  </a:lnTo>
                  <a:lnTo>
                    <a:pt x="384" y="174"/>
                  </a:lnTo>
                  <a:lnTo>
                    <a:pt x="375" y="174"/>
                  </a:lnTo>
                  <a:lnTo>
                    <a:pt x="375" y="174"/>
                  </a:lnTo>
                  <a:lnTo>
                    <a:pt x="366" y="178"/>
                  </a:lnTo>
                  <a:lnTo>
                    <a:pt x="357" y="183"/>
                  </a:lnTo>
                  <a:lnTo>
                    <a:pt x="357" y="187"/>
                  </a:lnTo>
                  <a:lnTo>
                    <a:pt x="352" y="187"/>
                  </a:lnTo>
                  <a:lnTo>
                    <a:pt x="352" y="192"/>
                  </a:lnTo>
                  <a:lnTo>
                    <a:pt x="352" y="197"/>
                  </a:lnTo>
                  <a:lnTo>
                    <a:pt x="352" y="197"/>
                  </a:lnTo>
                  <a:lnTo>
                    <a:pt x="348" y="201"/>
                  </a:lnTo>
                  <a:lnTo>
                    <a:pt x="348" y="206"/>
                  </a:lnTo>
                  <a:lnTo>
                    <a:pt x="343" y="206"/>
                  </a:lnTo>
                  <a:lnTo>
                    <a:pt x="339" y="215"/>
                  </a:lnTo>
                  <a:lnTo>
                    <a:pt x="334" y="215"/>
                  </a:lnTo>
                  <a:lnTo>
                    <a:pt x="330" y="219"/>
                  </a:lnTo>
                  <a:lnTo>
                    <a:pt x="330" y="219"/>
                  </a:lnTo>
                  <a:lnTo>
                    <a:pt x="325" y="224"/>
                  </a:lnTo>
                  <a:lnTo>
                    <a:pt x="325" y="229"/>
                  </a:lnTo>
                  <a:lnTo>
                    <a:pt x="320" y="233"/>
                  </a:lnTo>
                  <a:lnTo>
                    <a:pt x="316" y="233"/>
                  </a:lnTo>
                  <a:lnTo>
                    <a:pt x="311" y="238"/>
                  </a:lnTo>
                  <a:lnTo>
                    <a:pt x="311" y="242"/>
                  </a:lnTo>
                  <a:lnTo>
                    <a:pt x="311" y="242"/>
                  </a:lnTo>
                  <a:lnTo>
                    <a:pt x="311" y="247"/>
                  </a:lnTo>
                  <a:lnTo>
                    <a:pt x="311" y="247"/>
                  </a:lnTo>
                  <a:lnTo>
                    <a:pt x="311" y="256"/>
                  </a:lnTo>
                  <a:lnTo>
                    <a:pt x="316" y="261"/>
                  </a:lnTo>
                  <a:lnTo>
                    <a:pt x="316" y="265"/>
                  </a:lnTo>
                  <a:lnTo>
                    <a:pt x="316" y="274"/>
                  </a:lnTo>
                  <a:lnTo>
                    <a:pt x="316" y="279"/>
                  </a:lnTo>
                  <a:lnTo>
                    <a:pt x="311" y="283"/>
                  </a:lnTo>
                  <a:lnTo>
                    <a:pt x="311" y="283"/>
                  </a:lnTo>
                  <a:lnTo>
                    <a:pt x="311" y="288"/>
                  </a:lnTo>
                  <a:lnTo>
                    <a:pt x="311" y="288"/>
                  </a:lnTo>
                  <a:lnTo>
                    <a:pt x="302" y="283"/>
                  </a:lnTo>
                  <a:lnTo>
                    <a:pt x="298" y="283"/>
                  </a:lnTo>
                  <a:lnTo>
                    <a:pt x="293" y="283"/>
                  </a:lnTo>
                  <a:lnTo>
                    <a:pt x="288" y="283"/>
                  </a:lnTo>
                  <a:lnTo>
                    <a:pt x="288" y="283"/>
                  </a:lnTo>
                  <a:lnTo>
                    <a:pt x="284" y="288"/>
                  </a:lnTo>
                  <a:lnTo>
                    <a:pt x="270" y="297"/>
                  </a:lnTo>
                  <a:lnTo>
                    <a:pt x="266" y="302"/>
                  </a:lnTo>
                  <a:lnTo>
                    <a:pt x="266" y="306"/>
                  </a:lnTo>
                  <a:lnTo>
                    <a:pt x="261" y="306"/>
                  </a:lnTo>
                  <a:lnTo>
                    <a:pt x="256" y="306"/>
                  </a:lnTo>
                  <a:lnTo>
                    <a:pt x="256" y="311"/>
                  </a:lnTo>
                  <a:lnTo>
                    <a:pt x="247" y="311"/>
                  </a:lnTo>
                  <a:lnTo>
                    <a:pt x="243" y="306"/>
                  </a:lnTo>
                  <a:lnTo>
                    <a:pt x="238" y="302"/>
                  </a:lnTo>
                  <a:lnTo>
                    <a:pt x="234" y="293"/>
                  </a:lnTo>
                  <a:lnTo>
                    <a:pt x="229" y="288"/>
                  </a:lnTo>
                  <a:lnTo>
                    <a:pt x="224" y="288"/>
                  </a:lnTo>
                  <a:lnTo>
                    <a:pt x="224" y="283"/>
                  </a:lnTo>
                  <a:lnTo>
                    <a:pt x="220" y="283"/>
                  </a:lnTo>
                  <a:lnTo>
                    <a:pt x="215" y="283"/>
                  </a:lnTo>
                  <a:lnTo>
                    <a:pt x="211" y="288"/>
                  </a:lnTo>
                  <a:lnTo>
                    <a:pt x="206" y="283"/>
                  </a:lnTo>
                  <a:lnTo>
                    <a:pt x="188" y="283"/>
                  </a:lnTo>
                  <a:lnTo>
                    <a:pt x="179" y="283"/>
                  </a:lnTo>
                  <a:lnTo>
                    <a:pt x="179" y="288"/>
                  </a:lnTo>
                  <a:lnTo>
                    <a:pt x="179" y="297"/>
                  </a:lnTo>
                  <a:lnTo>
                    <a:pt x="183" y="302"/>
                  </a:lnTo>
                  <a:lnTo>
                    <a:pt x="183" y="311"/>
                  </a:lnTo>
                  <a:lnTo>
                    <a:pt x="179" y="325"/>
                  </a:lnTo>
                  <a:lnTo>
                    <a:pt x="179" y="338"/>
                  </a:lnTo>
                  <a:lnTo>
                    <a:pt x="170" y="347"/>
                  </a:lnTo>
                  <a:lnTo>
                    <a:pt x="160" y="347"/>
                  </a:lnTo>
                  <a:lnTo>
                    <a:pt x="160" y="352"/>
                  </a:lnTo>
                  <a:lnTo>
                    <a:pt x="165" y="357"/>
                  </a:lnTo>
                  <a:lnTo>
                    <a:pt x="170" y="370"/>
                  </a:lnTo>
                  <a:lnTo>
                    <a:pt x="160" y="375"/>
                  </a:lnTo>
                  <a:lnTo>
                    <a:pt x="156" y="375"/>
                  </a:lnTo>
                  <a:lnTo>
                    <a:pt x="156" y="379"/>
                  </a:lnTo>
                  <a:lnTo>
                    <a:pt x="156" y="384"/>
                  </a:lnTo>
                  <a:lnTo>
                    <a:pt x="147" y="393"/>
                  </a:lnTo>
                  <a:lnTo>
                    <a:pt x="142" y="398"/>
                  </a:lnTo>
                  <a:lnTo>
                    <a:pt x="147" y="407"/>
                  </a:lnTo>
                  <a:lnTo>
                    <a:pt x="138" y="402"/>
                  </a:lnTo>
                  <a:lnTo>
                    <a:pt x="128" y="402"/>
                  </a:lnTo>
                  <a:lnTo>
                    <a:pt x="119" y="398"/>
                  </a:lnTo>
                  <a:lnTo>
                    <a:pt x="110" y="389"/>
                  </a:lnTo>
                  <a:lnTo>
                    <a:pt x="101" y="379"/>
                  </a:lnTo>
                  <a:lnTo>
                    <a:pt x="101" y="370"/>
                  </a:lnTo>
                  <a:lnTo>
                    <a:pt x="101" y="366"/>
                  </a:lnTo>
                  <a:lnTo>
                    <a:pt x="96" y="357"/>
                  </a:lnTo>
                  <a:lnTo>
                    <a:pt x="92" y="352"/>
                  </a:lnTo>
                  <a:lnTo>
                    <a:pt x="83" y="352"/>
                  </a:lnTo>
                  <a:lnTo>
                    <a:pt x="78" y="352"/>
                  </a:lnTo>
                  <a:lnTo>
                    <a:pt x="74" y="352"/>
                  </a:lnTo>
                  <a:lnTo>
                    <a:pt x="69" y="352"/>
                  </a:lnTo>
                  <a:lnTo>
                    <a:pt x="69" y="352"/>
                  </a:lnTo>
                  <a:lnTo>
                    <a:pt x="64" y="352"/>
                  </a:lnTo>
                  <a:lnTo>
                    <a:pt x="60" y="352"/>
                  </a:lnTo>
                  <a:lnTo>
                    <a:pt x="60" y="347"/>
                  </a:lnTo>
                  <a:lnTo>
                    <a:pt x="55" y="347"/>
                  </a:lnTo>
                  <a:lnTo>
                    <a:pt x="46" y="347"/>
                  </a:lnTo>
                  <a:lnTo>
                    <a:pt x="42" y="347"/>
                  </a:lnTo>
                  <a:lnTo>
                    <a:pt x="37" y="347"/>
                  </a:lnTo>
                  <a:lnTo>
                    <a:pt x="28" y="347"/>
                  </a:lnTo>
                  <a:lnTo>
                    <a:pt x="19" y="347"/>
                  </a:lnTo>
                  <a:lnTo>
                    <a:pt x="14" y="347"/>
                  </a:lnTo>
                  <a:lnTo>
                    <a:pt x="10" y="347"/>
                  </a:lnTo>
                  <a:lnTo>
                    <a:pt x="0" y="343"/>
                  </a:lnTo>
                  <a:lnTo>
                    <a:pt x="0" y="338"/>
                  </a:lnTo>
                  <a:lnTo>
                    <a:pt x="0" y="329"/>
                  </a:lnTo>
                  <a:lnTo>
                    <a:pt x="0" y="325"/>
                  </a:lnTo>
                  <a:lnTo>
                    <a:pt x="0" y="320"/>
                  </a:lnTo>
                  <a:lnTo>
                    <a:pt x="5" y="311"/>
                  </a:lnTo>
                  <a:lnTo>
                    <a:pt x="5" y="306"/>
                  </a:lnTo>
                  <a:lnTo>
                    <a:pt x="10" y="302"/>
                  </a:lnTo>
                  <a:lnTo>
                    <a:pt x="14" y="297"/>
                  </a:lnTo>
                  <a:lnTo>
                    <a:pt x="14" y="293"/>
                  </a:lnTo>
                  <a:lnTo>
                    <a:pt x="19" y="288"/>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0" name="Freeform 17">
              <a:extLst>
                <a:ext uri="{FF2B5EF4-FFF2-40B4-BE49-F238E27FC236}">
                  <a16:creationId xmlns:a16="http://schemas.microsoft.com/office/drawing/2014/main" id="{B78C29F0-F3BA-499C-B6CA-3D76DF552639}"/>
                </a:ext>
              </a:extLst>
            </p:cNvPr>
            <p:cNvSpPr>
              <a:spLocks/>
            </p:cNvSpPr>
            <p:nvPr>
              <p:custDataLst>
                <p:tags r:id="rId12"/>
              </p:custDataLst>
            </p:nvPr>
          </p:nvSpPr>
          <p:spPr bwMode="auto">
            <a:xfrm>
              <a:off x="914663" y="3219271"/>
              <a:ext cx="565628" cy="708434"/>
            </a:xfrm>
            <a:custGeom>
              <a:avLst/>
              <a:gdLst/>
              <a:ahLst/>
              <a:cxnLst>
                <a:cxn ang="0">
                  <a:pos x="320" y="192"/>
                </a:cxn>
                <a:cxn ang="0">
                  <a:pos x="338" y="142"/>
                </a:cxn>
                <a:cxn ang="0">
                  <a:pos x="352" y="101"/>
                </a:cxn>
                <a:cxn ang="0">
                  <a:pos x="366" y="73"/>
                </a:cxn>
                <a:cxn ang="0">
                  <a:pos x="366" y="46"/>
                </a:cxn>
                <a:cxn ang="0">
                  <a:pos x="384" y="23"/>
                </a:cxn>
                <a:cxn ang="0">
                  <a:pos x="407" y="0"/>
                </a:cxn>
                <a:cxn ang="0">
                  <a:pos x="430" y="18"/>
                </a:cxn>
                <a:cxn ang="0">
                  <a:pos x="425" y="50"/>
                </a:cxn>
                <a:cxn ang="0">
                  <a:pos x="466" y="46"/>
                </a:cxn>
                <a:cxn ang="0">
                  <a:pos x="503" y="64"/>
                </a:cxn>
                <a:cxn ang="0">
                  <a:pos x="530" y="73"/>
                </a:cxn>
                <a:cxn ang="0">
                  <a:pos x="553" y="87"/>
                </a:cxn>
                <a:cxn ang="0">
                  <a:pos x="576" y="119"/>
                </a:cxn>
                <a:cxn ang="0">
                  <a:pos x="626" y="114"/>
                </a:cxn>
                <a:cxn ang="0">
                  <a:pos x="644" y="142"/>
                </a:cxn>
                <a:cxn ang="0">
                  <a:pos x="644" y="192"/>
                </a:cxn>
                <a:cxn ang="0">
                  <a:pos x="631" y="247"/>
                </a:cxn>
                <a:cxn ang="0">
                  <a:pos x="612" y="293"/>
                </a:cxn>
                <a:cxn ang="0">
                  <a:pos x="626" y="366"/>
                </a:cxn>
                <a:cxn ang="0">
                  <a:pos x="608" y="416"/>
                </a:cxn>
                <a:cxn ang="0">
                  <a:pos x="548" y="434"/>
                </a:cxn>
                <a:cxn ang="0">
                  <a:pos x="507" y="457"/>
                </a:cxn>
                <a:cxn ang="0">
                  <a:pos x="471" y="480"/>
                </a:cxn>
                <a:cxn ang="0">
                  <a:pos x="448" y="476"/>
                </a:cxn>
                <a:cxn ang="0">
                  <a:pos x="407" y="476"/>
                </a:cxn>
                <a:cxn ang="0">
                  <a:pos x="420" y="517"/>
                </a:cxn>
                <a:cxn ang="0">
                  <a:pos x="443" y="572"/>
                </a:cxn>
                <a:cxn ang="0">
                  <a:pos x="475" y="594"/>
                </a:cxn>
                <a:cxn ang="0">
                  <a:pos x="448" y="640"/>
                </a:cxn>
                <a:cxn ang="0">
                  <a:pos x="420" y="658"/>
                </a:cxn>
                <a:cxn ang="0">
                  <a:pos x="388" y="686"/>
                </a:cxn>
                <a:cxn ang="0">
                  <a:pos x="343" y="695"/>
                </a:cxn>
                <a:cxn ang="0">
                  <a:pos x="338" y="663"/>
                </a:cxn>
                <a:cxn ang="0">
                  <a:pos x="320" y="631"/>
                </a:cxn>
                <a:cxn ang="0">
                  <a:pos x="279" y="599"/>
                </a:cxn>
                <a:cxn ang="0">
                  <a:pos x="242" y="585"/>
                </a:cxn>
                <a:cxn ang="0">
                  <a:pos x="210" y="599"/>
                </a:cxn>
                <a:cxn ang="0">
                  <a:pos x="169" y="594"/>
                </a:cxn>
                <a:cxn ang="0">
                  <a:pos x="142" y="594"/>
                </a:cxn>
                <a:cxn ang="0">
                  <a:pos x="123" y="608"/>
                </a:cxn>
                <a:cxn ang="0">
                  <a:pos x="105" y="631"/>
                </a:cxn>
                <a:cxn ang="0">
                  <a:pos x="87" y="613"/>
                </a:cxn>
                <a:cxn ang="0">
                  <a:pos x="82" y="576"/>
                </a:cxn>
                <a:cxn ang="0">
                  <a:pos x="55" y="549"/>
                </a:cxn>
                <a:cxn ang="0">
                  <a:pos x="14" y="521"/>
                </a:cxn>
                <a:cxn ang="0">
                  <a:pos x="0" y="485"/>
                </a:cxn>
                <a:cxn ang="0">
                  <a:pos x="27" y="457"/>
                </a:cxn>
                <a:cxn ang="0">
                  <a:pos x="50" y="412"/>
                </a:cxn>
                <a:cxn ang="0">
                  <a:pos x="41" y="380"/>
                </a:cxn>
                <a:cxn ang="0">
                  <a:pos x="46" y="325"/>
                </a:cxn>
                <a:cxn ang="0">
                  <a:pos x="68" y="306"/>
                </a:cxn>
                <a:cxn ang="0">
                  <a:pos x="96" y="265"/>
                </a:cxn>
                <a:cxn ang="0">
                  <a:pos x="187" y="270"/>
                </a:cxn>
                <a:cxn ang="0">
                  <a:pos x="210" y="288"/>
                </a:cxn>
                <a:cxn ang="0">
                  <a:pos x="206" y="316"/>
                </a:cxn>
                <a:cxn ang="0">
                  <a:pos x="233" y="316"/>
                </a:cxn>
                <a:cxn ang="0">
                  <a:pos x="265" y="320"/>
                </a:cxn>
                <a:cxn ang="0">
                  <a:pos x="283" y="279"/>
                </a:cxn>
                <a:cxn ang="0">
                  <a:pos x="297" y="233"/>
                </a:cxn>
              </a:cxnLst>
              <a:rect l="0" t="0" r="r" b="b"/>
              <a:pathLst>
                <a:path w="649" h="700">
                  <a:moveTo>
                    <a:pt x="302" y="220"/>
                  </a:moveTo>
                  <a:lnTo>
                    <a:pt x="302" y="220"/>
                  </a:lnTo>
                  <a:lnTo>
                    <a:pt x="306" y="210"/>
                  </a:lnTo>
                  <a:lnTo>
                    <a:pt x="306" y="206"/>
                  </a:lnTo>
                  <a:lnTo>
                    <a:pt x="311" y="206"/>
                  </a:lnTo>
                  <a:lnTo>
                    <a:pt x="311" y="201"/>
                  </a:lnTo>
                  <a:lnTo>
                    <a:pt x="315" y="201"/>
                  </a:lnTo>
                  <a:lnTo>
                    <a:pt x="315" y="201"/>
                  </a:lnTo>
                  <a:lnTo>
                    <a:pt x="320" y="197"/>
                  </a:lnTo>
                  <a:lnTo>
                    <a:pt x="320" y="192"/>
                  </a:lnTo>
                  <a:lnTo>
                    <a:pt x="320" y="188"/>
                  </a:lnTo>
                  <a:lnTo>
                    <a:pt x="324" y="183"/>
                  </a:lnTo>
                  <a:lnTo>
                    <a:pt x="324" y="178"/>
                  </a:lnTo>
                  <a:lnTo>
                    <a:pt x="329" y="169"/>
                  </a:lnTo>
                  <a:lnTo>
                    <a:pt x="334" y="165"/>
                  </a:lnTo>
                  <a:lnTo>
                    <a:pt x="334" y="160"/>
                  </a:lnTo>
                  <a:lnTo>
                    <a:pt x="334" y="156"/>
                  </a:lnTo>
                  <a:lnTo>
                    <a:pt x="338" y="151"/>
                  </a:lnTo>
                  <a:lnTo>
                    <a:pt x="338" y="146"/>
                  </a:lnTo>
                  <a:lnTo>
                    <a:pt x="338" y="142"/>
                  </a:lnTo>
                  <a:lnTo>
                    <a:pt x="338" y="137"/>
                  </a:lnTo>
                  <a:lnTo>
                    <a:pt x="343" y="133"/>
                  </a:lnTo>
                  <a:lnTo>
                    <a:pt x="343" y="133"/>
                  </a:lnTo>
                  <a:lnTo>
                    <a:pt x="343" y="128"/>
                  </a:lnTo>
                  <a:lnTo>
                    <a:pt x="343" y="124"/>
                  </a:lnTo>
                  <a:lnTo>
                    <a:pt x="347" y="114"/>
                  </a:lnTo>
                  <a:lnTo>
                    <a:pt x="347" y="114"/>
                  </a:lnTo>
                  <a:lnTo>
                    <a:pt x="347" y="110"/>
                  </a:lnTo>
                  <a:lnTo>
                    <a:pt x="352" y="105"/>
                  </a:lnTo>
                  <a:lnTo>
                    <a:pt x="352" y="101"/>
                  </a:lnTo>
                  <a:lnTo>
                    <a:pt x="356" y="101"/>
                  </a:lnTo>
                  <a:lnTo>
                    <a:pt x="361" y="96"/>
                  </a:lnTo>
                  <a:lnTo>
                    <a:pt x="366" y="96"/>
                  </a:lnTo>
                  <a:lnTo>
                    <a:pt x="370" y="96"/>
                  </a:lnTo>
                  <a:lnTo>
                    <a:pt x="370" y="92"/>
                  </a:lnTo>
                  <a:lnTo>
                    <a:pt x="370" y="92"/>
                  </a:lnTo>
                  <a:lnTo>
                    <a:pt x="370" y="87"/>
                  </a:lnTo>
                  <a:lnTo>
                    <a:pt x="370" y="82"/>
                  </a:lnTo>
                  <a:lnTo>
                    <a:pt x="366" y="78"/>
                  </a:lnTo>
                  <a:lnTo>
                    <a:pt x="366" y="73"/>
                  </a:lnTo>
                  <a:lnTo>
                    <a:pt x="366" y="69"/>
                  </a:lnTo>
                  <a:lnTo>
                    <a:pt x="370" y="69"/>
                  </a:lnTo>
                  <a:lnTo>
                    <a:pt x="370" y="64"/>
                  </a:lnTo>
                  <a:lnTo>
                    <a:pt x="370" y="60"/>
                  </a:lnTo>
                  <a:lnTo>
                    <a:pt x="375" y="60"/>
                  </a:lnTo>
                  <a:lnTo>
                    <a:pt x="375" y="55"/>
                  </a:lnTo>
                  <a:lnTo>
                    <a:pt x="370" y="55"/>
                  </a:lnTo>
                  <a:lnTo>
                    <a:pt x="370" y="50"/>
                  </a:lnTo>
                  <a:lnTo>
                    <a:pt x="366" y="46"/>
                  </a:lnTo>
                  <a:lnTo>
                    <a:pt x="366" y="46"/>
                  </a:lnTo>
                  <a:lnTo>
                    <a:pt x="366" y="46"/>
                  </a:lnTo>
                  <a:lnTo>
                    <a:pt x="361" y="46"/>
                  </a:lnTo>
                  <a:lnTo>
                    <a:pt x="361" y="41"/>
                  </a:lnTo>
                  <a:lnTo>
                    <a:pt x="361" y="37"/>
                  </a:lnTo>
                  <a:lnTo>
                    <a:pt x="361" y="32"/>
                  </a:lnTo>
                  <a:lnTo>
                    <a:pt x="366" y="28"/>
                  </a:lnTo>
                  <a:lnTo>
                    <a:pt x="366" y="28"/>
                  </a:lnTo>
                  <a:lnTo>
                    <a:pt x="370" y="23"/>
                  </a:lnTo>
                  <a:lnTo>
                    <a:pt x="375" y="23"/>
                  </a:lnTo>
                  <a:lnTo>
                    <a:pt x="384" y="23"/>
                  </a:lnTo>
                  <a:lnTo>
                    <a:pt x="384" y="23"/>
                  </a:lnTo>
                  <a:lnTo>
                    <a:pt x="388" y="18"/>
                  </a:lnTo>
                  <a:lnTo>
                    <a:pt x="388" y="14"/>
                  </a:lnTo>
                  <a:lnTo>
                    <a:pt x="393" y="9"/>
                  </a:lnTo>
                  <a:lnTo>
                    <a:pt x="393" y="5"/>
                  </a:lnTo>
                  <a:lnTo>
                    <a:pt x="398" y="5"/>
                  </a:lnTo>
                  <a:lnTo>
                    <a:pt x="402" y="5"/>
                  </a:lnTo>
                  <a:lnTo>
                    <a:pt x="407" y="5"/>
                  </a:lnTo>
                  <a:lnTo>
                    <a:pt x="407" y="0"/>
                  </a:lnTo>
                  <a:lnTo>
                    <a:pt x="407" y="0"/>
                  </a:lnTo>
                  <a:lnTo>
                    <a:pt x="407" y="5"/>
                  </a:lnTo>
                  <a:lnTo>
                    <a:pt x="411" y="5"/>
                  </a:lnTo>
                  <a:lnTo>
                    <a:pt x="411" y="5"/>
                  </a:lnTo>
                  <a:lnTo>
                    <a:pt x="411" y="9"/>
                  </a:lnTo>
                  <a:lnTo>
                    <a:pt x="411" y="14"/>
                  </a:lnTo>
                  <a:lnTo>
                    <a:pt x="416" y="14"/>
                  </a:lnTo>
                  <a:lnTo>
                    <a:pt x="416" y="18"/>
                  </a:lnTo>
                  <a:lnTo>
                    <a:pt x="420" y="18"/>
                  </a:lnTo>
                  <a:lnTo>
                    <a:pt x="430" y="14"/>
                  </a:lnTo>
                  <a:lnTo>
                    <a:pt x="430" y="18"/>
                  </a:lnTo>
                  <a:lnTo>
                    <a:pt x="434" y="18"/>
                  </a:lnTo>
                  <a:lnTo>
                    <a:pt x="430" y="23"/>
                  </a:lnTo>
                  <a:lnTo>
                    <a:pt x="430" y="23"/>
                  </a:lnTo>
                  <a:lnTo>
                    <a:pt x="430" y="28"/>
                  </a:lnTo>
                  <a:lnTo>
                    <a:pt x="430" y="32"/>
                  </a:lnTo>
                  <a:lnTo>
                    <a:pt x="425" y="32"/>
                  </a:lnTo>
                  <a:lnTo>
                    <a:pt x="425" y="41"/>
                  </a:lnTo>
                  <a:lnTo>
                    <a:pt x="425" y="46"/>
                  </a:lnTo>
                  <a:lnTo>
                    <a:pt x="425" y="46"/>
                  </a:lnTo>
                  <a:lnTo>
                    <a:pt x="425" y="50"/>
                  </a:lnTo>
                  <a:lnTo>
                    <a:pt x="430" y="55"/>
                  </a:lnTo>
                  <a:lnTo>
                    <a:pt x="430" y="55"/>
                  </a:lnTo>
                  <a:lnTo>
                    <a:pt x="434" y="55"/>
                  </a:lnTo>
                  <a:lnTo>
                    <a:pt x="439" y="55"/>
                  </a:lnTo>
                  <a:lnTo>
                    <a:pt x="448" y="55"/>
                  </a:lnTo>
                  <a:lnTo>
                    <a:pt x="452" y="55"/>
                  </a:lnTo>
                  <a:lnTo>
                    <a:pt x="452" y="55"/>
                  </a:lnTo>
                  <a:lnTo>
                    <a:pt x="452" y="50"/>
                  </a:lnTo>
                  <a:lnTo>
                    <a:pt x="457" y="50"/>
                  </a:lnTo>
                  <a:lnTo>
                    <a:pt x="466" y="46"/>
                  </a:lnTo>
                  <a:lnTo>
                    <a:pt x="471" y="46"/>
                  </a:lnTo>
                  <a:lnTo>
                    <a:pt x="475" y="46"/>
                  </a:lnTo>
                  <a:lnTo>
                    <a:pt x="480" y="46"/>
                  </a:lnTo>
                  <a:lnTo>
                    <a:pt x="489" y="46"/>
                  </a:lnTo>
                  <a:lnTo>
                    <a:pt x="494" y="50"/>
                  </a:lnTo>
                  <a:lnTo>
                    <a:pt x="498" y="50"/>
                  </a:lnTo>
                  <a:lnTo>
                    <a:pt x="498" y="55"/>
                  </a:lnTo>
                  <a:lnTo>
                    <a:pt x="498" y="55"/>
                  </a:lnTo>
                  <a:lnTo>
                    <a:pt x="498" y="60"/>
                  </a:lnTo>
                  <a:lnTo>
                    <a:pt x="503" y="64"/>
                  </a:lnTo>
                  <a:lnTo>
                    <a:pt x="503" y="69"/>
                  </a:lnTo>
                  <a:lnTo>
                    <a:pt x="507" y="69"/>
                  </a:lnTo>
                  <a:lnTo>
                    <a:pt x="507" y="69"/>
                  </a:lnTo>
                  <a:lnTo>
                    <a:pt x="512" y="69"/>
                  </a:lnTo>
                  <a:lnTo>
                    <a:pt x="516" y="73"/>
                  </a:lnTo>
                  <a:lnTo>
                    <a:pt x="516" y="73"/>
                  </a:lnTo>
                  <a:lnTo>
                    <a:pt x="521" y="73"/>
                  </a:lnTo>
                  <a:lnTo>
                    <a:pt x="526" y="69"/>
                  </a:lnTo>
                  <a:lnTo>
                    <a:pt x="530" y="69"/>
                  </a:lnTo>
                  <a:lnTo>
                    <a:pt x="530" y="73"/>
                  </a:lnTo>
                  <a:lnTo>
                    <a:pt x="535" y="73"/>
                  </a:lnTo>
                  <a:lnTo>
                    <a:pt x="535" y="78"/>
                  </a:lnTo>
                  <a:lnTo>
                    <a:pt x="535" y="82"/>
                  </a:lnTo>
                  <a:lnTo>
                    <a:pt x="535" y="87"/>
                  </a:lnTo>
                  <a:lnTo>
                    <a:pt x="535" y="92"/>
                  </a:lnTo>
                  <a:lnTo>
                    <a:pt x="539" y="92"/>
                  </a:lnTo>
                  <a:lnTo>
                    <a:pt x="539" y="92"/>
                  </a:lnTo>
                  <a:lnTo>
                    <a:pt x="544" y="92"/>
                  </a:lnTo>
                  <a:lnTo>
                    <a:pt x="548" y="92"/>
                  </a:lnTo>
                  <a:lnTo>
                    <a:pt x="553" y="87"/>
                  </a:lnTo>
                  <a:lnTo>
                    <a:pt x="553" y="92"/>
                  </a:lnTo>
                  <a:lnTo>
                    <a:pt x="558" y="92"/>
                  </a:lnTo>
                  <a:lnTo>
                    <a:pt x="558" y="96"/>
                  </a:lnTo>
                  <a:lnTo>
                    <a:pt x="562" y="101"/>
                  </a:lnTo>
                  <a:lnTo>
                    <a:pt x="562" y="110"/>
                  </a:lnTo>
                  <a:lnTo>
                    <a:pt x="562" y="114"/>
                  </a:lnTo>
                  <a:lnTo>
                    <a:pt x="567" y="114"/>
                  </a:lnTo>
                  <a:lnTo>
                    <a:pt x="567" y="119"/>
                  </a:lnTo>
                  <a:lnTo>
                    <a:pt x="571" y="119"/>
                  </a:lnTo>
                  <a:lnTo>
                    <a:pt x="576" y="119"/>
                  </a:lnTo>
                  <a:lnTo>
                    <a:pt x="580" y="119"/>
                  </a:lnTo>
                  <a:lnTo>
                    <a:pt x="585" y="119"/>
                  </a:lnTo>
                  <a:lnTo>
                    <a:pt x="585" y="114"/>
                  </a:lnTo>
                  <a:lnTo>
                    <a:pt x="590" y="114"/>
                  </a:lnTo>
                  <a:lnTo>
                    <a:pt x="603" y="114"/>
                  </a:lnTo>
                  <a:lnTo>
                    <a:pt x="608" y="114"/>
                  </a:lnTo>
                  <a:lnTo>
                    <a:pt x="608" y="114"/>
                  </a:lnTo>
                  <a:lnTo>
                    <a:pt x="617" y="110"/>
                  </a:lnTo>
                  <a:lnTo>
                    <a:pt x="626" y="114"/>
                  </a:lnTo>
                  <a:lnTo>
                    <a:pt x="626" y="114"/>
                  </a:lnTo>
                  <a:lnTo>
                    <a:pt x="631" y="114"/>
                  </a:lnTo>
                  <a:lnTo>
                    <a:pt x="631" y="119"/>
                  </a:lnTo>
                  <a:lnTo>
                    <a:pt x="635" y="119"/>
                  </a:lnTo>
                  <a:lnTo>
                    <a:pt x="635" y="124"/>
                  </a:lnTo>
                  <a:lnTo>
                    <a:pt x="635" y="128"/>
                  </a:lnTo>
                  <a:lnTo>
                    <a:pt x="640" y="133"/>
                  </a:lnTo>
                  <a:lnTo>
                    <a:pt x="640" y="133"/>
                  </a:lnTo>
                  <a:lnTo>
                    <a:pt x="640" y="137"/>
                  </a:lnTo>
                  <a:lnTo>
                    <a:pt x="644" y="137"/>
                  </a:lnTo>
                  <a:lnTo>
                    <a:pt x="644" y="142"/>
                  </a:lnTo>
                  <a:lnTo>
                    <a:pt x="649" y="146"/>
                  </a:lnTo>
                  <a:lnTo>
                    <a:pt x="649" y="151"/>
                  </a:lnTo>
                  <a:lnTo>
                    <a:pt x="649" y="156"/>
                  </a:lnTo>
                  <a:lnTo>
                    <a:pt x="649" y="156"/>
                  </a:lnTo>
                  <a:lnTo>
                    <a:pt x="649" y="160"/>
                  </a:lnTo>
                  <a:lnTo>
                    <a:pt x="649" y="165"/>
                  </a:lnTo>
                  <a:lnTo>
                    <a:pt x="649" y="169"/>
                  </a:lnTo>
                  <a:lnTo>
                    <a:pt x="649" y="178"/>
                  </a:lnTo>
                  <a:lnTo>
                    <a:pt x="649" y="183"/>
                  </a:lnTo>
                  <a:lnTo>
                    <a:pt x="644" y="192"/>
                  </a:lnTo>
                  <a:lnTo>
                    <a:pt x="644" y="197"/>
                  </a:lnTo>
                  <a:lnTo>
                    <a:pt x="644" y="201"/>
                  </a:lnTo>
                  <a:lnTo>
                    <a:pt x="640" y="201"/>
                  </a:lnTo>
                  <a:lnTo>
                    <a:pt x="640" y="201"/>
                  </a:lnTo>
                  <a:lnTo>
                    <a:pt x="640" y="206"/>
                  </a:lnTo>
                  <a:lnTo>
                    <a:pt x="635" y="215"/>
                  </a:lnTo>
                  <a:lnTo>
                    <a:pt x="635" y="224"/>
                  </a:lnTo>
                  <a:lnTo>
                    <a:pt x="635" y="233"/>
                  </a:lnTo>
                  <a:lnTo>
                    <a:pt x="635" y="238"/>
                  </a:lnTo>
                  <a:lnTo>
                    <a:pt x="631" y="247"/>
                  </a:lnTo>
                  <a:lnTo>
                    <a:pt x="626" y="252"/>
                  </a:lnTo>
                  <a:lnTo>
                    <a:pt x="626" y="256"/>
                  </a:lnTo>
                  <a:lnTo>
                    <a:pt x="626" y="261"/>
                  </a:lnTo>
                  <a:lnTo>
                    <a:pt x="626" y="265"/>
                  </a:lnTo>
                  <a:lnTo>
                    <a:pt x="622" y="270"/>
                  </a:lnTo>
                  <a:lnTo>
                    <a:pt x="617" y="279"/>
                  </a:lnTo>
                  <a:lnTo>
                    <a:pt x="617" y="284"/>
                  </a:lnTo>
                  <a:lnTo>
                    <a:pt x="617" y="288"/>
                  </a:lnTo>
                  <a:lnTo>
                    <a:pt x="612" y="288"/>
                  </a:lnTo>
                  <a:lnTo>
                    <a:pt x="612" y="293"/>
                  </a:lnTo>
                  <a:lnTo>
                    <a:pt x="617" y="297"/>
                  </a:lnTo>
                  <a:lnTo>
                    <a:pt x="617" y="302"/>
                  </a:lnTo>
                  <a:lnTo>
                    <a:pt x="617" y="306"/>
                  </a:lnTo>
                  <a:lnTo>
                    <a:pt x="612" y="320"/>
                  </a:lnTo>
                  <a:lnTo>
                    <a:pt x="612" y="325"/>
                  </a:lnTo>
                  <a:lnTo>
                    <a:pt x="617" y="338"/>
                  </a:lnTo>
                  <a:lnTo>
                    <a:pt x="622" y="348"/>
                  </a:lnTo>
                  <a:lnTo>
                    <a:pt x="622" y="352"/>
                  </a:lnTo>
                  <a:lnTo>
                    <a:pt x="626" y="361"/>
                  </a:lnTo>
                  <a:lnTo>
                    <a:pt x="626" y="366"/>
                  </a:lnTo>
                  <a:lnTo>
                    <a:pt x="626" y="370"/>
                  </a:lnTo>
                  <a:lnTo>
                    <a:pt x="626" y="375"/>
                  </a:lnTo>
                  <a:lnTo>
                    <a:pt x="626" y="380"/>
                  </a:lnTo>
                  <a:lnTo>
                    <a:pt x="626" y="393"/>
                  </a:lnTo>
                  <a:lnTo>
                    <a:pt x="626" y="398"/>
                  </a:lnTo>
                  <a:lnTo>
                    <a:pt x="631" y="412"/>
                  </a:lnTo>
                  <a:lnTo>
                    <a:pt x="626" y="412"/>
                  </a:lnTo>
                  <a:lnTo>
                    <a:pt x="626" y="412"/>
                  </a:lnTo>
                  <a:lnTo>
                    <a:pt x="622" y="412"/>
                  </a:lnTo>
                  <a:lnTo>
                    <a:pt x="608" y="416"/>
                  </a:lnTo>
                  <a:lnTo>
                    <a:pt x="608" y="416"/>
                  </a:lnTo>
                  <a:lnTo>
                    <a:pt x="585" y="416"/>
                  </a:lnTo>
                  <a:lnTo>
                    <a:pt x="585" y="416"/>
                  </a:lnTo>
                  <a:lnTo>
                    <a:pt x="580" y="416"/>
                  </a:lnTo>
                  <a:lnTo>
                    <a:pt x="576" y="421"/>
                  </a:lnTo>
                  <a:lnTo>
                    <a:pt x="571" y="421"/>
                  </a:lnTo>
                  <a:lnTo>
                    <a:pt x="567" y="425"/>
                  </a:lnTo>
                  <a:lnTo>
                    <a:pt x="562" y="425"/>
                  </a:lnTo>
                  <a:lnTo>
                    <a:pt x="558" y="430"/>
                  </a:lnTo>
                  <a:lnTo>
                    <a:pt x="548" y="434"/>
                  </a:lnTo>
                  <a:lnTo>
                    <a:pt x="544" y="434"/>
                  </a:lnTo>
                  <a:lnTo>
                    <a:pt x="544" y="439"/>
                  </a:lnTo>
                  <a:lnTo>
                    <a:pt x="539" y="439"/>
                  </a:lnTo>
                  <a:lnTo>
                    <a:pt x="539" y="444"/>
                  </a:lnTo>
                  <a:lnTo>
                    <a:pt x="530" y="444"/>
                  </a:lnTo>
                  <a:lnTo>
                    <a:pt x="521" y="444"/>
                  </a:lnTo>
                  <a:lnTo>
                    <a:pt x="521" y="448"/>
                  </a:lnTo>
                  <a:lnTo>
                    <a:pt x="516" y="448"/>
                  </a:lnTo>
                  <a:lnTo>
                    <a:pt x="516" y="453"/>
                  </a:lnTo>
                  <a:lnTo>
                    <a:pt x="507" y="457"/>
                  </a:lnTo>
                  <a:lnTo>
                    <a:pt x="498" y="462"/>
                  </a:lnTo>
                  <a:lnTo>
                    <a:pt x="494" y="462"/>
                  </a:lnTo>
                  <a:lnTo>
                    <a:pt x="489" y="462"/>
                  </a:lnTo>
                  <a:lnTo>
                    <a:pt x="489" y="466"/>
                  </a:lnTo>
                  <a:lnTo>
                    <a:pt x="484" y="466"/>
                  </a:lnTo>
                  <a:lnTo>
                    <a:pt x="480" y="466"/>
                  </a:lnTo>
                  <a:lnTo>
                    <a:pt x="480" y="471"/>
                  </a:lnTo>
                  <a:lnTo>
                    <a:pt x="475" y="476"/>
                  </a:lnTo>
                  <a:lnTo>
                    <a:pt x="471" y="476"/>
                  </a:lnTo>
                  <a:lnTo>
                    <a:pt x="471" y="480"/>
                  </a:lnTo>
                  <a:lnTo>
                    <a:pt x="466" y="485"/>
                  </a:lnTo>
                  <a:lnTo>
                    <a:pt x="462" y="485"/>
                  </a:lnTo>
                  <a:lnTo>
                    <a:pt x="462" y="489"/>
                  </a:lnTo>
                  <a:lnTo>
                    <a:pt x="457" y="494"/>
                  </a:lnTo>
                  <a:lnTo>
                    <a:pt x="452" y="494"/>
                  </a:lnTo>
                  <a:lnTo>
                    <a:pt x="452" y="489"/>
                  </a:lnTo>
                  <a:lnTo>
                    <a:pt x="452" y="485"/>
                  </a:lnTo>
                  <a:lnTo>
                    <a:pt x="452" y="485"/>
                  </a:lnTo>
                  <a:lnTo>
                    <a:pt x="448" y="480"/>
                  </a:lnTo>
                  <a:lnTo>
                    <a:pt x="448" y="476"/>
                  </a:lnTo>
                  <a:lnTo>
                    <a:pt x="439" y="471"/>
                  </a:lnTo>
                  <a:lnTo>
                    <a:pt x="434" y="466"/>
                  </a:lnTo>
                  <a:lnTo>
                    <a:pt x="430" y="466"/>
                  </a:lnTo>
                  <a:lnTo>
                    <a:pt x="430" y="466"/>
                  </a:lnTo>
                  <a:lnTo>
                    <a:pt x="425" y="466"/>
                  </a:lnTo>
                  <a:lnTo>
                    <a:pt x="420" y="466"/>
                  </a:lnTo>
                  <a:lnTo>
                    <a:pt x="416" y="466"/>
                  </a:lnTo>
                  <a:lnTo>
                    <a:pt x="416" y="471"/>
                  </a:lnTo>
                  <a:lnTo>
                    <a:pt x="411" y="471"/>
                  </a:lnTo>
                  <a:lnTo>
                    <a:pt x="407" y="476"/>
                  </a:lnTo>
                  <a:lnTo>
                    <a:pt x="407" y="480"/>
                  </a:lnTo>
                  <a:lnTo>
                    <a:pt x="407" y="485"/>
                  </a:lnTo>
                  <a:lnTo>
                    <a:pt x="407" y="489"/>
                  </a:lnTo>
                  <a:lnTo>
                    <a:pt x="402" y="494"/>
                  </a:lnTo>
                  <a:lnTo>
                    <a:pt x="402" y="498"/>
                  </a:lnTo>
                  <a:lnTo>
                    <a:pt x="407" y="508"/>
                  </a:lnTo>
                  <a:lnTo>
                    <a:pt x="407" y="508"/>
                  </a:lnTo>
                  <a:lnTo>
                    <a:pt x="416" y="508"/>
                  </a:lnTo>
                  <a:lnTo>
                    <a:pt x="416" y="512"/>
                  </a:lnTo>
                  <a:lnTo>
                    <a:pt x="420" y="517"/>
                  </a:lnTo>
                  <a:lnTo>
                    <a:pt x="420" y="530"/>
                  </a:lnTo>
                  <a:lnTo>
                    <a:pt x="425" y="540"/>
                  </a:lnTo>
                  <a:lnTo>
                    <a:pt x="425" y="549"/>
                  </a:lnTo>
                  <a:lnTo>
                    <a:pt x="430" y="553"/>
                  </a:lnTo>
                  <a:lnTo>
                    <a:pt x="430" y="553"/>
                  </a:lnTo>
                  <a:lnTo>
                    <a:pt x="430" y="558"/>
                  </a:lnTo>
                  <a:lnTo>
                    <a:pt x="434" y="562"/>
                  </a:lnTo>
                  <a:lnTo>
                    <a:pt x="439" y="567"/>
                  </a:lnTo>
                  <a:lnTo>
                    <a:pt x="439" y="572"/>
                  </a:lnTo>
                  <a:lnTo>
                    <a:pt x="443" y="572"/>
                  </a:lnTo>
                  <a:lnTo>
                    <a:pt x="443" y="572"/>
                  </a:lnTo>
                  <a:lnTo>
                    <a:pt x="448" y="572"/>
                  </a:lnTo>
                  <a:lnTo>
                    <a:pt x="448" y="576"/>
                  </a:lnTo>
                  <a:lnTo>
                    <a:pt x="452" y="585"/>
                  </a:lnTo>
                  <a:lnTo>
                    <a:pt x="457" y="585"/>
                  </a:lnTo>
                  <a:lnTo>
                    <a:pt x="462" y="590"/>
                  </a:lnTo>
                  <a:lnTo>
                    <a:pt x="471" y="590"/>
                  </a:lnTo>
                  <a:lnTo>
                    <a:pt x="471" y="594"/>
                  </a:lnTo>
                  <a:lnTo>
                    <a:pt x="475" y="594"/>
                  </a:lnTo>
                  <a:lnTo>
                    <a:pt x="475" y="594"/>
                  </a:lnTo>
                  <a:lnTo>
                    <a:pt x="471" y="599"/>
                  </a:lnTo>
                  <a:lnTo>
                    <a:pt x="471" y="604"/>
                  </a:lnTo>
                  <a:lnTo>
                    <a:pt x="466" y="608"/>
                  </a:lnTo>
                  <a:lnTo>
                    <a:pt x="466" y="613"/>
                  </a:lnTo>
                  <a:lnTo>
                    <a:pt x="457" y="622"/>
                  </a:lnTo>
                  <a:lnTo>
                    <a:pt x="457" y="626"/>
                  </a:lnTo>
                  <a:lnTo>
                    <a:pt x="452" y="631"/>
                  </a:lnTo>
                  <a:lnTo>
                    <a:pt x="452" y="636"/>
                  </a:lnTo>
                  <a:lnTo>
                    <a:pt x="452" y="640"/>
                  </a:lnTo>
                  <a:lnTo>
                    <a:pt x="448" y="640"/>
                  </a:lnTo>
                  <a:lnTo>
                    <a:pt x="443" y="645"/>
                  </a:lnTo>
                  <a:lnTo>
                    <a:pt x="439" y="645"/>
                  </a:lnTo>
                  <a:lnTo>
                    <a:pt x="434" y="649"/>
                  </a:lnTo>
                  <a:lnTo>
                    <a:pt x="430" y="649"/>
                  </a:lnTo>
                  <a:lnTo>
                    <a:pt x="430" y="654"/>
                  </a:lnTo>
                  <a:lnTo>
                    <a:pt x="430" y="654"/>
                  </a:lnTo>
                  <a:lnTo>
                    <a:pt x="430" y="658"/>
                  </a:lnTo>
                  <a:lnTo>
                    <a:pt x="425" y="658"/>
                  </a:lnTo>
                  <a:lnTo>
                    <a:pt x="425" y="658"/>
                  </a:lnTo>
                  <a:lnTo>
                    <a:pt x="420" y="658"/>
                  </a:lnTo>
                  <a:lnTo>
                    <a:pt x="420" y="663"/>
                  </a:lnTo>
                  <a:lnTo>
                    <a:pt x="416" y="663"/>
                  </a:lnTo>
                  <a:lnTo>
                    <a:pt x="416" y="668"/>
                  </a:lnTo>
                  <a:lnTo>
                    <a:pt x="411" y="672"/>
                  </a:lnTo>
                  <a:lnTo>
                    <a:pt x="411" y="677"/>
                  </a:lnTo>
                  <a:lnTo>
                    <a:pt x="407" y="677"/>
                  </a:lnTo>
                  <a:lnTo>
                    <a:pt x="407" y="681"/>
                  </a:lnTo>
                  <a:lnTo>
                    <a:pt x="402" y="681"/>
                  </a:lnTo>
                  <a:lnTo>
                    <a:pt x="393" y="681"/>
                  </a:lnTo>
                  <a:lnTo>
                    <a:pt x="388" y="686"/>
                  </a:lnTo>
                  <a:lnTo>
                    <a:pt x="384" y="686"/>
                  </a:lnTo>
                  <a:lnTo>
                    <a:pt x="379" y="690"/>
                  </a:lnTo>
                  <a:lnTo>
                    <a:pt x="375" y="690"/>
                  </a:lnTo>
                  <a:lnTo>
                    <a:pt x="370" y="690"/>
                  </a:lnTo>
                  <a:lnTo>
                    <a:pt x="370" y="695"/>
                  </a:lnTo>
                  <a:lnTo>
                    <a:pt x="366" y="695"/>
                  </a:lnTo>
                  <a:lnTo>
                    <a:pt x="361" y="695"/>
                  </a:lnTo>
                  <a:lnTo>
                    <a:pt x="356" y="700"/>
                  </a:lnTo>
                  <a:lnTo>
                    <a:pt x="352" y="700"/>
                  </a:lnTo>
                  <a:lnTo>
                    <a:pt x="343" y="695"/>
                  </a:lnTo>
                  <a:lnTo>
                    <a:pt x="343" y="695"/>
                  </a:lnTo>
                  <a:lnTo>
                    <a:pt x="343" y="690"/>
                  </a:lnTo>
                  <a:lnTo>
                    <a:pt x="338" y="690"/>
                  </a:lnTo>
                  <a:lnTo>
                    <a:pt x="338" y="681"/>
                  </a:lnTo>
                  <a:lnTo>
                    <a:pt x="338" y="681"/>
                  </a:lnTo>
                  <a:lnTo>
                    <a:pt x="334" y="681"/>
                  </a:lnTo>
                  <a:lnTo>
                    <a:pt x="329" y="677"/>
                  </a:lnTo>
                  <a:lnTo>
                    <a:pt x="329" y="672"/>
                  </a:lnTo>
                  <a:lnTo>
                    <a:pt x="334" y="668"/>
                  </a:lnTo>
                  <a:lnTo>
                    <a:pt x="338" y="663"/>
                  </a:lnTo>
                  <a:lnTo>
                    <a:pt x="343" y="658"/>
                  </a:lnTo>
                  <a:lnTo>
                    <a:pt x="343" y="654"/>
                  </a:lnTo>
                  <a:lnTo>
                    <a:pt x="343" y="649"/>
                  </a:lnTo>
                  <a:lnTo>
                    <a:pt x="343" y="645"/>
                  </a:lnTo>
                  <a:lnTo>
                    <a:pt x="343" y="645"/>
                  </a:lnTo>
                  <a:lnTo>
                    <a:pt x="343" y="640"/>
                  </a:lnTo>
                  <a:lnTo>
                    <a:pt x="338" y="640"/>
                  </a:lnTo>
                  <a:lnTo>
                    <a:pt x="334" y="640"/>
                  </a:lnTo>
                  <a:lnTo>
                    <a:pt x="324" y="636"/>
                  </a:lnTo>
                  <a:lnTo>
                    <a:pt x="320" y="631"/>
                  </a:lnTo>
                  <a:lnTo>
                    <a:pt x="320" y="631"/>
                  </a:lnTo>
                  <a:lnTo>
                    <a:pt x="315" y="626"/>
                  </a:lnTo>
                  <a:lnTo>
                    <a:pt x="315" y="622"/>
                  </a:lnTo>
                  <a:lnTo>
                    <a:pt x="311" y="622"/>
                  </a:lnTo>
                  <a:lnTo>
                    <a:pt x="306" y="617"/>
                  </a:lnTo>
                  <a:lnTo>
                    <a:pt x="297" y="608"/>
                  </a:lnTo>
                  <a:lnTo>
                    <a:pt x="292" y="604"/>
                  </a:lnTo>
                  <a:lnTo>
                    <a:pt x="288" y="604"/>
                  </a:lnTo>
                  <a:lnTo>
                    <a:pt x="283" y="604"/>
                  </a:lnTo>
                  <a:lnTo>
                    <a:pt x="279" y="599"/>
                  </a:lnTo>
                  <a:lnTo>
                    <a:pt x="279" y="594"/>
                  </a:lnTo>
                  <a:lnTo>
                    <a:pt x="274" y="594"/>
                  </a:lnTo>
                  <a:lnTo>
                    <a:pt x="265" y="594"/>
                  </a:lnTo>
                  <a:lnTo>
                    <a:pt x="260" y="590"/>
                  </a:lnTo>
                  <a:lnTo>
                    <a:pt x="256" y="590"/>
                  </a:lnTo>
                  <a:lnTo>
                    <a:pt x="256" y="585"/>
                  </a:lnTo>
                  <a:lnTo>
                    <a:pt x="251" y="581"/>
                  </a:lnTo>
                  <a:lnTo>
                    <a:pt x="247" y="581"/>
                  </a:lnTo>
                  <a:lnTo>
                    <a:pt x="242" y="581"/>
                  </a:lnTo>
                  <a:lnTo>
                    <a:pt x="242" y="585"/>
                  </a:lnTo>
                  <a:lnTo>
                    <a:pt x="238" y="585"/>
                  </a:lnTo>
                  <a:lnTo>
                    <a:pt x="233" y="585"/>
                  </a:lnTo>
                  <a:lnTo>
                    <a:pt x="233" y="590"/>
                  </a:lnTo>
                  <a:lnTo>
                    <a:pt x="228" y="590"/>
                  </a:lnTo>
                  <a:lnTo>
                    <a:pt x="224" y="594"/>
                  </a:lnTo>
                  <a:lnTo>
                    <a:pt x="219" y="594"/>
                  </a:lnTo>
                  <a:lnTo>
                    <a:pt x="215" y="594"/>
                  </a:lnTo>
                  <a:lnTo>
                    <a:pt x="210" y="594"/>
                  </a:lnTo>
                  <a:lnTo>
                    <a:pt x="210" y="599"/>
                  </a:lnTo>
                  <a:lnTo>
                    <a:pt x="210" y="599"/>
                  </a:lnTo>
                  <a:lnTo>
                    <a:pt x="206" y="604"/>
                  </a:lnTo>
                  <a:lnTo>
                    <a:pt x="201" y="604"/>
                  </a:lnTo>
                  <a:lnTo>
                    <a:pt x="196" y="604"/>
                  </a:lnTo>
                  <a:lnTo>
                    <a:pt x="192" y="604"/>
                  </a:lnTo>
                  <a:lnTo>
                    <a:pt x="192" y="599"/>
                  </a:lnTo>
                  <a:lnTo>
                    <a:pt x="187" y="594"/>
                  </a:lnTo>
                  <a:lnTo>
                    <a:pt x="187" y="594"/>
                  </a:lnTo>
                  <a:lnTo>
                    <a:pt x="183" y="594"/>
                  </a:lnTo>
                  <a:lnTo>
                    <a:pt x="174" y="594"/>
                  </a:lnTo>
                  <a:lnTo>
                    <a:pt x="169" y="594"/>
                  </a:lnTo>
                  <a:lnTo>
                    <a:pt x="169" y="594"/>
                  </a:lnTo>
                  <a:lnTo>
                    <a:pt x="169" y="594"/>
                  </a:lnTo>
                  <a:lnTo>
                    <a:pt x="164" y="594"/>
                  </a:lnTo>
                  <a:lnTo>
                    <a:pt x="160" y="594"/>
                  </a:lnTo>
                  <a:lnTo>
                    <a:pt x="155" y="594"/>
                  </a:lnTo>
                  <a:lnTo>
                    <a:pt x="155" y="594"/>
                  </a:lnTo>
                  <a:lnTo>
                    <a:pt x="151" y="594"/>
                  </a:lnTo>
                  <a:lnTo>
                    <a:pt x="146" y="594"/>
                  </a:lnTo>
                  <a:lnTo>
                    <a:pt x="146" y="594"/>
                  </a:lnTo>
                  <a:lnTo>
                    <a:pt x="142" y="594"/>
                  </a:lnTo>
                  <a:lnTo>
                    <a:pt x="142" y="590"/>
                  </a:lnTo>
                  <a:lnTo>
                    <a:pt x="137" y="590"/>
                  </a:lnTo>
                  <a:lnTo>
                    <a:pt x="132" y="594"/>
                  </a:lnTo>
                  <a:lnTo>
                    <a:pt x="128" y="594"/>
                  </a:lnTo>
                  <a:lnTo>
                    <a:pt x="123" y="594"/>
                  </a:lnTo>
                  <a:lnTo>
                    <a:pt x="123" y="594"/>
                  </a:lnTo>
                  <a:lnTo>
                    <a:pt x="123" y="594"/>
                  </a:lnTo>
                  <a:lnTo>
                    <a:pt x="123" y="604"/>
                  </a:lnTo>
                  <a:lnTo>
                    <a:pt x="123" y="604"/>
                  </a:lnTo>
                  <a:lnTo>
                    <a:pt x="123" y="608"/>
                  </a:lnTo>
                  <a:lnTo>
                    <a:pt x="128" y="613"/>
                  </a:lnTo>
                  <a:lnTo>
                    <a:pt x="128" y="617"/>
                  </a:lnTo>
                  <a:lnTo>
                    <a:pt x="123" y="617"/>
                  </a:lnTo>
                  <a:lnTo>
                    <a:pt x="123" y="617"/>
                  </a:lnTo>
                  <a:lnTo>
                    <a:pt x="123" y="617"/>
                  </a:lnTo>
                  <a:lnTo>
                    <a:pt x="119" y="617"/>
                  </a:lnTo>
                  <a:lnTo>
                    <a:pt x="119" y="622"/>
                  </a:lnTo>
                  <a:lnTo>
                    <a:pt x="114" y="622"/>
                  </a:lnTo>
                  <a:lnTo>
                    <a:pt x="110" y="626"/>
                  </a:lnTo>
                  <a:lnTo>
                    <a:pt x="105" y="631"/>
                  </a:lnTo>
                  <a:lnTo>
                    <a:pt x="100" y="636"/>
                  </a:lnTo>
                  <a:lnTo>
                    <a:pt x="100" y="636"/>
                  </a:lnTo>
                  <a:lnTo>
                    <a:pt x="96" y="636"/>
                  </a:lnTo>
                  <a:lnTo>
                    <a:pt x="96" y="631"/>
                  </a:lnTo>
                  <a:lnTo>
                    <a:pt x="91" y="626"/>
                  </a:lnTo>
                  <a:lnTo>
                    <a:pt x="91" y="622"/>
                  </a:lnTo>
                  <a:lnTo>
                    <a:pt x="87" y="622"/>
                  </a:lnTo>
                  <a:lnTo>
                    <a:pt x="87" y="617"/>
                  </a:lnTo>
                  <a:lnTo>
                    <a:pt x="87" y="617"/>
                  </a:lnTo>
                  <a:lnTo>
                    <a:pt x="87" y="613"/>
                  </a:lnTo>
                  <a:lnTo>
                    <a:pt x="82" y="608"/>
                  </a:lnTo>
                  <a:lnTo>
                    <a:pt x="82" y="604"/>
                  </a:lnTo>
                  <a:lnTo>
                    <a:pt x="87" y="599"/>
                  </a:lnTo>
                  <a:lnTo>
                    <a:pt x="87" y="594"/>
                  </a:lnTo>
                  <a:lnTo>
                    <a:pt x="91" y="594"/>
                  </a:lnTo>
                  <a:lnTo>
                    <a:pt x="91" y="590"/>
                  </a:lnTo>
                  <a:lnTo>
                    <a:pt x="91" y="585"/>
                  </a:lnTo>
                  <a:lnTo>
                    <a:pt x="87" y="581"/>
                  </a:lnTo>
                  <a:lnTo>
                    <a:pt x="87" y="576"/>
                  </a:lnTo>
                  <a:lnTo>
                    <a:pt x="82" y="576"/>
                  </a:lnTo>
                  <a:lnTo>
                    <a:pt x="78" y="576"/>
                  </a:lnTo>
                  <a:lnTo>
                    <a:pt x="78" y="572"/>
                  </a:lnTo>
                  <a:lnTo>
                    <a:pt x="78" y="572"/>
                  </a:lnTo>
                  <a:lnTo>
                    <a:pt x="78" y="567"/>
                  </a:lnTo>
                  <a:lnTo>
                    <a:pt x="73" y="562"/>
                  </a:lnTo>
                  <a:lnTo>
                    <a:pt x="68" y="558"/>
                  </a:lnTo>
                  <a:lnTo>
                    <a:pt x="64" y="553"/>
                  </a:lnTo>
                  <a:lnTo>
                    <a:pt x="59" y="553"/>
                  </a:lnTo>
                  <a:lnTo>
                    <a:pt x="59" y="553"/>
                  </a:lnTo>
                  <a:lnTo>
                    <a:pt x="55" y="549"/>
                  </a:lnTo>
                  <a:lnTo>
                    <a:pt x="50" y="544"/>
                  </a:lnTo>
                  <a:lnTo>
                    <a:pt x="46" y="544"/>
                  </a:lnTo>
                  <a:lnTo>
                    <a:pt x="41" y="540"/>
                  </a:lnTo>
                  <a:lnTo>
                    <a:pt x="41" y="535"/>
                  </a:lnTo>
                  <a:lnTo>
                    <a:pt x="36" y="530"/>
                  </a:lnTo>
                  <a:lnTo>
                    <a:pt x="36" y="530"/>
                  </a:lnTo>
                  <a:lnTo>
                    <a:pt x="32" y="526"/>
                  </a:lnTo>
                  <a:lnTo>
                    <a:pt x="23" y="521"/>
                  </a:lnTo>
                  <a:lnTo>
                    <a:pt x="18" y="521"/>
                  </a:lnTo>
                  <a:lnTo>
                    <a:pt x="14" y="521"/>
                  </a:lnTo>
                  <a:lnTo>
                    <a:pt x="14" y="517"/>
                  </a:lnTo>
                  <a:lnTo>
                    <a:pt x="14" y="517"/>
                  </a:lnTo>
                  <a:lnTo>
                    <a:pt x="14" y="512"/>
                  </a:lnTo>
                  <a:lnTo>
                    <a:pt x="9" y="512"/>
                  </a:lnTo>
                  <a:lnTo>
                    <a:pt x="4" y="508"/>
                  </a:lnTo>
                  <a:lnTo>
                    <a:pt x="0" y="503"/>
                  </a:lnTo>
                  <a:lnTo>
                    <a:pt x="0" y="498"/>
                  </a:lnTo>
                  <a:lnTo>
                    <a:pt x="0" y="494"/>
                  </a:lnTo>
                  <a:lnTo>
                    <a:pt x="0" y="489"/>
                  </a:lnTo>
                  <a:lnTo>
                    <a:pt x="0" y="485"/>
                  </a:lnTo>
                  <a:lnTo>
                    <a:pt x="4" y="480"/>
                  </a:lnTo>
                  <a:lnTo>
                    <a:pt x="4" y="476"/>
                  </a:lnTo>
                  <a:lnTo>
                    <a:pt x="4" y="466"/>
                  </a:lnTo>
                  <a:lnTo>
                    <a:pt x="4" y="462"/>
                  </a:lnTo>
                  <a:lnTo>
                    <a:pt x="9" y="462"/>
                  </a:lnTo>
                  <a:lnTo>
                    <a:pt x="14" y="462"/>
                  </a:lnTo>
                  <a:lnTo>
                    <a:pt x="23" y="462"/>
                  </a:lnTo>
                  <a:lnTo>
                    <a:pt x="23" y="462"/>
                  </a:lnTo>
                  <a:lnTo>
                    <a:pt x="27" y="462"/>
                  </a:lnTo>
                  <a:lnTo>
                    <a:pt x="27" y="457"/>
                  </a:lnTo>
                  <a:lnTo>
                    <a:pt x="32" y="453"/>
                  </a:lnTo>
                  <a:lnTo>
                    <a:pt x="32" y="444"/>
                  </a:lnTo>
                  <a:lnTo>
                    <a:pt x="32" y="439"/>
                  </a:lnTo>
                  <a:lnTo>
                    <a:pt x="36" y="434"/>
                  </a:lnTo>
                  <a:lnTo>
                    <a:pt x="36" y="430"/>
                  </a:lnTo>
                  <a:lnTo>
                    <a:pt x="36" y="425"/>
                  </a:lnTo>
                  <a:lnTo>
                    <a:pt x="41" y="421"/>
                  </a:lnTo>
                  <a:lnTo>
                    <a:pt x="46" y="421"/>
                  </a:lnTo>
                  <a:lnTo>
                    <a:pt x="46" y="416"/>
                  </a:lnTo>
                  <a:lnTo>
                    <a:pt x="50" y="412"/>
                  </a:lnTo>
                  <a:lnTo>
                    <a:pt x="50" y="407"/>
                  </a:lnTo>
                  <a:lnTo>
                    <a:pt x="55" y="402"/>
                  </a:lnTo>
                  <a:lnTo>
                    <a:pt x="55" y="398"/>
                  </a:lnTo>
                  <a:lnTo>
                    <a:pt x="59" y="393"/>
                  </a:lnTo>
                  <a:lnTo>
                    <a:pt x="55" y="389"/>
                  </a:lnTo>
                  <a:lnTo>
                    <a:pt x="55" y="384"/>
                  </a:lnTo>
                  <a:lnTo>
                    <a:pt x="50" y="384"/>
                  </a:lnTo>
                  <a:lnTo>
                    <a:pt x="46" y="384"/>
                  </a:lnTo>
                  <a:lnTo>
                    <a:pt x="46" y="380"/>
                  </a:lnTo>
                  <a:lnTo>
                    <a:pt x="41" y="380"/>
                  </a:lnTo>
                  <a:lnTo>
                    <a:pt x="41" y="375"/>
                  </a:lnTo>
                  <a:lnTo>
                    <a:pt x="36" y="375"/>
                  </a:lnTo>
                  <a:lnTo>
                    <a:pt x="36" y="366"/>
                  </a:lnTo>
                  <a:lnTo>
                    <a:pt x="36" y="352"/>
                  </a:lnTo>
                  <a:lnTo>
                    <a:pt x="41" y="352"/>
                  </a:lnTo>
                  <a:lnTo>
                    <a:pt x="41" y="348"/>
                  </a:lnTo>
                  <a:lnTo>
                    <a:pt x="41" y="338"/>
                  </a:lnTo>
                  <a:lnTo>
                    <a:pt x="46" y="334"/>
                  </a:lnTo>
                  <a:lnTo>
                    <a:pt x="46" y="329"/>
                  </a:lnTo>
                  <a:lnTo>
                    <a:pt x="46" y="325"/>
                  </a:lnTo>
                  <a:lnTo>
                    <a:pt x="50" y="325"/>
                  </a:lnTo>
                  <a:lnTo>
                    <a:pt x="50" y="320"/>
                  </a:lnTo>
                  <a:lnTo>
                    <a:pt x="55" y="320"/>
                  </a:lnTo>
                  <a:lnTo>
                    <a:pt x="55" y="316"/>
                  </a:lnTo>
                  <a:lnTo>
                    <a:pt x="59" y="316"/>
                  </a:lnTo>
                  <a:lnTo>
                    <a:pt x="59" y="316"/>
                  </a:lnTo>
                  <a:lnTo>
                    <a:pt x="59" y="311"/>
                  </a:lnTo>
                  <a:lnTo>
                    <a:pt x="64" y="311"/>
                  </a:lnTo>
                  <a:lnTo>
                    <a:pt x="68" y="311"/>
                  </a:lnTo>
                  <a:lnTo>
                    <a:pt x="68" y="306"/>
                  </a:lnTo>
                  <a:lnTo>
                    <a:pt x="68" y="297"/>
                  </a:lnTo>
                  <a:lnTo>
                    <a:pt x="73" y="297"/>
                  </a:lnTo>
                  <a:lnTo>
                    <a:pt x="73" y="293"/>
                  </a:lnTo>
                  <a:lnTo>
                    <a:pt x="78" y="288"/>
                  </a:lnTo>
                  <a:lnTo>
                    <a:pt x="78" y="288"/>
                  </a:lnTo>
                  <a:lnTo>
                    <a:pt x="78" y="284"/>
                  </a:lnTo>
                  <a:lnTo>
                    <a:pt x="82" y="279"/>
                  </a:lnTo>
                  <a:lnTo>
                    <a:pt x="82" y="274"/>
                  </a:lnTo>
                  <a:lnTo>
                    <a:pt x="91" y="265"/>
                  </a:lnTo>
                  <a:lnTo>
                    <a:pt x="96" y="265"/>
                  </a:lnTo>
                  <a:lnTo>
                    <a:pt x="100" y="265"/>
                  </a:lnTo>
                  <a:lnTo>
                    <a:pt x="100" y="265"/>
                  </a:lnTo>
                  <a:lnTo>
                    <a:pt x="119" y="265"/>
                  </a:lnTo>
                  <a:lnTo>
                    <a:pt x="146" y="270"/>
                  </a:lnTo>
                  <a:lnTo>
                    <a:pt x="146" y="270"/>
                  </a:lnTo>
                  <a:lnTo>
                    <a:pt x="155" y="270"/>
                  </a:lnTo>
                  <a:lnTo>
                    <a:pt x="160" y="270"/>
                  </a:lnTo>
                  <a:lnTo>
                    <a:pt x="169" y="270"/>
                  </a:lnTo>
                  <a:lnTo>
                    <a:pt x="178" y="270"/>
                  </a:lnTo>
                  <a:lnTo>
                    <a:pt x="187" y="270"/>
                  </a:lnTo>
                  <a:lnTo>
                    <a:pt x="196" y="270"/>
                  </a:lnTo>
                  <a:lnTo>
                    <a:pt x="201" y="270"/>
                  </a:lnTo>
                  <a:lnTo>
                    <a:pt x="201" y="274"/>
                  </a:lnTo>
                  <a:lnTo>
                    <a:pt x="206" y="274"/>
                  </a:lnTo>
                  <a:lnTo>
                    <a:pt x="206" y="279"/>
                  </a:lnTo>
                  <a:lnTo>
                    <a:pt x="210" y="279"/>
                  </a:lnTo>
                  <a:lnTo>
                    <a:pt x="210" y="284"/>
                  </a:lnTo>
                  <a:lnTo>
                    <a:pt x="210" y="284"/>
                  </a:lnTo>
                  <a:lnTo>
                    <a:pt x="210" y="288"/>
                  </a:lnTo>
                  <a:lnTo>
                    <a:pt x="210" y="288"/>
                  </a:lnTo>
                  <a:lnTo>
                    <a:pt x="201" y="288"/>
                  </a:lnTo>
                  <a:lnTo>
                    <a:pt x="196" y="288"/>
                  </a:lnTo>
                  <a:lnTo>
                    <a:pt x="192" y="288"/>
                  </a:lnTo>
                  <a:lnTo>
                    <a:pt x="192" y="288"/>
                  </a:lnTo>
                  <a:lnTo>
                    <a:pt x="192" y="293"/>
                  </a:lnTo>
                  <a:lnTo>
                    <a:pt x="196" y="302"/>
                  </a:lnTo>
                  <a:lnTo>
                    <a:pt x="196" y="306"/>
                  </a:lnTo>
                  <a:lnTo>
                    <a:pt x="201" y="311"/>
                  </a:lnTo>
                  <a:lnTo>
                    <a:pt x="206" y="311"/>
                  </a:lnTo>
                  <a:lnTo>
                    <a:pt x="206" y="316"/>
                  </a:lnTo>
                  <a:lnTo>
                    <a:pt x="210" y="329"/>
                  </a:lnTo>
                  <a:lnTo>
                    <a:pt x="210" y="334"/>
                  </a:lnTo>
                  <a:lnTo>
                    <a:pt x="215" y="334"/>
                  </a:lnTo>
                  <a:lnTo>
                    <a:pt x="215" y="329"/>
                  </a:lnTo>
                  <a:lnTo>
                    <a:pt x="219" y="329"/>
                  </a:lnTo>
                  <a:lnTo>
                    <a:pt x="224" y="325"/>
                  </a:lnTo>
                  <a:lnTo>
                    <a:pt x="224" y="320"/>
                  </a:lnTo>
                  <a:lnTo>
                    <a:pt x="228" y="320"/>
                  </a:lnTo>
                  <a:lnTo>
                    <a:pt x="228" y="316"/>
                  </a:lnTo>
                  <a:lnTo>
                    <a:pt x="233" y="316"/>
                  </a:lnTo>
                  <a:lnTo>
                    <a:pt x="233" y="316"/>
                  </a:lnTo>
                  <a:lnTo>
                    <a:pt x="238" y="311"/>
                  </a:lnTo>
                  <a:lnTo>
                    <a:pt x="242" y="311"/>
                  </a:lnTo>
                  <a:lnTo>
                    <a:pt x="247" y="316"/>
                  </a:lnTo>
                  <a:lnTo>
                    <a:pt x="247" y="320"/>
                  </a:lnTo>
                  <a:lnTo>
                    <a:pt x="251" y="320"/>
                  </a:lnTo>
                  <a:lnTo>
                    <a:pt x="256" y="325"/>
                  </a:lnTo>
                  <a:lnTo>
                    <a:pt x="256" y="325"/>
                  </a:lnTo>
                  <a:lnTo>
                    <a:pt x="260" y="325"/>
                  </a:lnTo>
                  <a:lnTo>
                    <a:pt x="265" y="320"/>
                  </a:lnTo>
                  <a:lnTo>
                    <a:pt x="274" y="311"/>
                  </a:lnTo>
                  <a:lnTo>
                    <a:pt x="274" y="311"/>
                  </a:lnTo>
                  <a:lnTo>
                    <a:pt x="279" y="311"/>
                  </a:lnTo>
                  <a:lnTo>
                    <a:pt x="279" y="302"/>
                  </a:lnTo>
                  <a:lnTo>
                    <a:pt x="279" y="297"/>
                  </a:lnTo>
                  <a:lnTo>
                    <a:pt x="279" y="293"/>
                  </a:lnTo>
                  <a:lnTo>
                    <a:pt x="279" y="288"/>
                  </a:lnTo>
                  <a:lnTo>
                    <a:pt x="279" y="284"/>
                  </a:lnTo>
                  <a:lnTo>
                    <a:pt x="279" y="279"/>
                  </a:lnTo>
                  <a:lnTo>
                    <a:pt x="283" y="279"/>
                  </a:lnTo>
                  <a:lnTo>
                    <a:pt x="283" y="274"/>
                  </a:lnTo>
                  <a:lnTo>
                    <a:pt x="288" y="274"/>
                  </a:lnTo>
                  <a:lnTo>
                    <a:pt x="288" y="270"/>
                  </a:lnTo>
                  <a:lnTo>
                    <a:pt x="288" y="265"/>
                  </a:lnTo>
                  <a:lnTo>
                    <a:pt x="292" y="265"/>
                  </a:lnTo>
                  <a:lnTo>
                    <a:pt x="297" y="261"/>
                  </a:lnTo>
                  <a:lnTo>
                    <a:pt x="297" y="256"/>
                  </a:lnTo>
                  <a:lnTo>
                    <a:pt x="302" y="247"/>
                  </a:lnTo>
                  <a:lnTo>
                    <a:pt x="302" y="242"/>
                  </a:lnTo>
                  <a:lnTo>
                    <a:pt x="297" y="233"/>
                  </a:lnTo>
                  <a:lnTo>
                    <a:pt x="297" y="229"/>
                  </a:lnTo>
                  <a:lnTo>
                    <a:pt x="297" y="224"/>
                  </a:lnTo>
                  <a:lnTo>
                    <a:pt x="302" y="220"/>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1" name="Freeform 18">
              <a:extLst>
                <a:ext uri="{FF2B5EF4-FFF2-40B4-BE49-F238E27FC236}">
                  <a16:creationId xmlns:a16="http://schemas.microsoft.com/office/drawing/2014/main" id="{894DD03F-C84C-4B9A-9C7D-A3229AD52805}"/>
                </a:ext>
              </a:extLst>
            </p:cNvPr>
            <p:cNvSpPr>
              <a:spLocks/>
            </p:cNvSpPr>
            <p:nvPr>
              <p:custDataLst>
                <p:tags r:id="rId13"/>
              </p:custDataLst>
            </p:nvPr>
          </p:nvSpPr>
          <p:spPr bwMode="auto">
            <a:xfrm>
              <a:off x="873656" y="3024710"/>
              <a:ext cx="299783" cy="310405"/>
            </a:xfrm>
            <a:custGeom>
              <a:avLst/>
              <a:gdLst/>
              <a:ahLst/>
              <a:cxnLst>
                <a:cxn ang="0">
                  <a:pos x="5" y="174"/>
                </a:cxn>
                <a:cxn ang="0">
                  <a:pos x="9" y="151"/>
                </a:cxn>
                <a:cxn ang="0">
                  <a:pos x="9" y="128"/>
                </a:cxn>
                <a:cxn ang="0">
                  <a:pos x="0" y="105"/>
                </a:cxn>
                <a:cxn ang="0">
                  <a:pos x="9" y="87"/>
                </a:cxn>
                <a:cxn ang="0">
                  <a:pos x="14" y="78"/>
                </a:cxn>
                <a:cxn ang="0">
                  <a:pos x="28" y="64"/>
                </a:cxn>
                <a:cxn ang="0">
                  <a:pos x="41" y="55"/>
                </a:cxn>
                <a:cxn ang="0">
                  <a:pos x="50" y="46"/>
                </a:cxn>
                <a:cxn ang="0">
                  <a:pos x="60" y="32"/>
                </a:cxn>
                <a:cxn ang="0">
                  <a:pos x="73" y="23"/>
                </a:cxn>
                <a:cxn ang="0">
                  <a:pos x="87" y="28"/>
                </a:cxn>
                <a:cxn ang="0">
                  <a:pos x="101" y="18"/>
                </a:cxn>
                <a:cxn ang="0">
                  <a:pos x="114" y="23"/>
                </a:cxn>
                <a:cxn ang="0">
                  <a:pos x="124" y="37"/>
                </a:cxn>
                <a:cxn ang="0">
                  <a:pos x="137" y="41"/>
                </a:cxn>
                <a:cxn ang="0">
                  <a:pos x="156" y="46"/>
                </a:cxn>
                <a:cxn ang="0">
                  <a:pos x="174" y="41"/>
                </a:cxn>
                <a:cxn ang="0">
                  <a:pos x="188" y="32"/>
                </a:cxn>
                <a:cxn ang="0">
                  <a:pos x="188" y="14"/>
                </a:cxn>
                <a:cxn ang="0">
                  <a:pos x="206" y="0"/>
                </a:cxn>
                <a:cxn ang="0">
                  <a:pos x="224" y="0"/>
                </a:cxn>
                <a:cxn ang="0">
                  <a:pos x="238" y="9"/>
                </a:cxn>
                <a:cxn ang="0">
                  <a:pos x="242" y="23"/>
                </a:cxn>
                <a:cxn ang="0">
                  <a:pos x="242" y="41"/>
                </a:cxn>
                <a:cxn ang="0">
                  <a:pos x="256" y="37"/>
                </a:cxn>
                <a:cxn ang="0">
                  <a:pos x="261" y="28"/>
                </a:cxn>
                <a:cxn ang="0">
                  <a:pos x="279" y="23"/>
                </a:cxn>
                <a:cxn ang="0">
                  <a:pos x="293" y="32"/>
                </a:cxn>
                <a:cxn ang="0">
                  <a:pos x="284" y="46"/>
                </a:cxn>
                <a:cxn ang="0">
                  <a:pos x="274" y="55"/>
                </a:cxn>
                <a:cxn ang="0">
                  <a:pos x="270" y="69"/>
                </a:cxn>
                <a:cxn ang="0">
                  <a:pos x="274" y="87"/>
                </a:cxn>
                <a:cxn ang="0">
                  <a:pos x="284" y="101"/>
                </a:cxn>
                <a:cxn ang="0">
                  <a:pos x="302" y="105"/>
                </a:cxn>
                <a:cxn ang="0">
                  <a:pos x="325" y="114"/>
                </a:cxn>
                <a:cxn ang="0">
                  <a:pos x="334" y="119"/>
                </a:cxn>
                <a:cxn ang="0">
                  <a:pos x="343" y="133"/>
                </a:cxn>
                <a:cxn ang="0">
                  <a:pos x="302" y="151"/>
                </a:cxn>
                <a:cxn ang="0">
                  <a:pos x="265" y="206"/>
                </a:cxn>
                <a:cxn ang="0">
                  <a:pos x="261" y="224"/>
                </a:cxn>
                <a:cxn ang="0">
                  <a:pos x="252" y="261"/>
                </a:cxn>
                <a:cxn ang="0">
                  <a:pos x="233" y="288"/>
                </a:cxn>
                <a:cxn ang="0">
                  <a:pos x="210" y="297"/>
                </a:cxn>
                <a:cxn ang="0">
                  <a:pos x="188" y="306"/>
                </a:cxn>
                <a:cxn ang="0">
                  <a:pos x="169" y="284"/>
                </a:cxn>
                <a:cxn ang="0">
                  <a:pos x="160" y="252"/>
                </a:cxn>
                <a:cxn ang="0">
                  <a:pos x="128" y="252"/>
                </a:cxn>
                <a:cxn ang="0">
                  <a:pos x="92" y="247"/>
                </a:cxn>
                <a:cxn ang="0">
                  <a:pos x="73" y="242"/>
                </a:cxn>
                <a:cxn ang="0">
                  <a:pos x="46" y="252"/>
                </a:cxn>
                <a:cxn ang="0">
                  <a:pos x="28" y="261"/>
                </a:cxn>
                <a:cxn ang="0">
                  <a:pos x="14" y="238"/>
                </a:cxn>
                <a:cxn ang="0">
                  <a:pos x="9" y="215"/>
                </a:cxn>
                <a:cxn ang="0">
                  <a:pos x="5" y="197"/>
                </a:cxn>
              </a:cxnLst>
              <a:rect l="0" t="0" r="r" b="b"/>
              <a:pathLst>
                <a:path w="343" h="306">
                  <a:moveTo>
                    <a:pt x="5" y="197"/>
                  </a:moveTo>
                  <a:lnTo>
                    <a:pt x="5" y="183"/>
                  </a:lnTo>
                  <a:lnTo>
                    <a:pt x="5" y="174"/>
                  </a:lnTo>
                  <a:lnTo>
                    <a:pt x="5" y="174"/>
                  </a:lnTo>
                  <a:lnTo>
                    <a:pt x="5" y="169"/>
                  </a:lnTo>
                  <a:lnTo>
                    <a:pt x="5" y="156"/>
                  </a:lnTo>
                  <a:lnTo>
                    <a:pt x="5" y="151"/>
                  </a:lnTo>
                  <a:lnTo>
                    <a:pt x="9" y="151"/>
                  </a:lnTo>
                  <a:lnTo>
                    <a:pt x="9" y="146"/>
                  </a:lnTo>
                  <a:lnTo>
                    <a:pt x="9" y="142"/>
                  </a:lnTo>
                  <a:lnTo>
                    <a:pt x="9" y="128"/>
                  </a:lnTo>
                  <a:lnTo>
                    <a:pt x="9" y="128"/>
                  </a:lnTo>
                  <a:lnTo>
                    <a:pt x="9" y="124"/>
                  </a:lnTo>
                  <a:lnTo>
                    <a:pt x="5" y="114"/>
                  </a:lnTo>
                  <a:lnTo>
                    <a:pt x="5" y="110"/>
                  </a:lnTo>
                  <a:lnTo>
                    <a:pt x="0" y="105"/>
                  </a:lnTo>
                  <a:lnTo>
                    <a:pt x="5" y="101"/>
                  </a:lnTo>
                  <a:lnTo>
                    <a:pt x="5" y="96"/>
                  </a:lnTo>
                  <a:lnTo>
                    <a:pt x="9" y="87"/>
                  </a:lnTo>
                  <a:lnTo>
                    <a:pt x="9" y="87"/>
                  </a:lnTo>
                  <a:lnTo>
                    <a:pt x="14" y="87"/>
                  </a:lnTo>
                  <a:lnTo>
                    <a:pt x="14" y="82"/>
                  </a:lnTo>
                  <a:lnTo>
                    <a:pt x="14" y="78"/>
                  </a:lnTo>
                  <a:lnTo>
                    <a:pt x="14" y="78"/>
                  </a:lnTo>
                  <a:lnTo>
                    <a:pt x="14" y="73"/>
                  </a:lnTo>
                  <a:lnTo>
                    <a:pt x="23" y="69"/>
                  </a:lnTo>
                  <a:lnTo>
                    <a:pt x="23" y="64"/>
                  </a:lnTo>
                  <a:lnTo>
                    <a:pt x="28" y="64"/>
                  </a:lnTo>
                  <a:lnTo>
                    <a:pt x="28" y="64"/>
                  </a:lnTo>
                  <a:lnTo>
                    <a:pt x="32" y="64"/>
                  </a:lnTo>
                  <a:lnTo>
                    <a:pt x="37" y="60"/>
                  </a:lnTo>
                  <a:lnTo>
                    <a:pt x="41" y="55"/>
                  </a:lnTo>
                  <a:lnTo>
                    <a:pt x="46" y="55"/>
                  </a:lnTo>
                  <a:lnTo>
                    <a:pt x="46" y="50"/>
                  </a:lnTo>
                  <a:lnTo>
                    <a:pt x="50" y="50"/>
                  </a:lnTo>
                  <a:lnTo>
                    <a:pt x="50" y="46"/>
                  </a:lnTo>
                  <a:lnTo>
                    <a:pt x="60" y="41"/>
                  </a:lnTo>
                  <a:lnTo>
                    <a:pt x="60" y="37"/>
                  </a:lnTo>
                  <a:lnTo>
                    <a:pt x="60" y="32"/>
                  </a:lnTo>
                  <a:lnTo>
                    <a:pt x="60" y="32"/>
                  </a:lnTo>
                  <a:lnTo>
                    <a:pt x="60" y="18"/>
                  </a:lnTo>
                  <a:lnTo>
                    <a:pt x="64" y="18"/>
                  </a:lnTo>
                  <a:lnTo>
                    <a:pt x="69" y="23"/>
                  </a:lnTo>
                  <a:lnTo>
                    <a:pt x="73" y="23"/>
                  </a:lnTo>
                  <a:lnTo>
                    <a:pt x="78" y="28"/>
                  </a:lnTo>
                  <a:lnTo>
                    <a:pt x="82" y="28"/>
                  </a:lnTo>
                  <a:lnTo>
                    <a:pt x="82" y="28"/>
                  </a:lnTo>
                  <a:lnTo>
                    <a:pt x="87" y="28"/>
                  </a:lnTo>
                  <a:lnTo>
                    <a:pt x="87" y="23"/>
                  </a:lnTo>
                  <a:lnTo>
                    <a:pt x="92" y="23"/>
                  </a:lnTo>
                  <a:lnTo>
                    <a:pt x="92" y="18"/>
                  </a:lnTo>
                  <a:lnTo>
                    <a:pt x="101" y="18"/>
                  </a:lnTo>
                  <a:lnTo>
                    <a:pt x="105" y="18"/>
                  </a:lnTo>
                  <a:lnTo>
                    <a:pt x="110" y="18"/>
                  </a:lnTo>
                  <a:lnTo>
                    <a:pt x="114" y="23"/>
                  </a:lnTo>
                  <a:lnTo>
                    <a:pt x="114" y="23"/>
                  </a:lnTo>
                  <a:lnTo>
                    <a:pt x="119" y="28"/>
                  </a:lnTo>
                  <a:lnTo>
                    <a:pt x="119" y="32"/>
                  </a:lnTo>
                  <a:lnTo>
                    <a:pt x="124" y="32"/>
                  </a:lnTo>
                  <a:lnTo>
                    <a:pt x="124" y="37"/>
                  </a:lnTo>
                  <a:lnTo>
                    <a:pt x="128" y="41"/>
                  </a:lnTo>
                  <a:lnTo>
                    <a:pt x="133" y="41"/>
                  </a:lnTo>
                  <a:lnTo>
                    <a:pt x="137" y="41"/>
                  </a:lnTo>
                  <a:lnTo>
                    <a:pt x="137" y="41"/>
                  </a:lnTo>
                  <a:lnTo>
                    <a:pt x="142" y="41"/>
                  </a:lnTo>
                  <a:lnTo>
                    <a:pt x="146" y="41"/>
                  </a:lnTo>
                  <a:lnTo>
                    <a:pt x="146" y="46"/>
                  </a:lnTo>
                  <a:lnTo>
                    <a:pt x="156" y="46"/>
                  </a:lnTo>
                  <a:lnTo>
                    <a:pt x="165" y="46"/>
                  </a:lnTo>
                  <a:lnTo>
                    <a:pt x="169" y="46"/>
                  </a:lnTo>
                  <a:lnTo>
                    <a:pt x="169" y="41"/>
                  </a:lnTo>
                  <a:lnTo>
                    <a:pt x="174" y="41"/>
                  </a:lnTo>
                  <a:lnTo>
                    <a:pt x="178" y="41"/>
                  </a:lnTo>
                  <a:lnTo>
                    <a:pt x="183" y="37"/>
                  </a:lnTo>
                  <a:lnTo>
                    <a:pt x="183" y="32"/>
                  </a:lnTo>
                  <a:lnTo>
                    <a:pt x="188" y="32"/>
                  </a:lnTo>
                  <a:lnTo>
                    <a:pt x="188" y="28"/>
                  </a:lnTo>
                  <a:lnTo>
                    <a:pt x="188" y="23"/>
                  </a:lnTo>
                  <a:lnTo>
                    <a:pt x="188" y="18"/>
                  </a:lnTo>
                  <a:lnTo>
                    <a:pt x="188" y="14"/>
                  </a:lnTo>
                  <a:lnTo>
                    <a:pt x="192" y="9"/>
                  </a:lnTo>
                  <a:lnTo>
                    <a:pt x="192" y="5"/>
                  </a:lnTo>
                  <a:lnTo>
                    <a:pt x="192" y="5"/>
                  </a:lnTo>
                  <a:lnTo>
                    <a:pt x="206" y="0"/>
                  </a:lnTo>
                  <a:lnTo>
                    <a:pt x="210" y="0"/>
                  </a:lnTo>
                  <a:lnTo>
                    <a:pt x="215" y="0"/>
                  </a:lnTo>
                  <a:lnTo>
                    <a:pt x="220" y="0"/>
                  </a:lnTo>
                  <a:lnTo>
                    <a:pt x="224" y="0"/>
                  </a:lnTo>
                  <a:lnTo>
                    <a:pt x="229" y="5"/>
                  </a:lnTo>
                  <a:lnTo>
                    <a:pt x="233" y="5"/>
                  </a:lnTo>
                  <a:lnTo>
                    <a:pt x="233" y="5"/>
                  </a:lnTo>
                  <a:lnTo>
                    <a:pt x="238" y="9"/>
                  </a:lnTo>
                  <a:lnTo>
                    <a:pt x="238" y="14"/>
                  </a:lnTo>
                  <a:lnTo>
                    <a:pt x="242" y="18"/>
                  </a:lnTo>
                  <a:lnTo>
                    <a:pt x="242" y="18"/>
                  </a:lnTo>
                  <a:lnTo>
                    <a:pt x="242" y="23"/>
                  </a:lnTo>
                  <a:lnTo>
                    <a:pt x="238" y="28"/>
                  </a:lnTo>
                  <a:lnTo>
                    <a:pt x="238" y="32"/>
                  </a:lnTo>
                  <a:lnTo>
                    <a:pt x="238" y="41"/>
                  </a:lnTo>
                  <a:lnTo>
                    <a:pt x="242" y="41"/>
                  </a:lnTo>
                  <a:lnTo>
                    <a:pt x="247" y="41"/>
                  </a:lnTo>
                  <a:lnTo>
                    <a:pt x="247" y="37"/>
                  </a:lnTo>
                  <a:lnTo>
                    <a:pt x="252" y="37"/>
                  </a:lnTo>
                  <a:lnTo>
                    <a:pt x="256" y="37"/>
                  </a:lnTo>
                  <a:lnTo>
                    <a:pt x="256" y="32"/>
                  </a:lnTo>
                  <a:lnTo>
                    <a:pt x="256" y="32"/>
                  </a:lnTo>
                  <a:lnTo>
                    <a:pt x="261" y="32"/>
                  </a:lnTo>
                  <a:lnTo>
                    <a:pt x="261" y="28"/>
                  </a:lnTo>
                  <a:lnTo>
                    <a:pt x="270" y="28"/>
                  </a:lnTo>
                  <a:lnTo>
                    <a:pt x="274" y="28"/>
                  </a:lnTo>
                  <a:lnTo>
                    <a:pt x="279" y="23"/>
                  </a:lnTo>
                  <a:lnTo>
                    <a:pt x="279" y="23"/>
                  </a:lnTo>
                  <a:lnTo>
                    <a:pt x="284" y="23"/>
                  </a:lnTo>
                  <a:lnTo>
                    <a:pt x="288" y="28"/>
                  </a:lnTo>
                  <a:lnTo>
                    <a:pt x="293" y="28"/>
                  </a:lnTo>
                  <a:lnTo>
                    <a:pt x="293" y="32"/>
                  </a:lnTo>
                  <a:lnTo>
                    <a:pt x="297" y="32"/>
                  </a:lnTo>
                  <a:lnTo>
                    <a:pt x="293" y="41"/>
                  </a:lnTo>
                  <a:lnTo>
                    <a:pt x="293" y="41"/>
                  </a:lnTo>
                  <a:lnTo>
                    <a:pt x="284" y="46"/>
                  </a:lnTo>
                  <a:lnTo>
                    <a:pt x="279" y="46"/>
                  </a:lnTo>
                  <a:lnTo>
                    <a:pt x="279" y="50"/>
                  </a:lnTo>
                  <a:lnTo>
                    <a:pt x="279" y="50"/>
                  </a:lnTo>
                  <a:lnTo>
                    <a:pt x="274" y="55"/>
                  </a:lnTo>
                  <a:lnTo>
                    <a:pt x="274" y="60"/>
                  </a:lnTo>
                  <a:lnTo>
                    <a:pt x="270" y="60"/>
                  </a:lnTo>
                  <a:lnTo>
                    <a:pt x="270" y="64"/>
                  </a:lnTo>
                  <a:lnTo>
                    <a:pt x="270" y="69"/>
                  </a:lnTo>
                  <a:lnTo>
                    <a:pt x="270" y="73"/>
                  </a:lnTo>
                  <a:lnTo>
                    <a:pt x="270" y="78"/>
                  </a:lnTo>
                  <a:lnTo>
                    <a:pt x="270" y="82"/>
                  </a:lnTo>
                  <a:lnTo>
                    <a:pt x="274" y="87"/>
                  </a:lnTo>
                  <a:lnTo>
                    <a:pt x="279" y="92"/>
                  </a:lnTo>
                  <a:lnTo>
                    <a:pt x="279" y="96"/>
                  </a:lnTo>
                  <a:lnTo>
                    <a:pt x="279" y="96"/>
                  </a:lnTo>
                  <a:lnTo>
                    <a:pt x="284" y="101"/>
                  </a:lnTo>
                  <a:lnTo>
                    <a:pt x="297" y="105"/>
                  </a:lnTo>
                  <a:lnTo>
                    <a:pt x="302" y="105"/>
                  </a:lnTo>
                  <a:lnTo>
                    <a:pt x="302" y="105"/>
                  </a:lnTo>
                  <a:lnTo>
                    <a:pt x="302" y="105"/>
                  </a:lnTo>
                  <a:lnTo>
                    <a:pt x="306" y="110"/>
                  </a:lnTo>
                  <a:lnTo>
                    <a:pt x="311" y="110"/>
                  </a:lnTo>
                  <a:lnTo>
                    <a:pt x="320" y="114"/>
                  </a:lnTo>
                  <a:lnTo>
                    <a:pt x="325" y="114"/>
                  </a:lnTo>
                  <a:lnTo>
                    <a:pt x="325" y="114"/>
                  </a:lnTo>
                  <a:lnTo>
                    <a:pt x="329" y="114"/>
                  </a:lnTo>
                  <a:lnTo>
                    <a:pt x="329" y="119"/>
                  </a:lnTo>
                  <a:lnTo>
                    <a:pt x="334" y="119"/>
                  </a:lnTo>
                  <a:lnTo>
                    <a:pt x="338" y="124"/>
                  </a:lnTo>
                  <a:lnTo>
                    <a:pt x="343" y="124"/>
                  </a:lnTo>
                  <a:lnTo>
                    <a:pt x="343" y="128"/>
                  </a:lnTo>
                  <a:lnTo>
                    <a:pt x="343" y="133"/>
                  </a:lnTo>
                  <a:lnTo>
                    <a:pt x="338" y="142"/>
                  </a:lnTo>
                  <a:lnTo>
                    <a:pt x="325" y="146"/>
                  </a:lnTo>
                  <a:lnTo>
                    <a:pt x="311" y="151"/>
                  </a:lnTo>
                  <a:lnTo>
                    <a:pt x="302" y="151"/>
                  </a:lnTo>
                  <a:lnTo>
                    <a:pt x="293" y="156"/>
                  </a:lnTo>
                  <a:lnTo>
                    <a:pt x="270" y="178"/>
                  </a:lnTo>
                  <a:lnTo>
                    <a:pt x="270" y="197"/>
                  </a:lnTo>
                  <a:lnTo>
                    <a:pt x="265" y="206"/>
                  </a:lnTo>
                  <a:lnTo>
                    <a:pt x="261" y="215"/>
                  </a:lnTo>
                  <a:lnTo>
                    <a:pt x="265" y="215"/>
                  </a:lnTo>
                  <a:lnTo>
                    <a:pt x="265" y="215"/>
                  </a:lnTo>
                  <a:lnTo>
                    <a:pt x="261" y="224"/>
                  </a:lnTo>
                  <a:lnTo>
                    <a:pt x="261" y="229"/>
                  </a:lnTo>
                  <a:lnTo>
                    <a:pt x="261" y="238"/>
                  </a:lnTo>
                  <a:lnTo>
                    <a:pt x="256" y="252"/>
                  </a:lnTo>
                  <a:lnTo>
                    <a:pt x="252" y="261"/>
                  </a:lnTo>
                  <a:lnTo>
                    <a:pt x="247" y="274"/>
                  </a:lnTo>
                  <a:lnTo>
                    <a:pt x="242" y="284"/>
                  </a:lnTo>
                  <a:lnTo>
                    <a:pt x="238" y="284"/>
                  </a:lnTo>
                  <a:lnTo>
                    <a:pt x="233" y="288"/>
                  </a:lnTo>
                  <a:lnTo>
                    <a:pt x="233" y="293"/>
                  </a:lnTo>
                  <a:lnTo>
                    <a:pt x="229" y="293"/>
                  </a:lnTo>
                  <a:lnTo>
                    <a:pt x="220" y="297"/>
                  </a:lnTo>
                  <a:lnTo>
                    <a:pt x="210" y="297"/>
                  </a:lnTo>
                  <a:lnTo>
                    <a:pt x="197" y="302"/>
                  </a:lnTo>
                  <a:lnTo>
                    <a:pt x="197" y="302"/>
                  </a:lnTo>
                  <a:lnTo>
                    <a:pt x="192" y="302"/>
                  </a:lnTo>
                  <a:lnTo>
                    <a:pt x="188" y="306"/>
                  </a:lnTo>
                  <a:lnTo>
                    <a:pt x="183" y="306"/>
                  </a:lnTo>
                  <a:lnTo>
                    <a:pt x="174" y="302"/>
                  </a:lnTo>
                  <a:lnTo>
                    <a:pt x="169" y="293"/>
                  </a:lnTo>
                  <a:lnTo>
                    <a:pt x="169" y="284"/>
                  </a:lnTo>
                  <a:lnTo>
                    <a:pt x="169" y="274"/>
                  </a:lnTo>
                  <a:lnTo>
                    <a:pt x="169" y="265"/>
                  </a:lnTo>
                  <a:lnTo>
                    <a:pt x="169" y="261"/>
                  </a:lnTo>
                  <a:lnTo>
                    <a:pt x="160" y="252"/>
                  </a:lnTo>
                  <a:lnTo>
                    <a:pt x="156" y="247"/>
                  </a:lnTo>
                  <a:lnTo>
                    <a:pt x="156" y="242"/>
                  </a:lnTo>
                  <a:lnTo>
                    <a:pt x="151" y="242"/>
                  </a:lnTo>
                  <a:lnTo>
                    <a:pt x="128" y="252"/>
                  </a:lnTo>
                  <a:lnTo>
                    <a:pt x="110" y="252"/>
                  </a:lnTo>
                  <a:lnTo>
                    <a:pt x="110" y="247"/>
                  </a:lnTo>
                  <a:lnTo>
                    <a:pt x="105" y="247"/>
                  </a:lnTo>
                  <a:lnTo>
                    <a:pt x="92" y="247"/>
                  </a:lnTo>
                  <a:lnTo>
                    <a:pt x="87" y="247"/>
                  </a:lnTo>
                  <a:lnTo>
                    <a:pt x="82" y="242"/>
                  </a:lnTo>
                  <a:lnTo>
                    <a:pt x="78" y="242"/>
                  </a:lnTo>
                  <a:lnTo>
                    <a:pt x="73" y="242"/>
                  </a:lnTo>
                  <a:lnTo>
                    <a:pt x="64" y="242"/>
                  </a:lnTo>
                  <a:lnTo>
                    <a:pt x="60" y="242"/>
                  </a:lnTo>
                  <a:lnTo>
                    <a:pt x="55" y="247"/>
                  </a:lnTo>
                  <a:lnTo>
                    <a:pt x="46" y="252"/>
                  </a:lnTo>
                  <a:lnTo>
                    <a:pt x="41" y="256"/>
                  </a:lnTo>
                  <a:lnTo>
                    <a:pt x="37" y="256"/>
                  </a:lnTo>
                  <a:lnTo>
                    <a:pt x="32" y="261"/>
                  </a:lnTo>
                  <a:lnTo>
                    <a:pt x="28" y="261"/>
                  </a:lnTo>
                  <a:lnTo>
                    <a:pt x="18" y="256"/>
                  </a:lnTo>
                  <a:lnTo>
                    <a:pt x="14" y="256"/>
                  </a:lnTo>
                  <a:lnTo>
                    <a:pt x="14" y="242"/>
                  </a:lnTo>
                  <a:lnTo>
                    <a:pt x="14" y="238"/>
                  </a:lnTo>
                  <a:lnTo>
                    <a:pt x="14" y="238"/>
                  </a:lnTo>
                  <a:lnTo>
                    <a:pt x="9" y="224"/>
                  </a:lnTo>
                  <a:lnTo>
                    <a:pt x="9" y="215"/>
                  </a:lnTo>
                  <a:lnTo>
                    <a:pt x="9" y="215"/>
                  </a:lnTo>
                  <a:lnTo>
                    <a:pt x="9" y="210"/>
                  </a:lnTo>
                  <a:lnTo>
                    <a:pt x="9" y="201"/>
                  </a:lnTo>
                  <a:lnTo>
                    <a:pt x="5" y="197"/>
                  </a:lnTo>
                  <a:lnTo>
                    <a:pt x="5" y="197"/>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2" name="Freeform 19">
              <a:extLst>
                <a:ext uri="{FF2B5EF4-FFF2-40B4-BE49-F238E27FC236}">
                  <a16:creationId xmlns:a16="http://schemas.microsoft.com/office/drawing/2014/main" id="{50714F95-0933-4120-99DA-451B89311481}"/>
                </a:ext>
              </a:extLst>
            </p:cNvPr>
            <p:cNvSpPr>
              <a:spLocks/>
            </p:cNvSpPr>
            <p:nvPr>
              <p:custDataLst>
                <p:tags r:id="rId14"/>
              </p:custDataLst>
            </p:nvPr>
          </p:nvSpPr>
          <p:spPr bwMode="auto">
            <a:xfrm>
              <a:off x="1543926" y="3404919"/>
              <a:ext cx="319580" cy="457437"/>
            </a:xfrm>
            <a:custGeom>
              <a:avLst/>
              <a:gdLst/>
              <a:ahLst/>
              <a:cxnLst>
                <a:cxn ang="0">
                  <a:pos x="124" y="59"/>
                </a:cxn>
                <a:cxn ang="0">
                  <a:pos x="146" y="37"/>
                </a:cxn>
                <a:cxn ang="0">
                  <a:pos x="160" y="23"/>
                </a:cxn>
                <a:cxn ang="0">
                  <a:pos x="169" y="14"/>
                </a:cxn>
                <a:cxn ang="0">
                  <a:pos x="188" y="0"/>
                </a:cxn>
                <a:cxn ang="0">
                  <a:pos x="210" y="5"/>
                </a:cxn>
                <a:cxn ang="0">
                  <a:pos x="233" y="32"/>
                </a:cxn>
                <a:cxn ang="0">
                  <a:pos x="247" y="59"/>
                </a:cxn>
                <a:cxn ang="0">
                  <a:pos x="261" y="73"/>
                </a:cxn>
                <a:cxn ang="0">
                  <a:pos x="274" y="87"/>
                </a:cxn>
                <a:cxn ang="0">
                  <a:pos x="293" y="101"/>
                </a:cxn>
                <a:cxn ang="0">
                  <a:pos x="316" y="96"/>
                </a:cxn>
                <a:cxn ang="0">
                  <a:pos x="343" y="87"/>
                </a:cxn>
                <a:cxn ang="0">
                  <a:pos x="357" y="101"/>
                </a:cxn>
                <a:cxn ang="0">
                  <a:pos x="366" y="123"/>
                </a:cxn>
                <a:cxn ang="0">
                  <a:pos x="366" y="142"/>
                </a:cxn>
                <a:cxn ang="0">
                  <a:pos x="361" y="160"/>
                </a:cxn>
                <a:cxn ang="0">
                  <a:pos x="329" y="169"/>
                </a:cxn>
                <a:cxn ang="0">
                  <a:pos x="279" y="178"/>
                </a:cxn>
                <a:cxn ang="0">
                  <a:pos x="297" y="233"/>
                </a:cxn>
                <a:cxn ang="0">
                  <a:pos x="288" y="288"/>
                </a:cxn>
                <a:cxn ang="0">
                  <a:pos x="293" y="334"/>
                </a:cxn>
                <a:cxn ang="0">
                  <a:pos x="316" y="366"/>
                </a:cxn>
                <a:cxn ang="0">
                  <a:pos x="306" y="398"/>
                </a:cxn>
                <a:cxn ang="0">
                  <a:pos x="293" y="416"/>
                </a:cxn>
                <a:cxn ang="0">
                  <a:pos x="302" y="434"/>
                </a:cxn>
                <a:cxn ang="0">
                  <a:pos x="284" y="448"/>
                </a:cxn>
                <a:cxn ang="0">
                  <a:pos x="252" y="425"/>
                </a:cxn>
                <a:cxn ang="0">
                  <a:pos x="233" y="421"/>
                </a:cxn>
                <a:cxn ang="0">
                  <a:pos x="224" y="411"/>
                </a:cxn>
                <a:cxn ang="0">
                  <a:pos x="197" y="411"/>
                </a:cxn>
                <a:cxn ang="0">
                  <a:pos x="178" y="407"/>
                </a:cxn>
                <a:cxn ang="0">
                  <a:pos x="165" y="402"/>
                </a:cxn>
                <a:cxn ang="0">
                  <a:pos x="142" y="402"/>
                </a:cxn>
                <a:cxn ang="0">
                  <a:pos x="124" y="379"/>
                </a:cxn>
                <a:cxn ang="0">
                  <a:pos x="114" y="347"/>
                </a:cxn>
                <a:cxn ang="0">
                  <a:pos x="105" y="334"/>
                </a:cxn>
                <a:cxn ang="0">
                  <a:pos x="87" y="329"/>
                </a:cxn>
                <a:cxn ang="0">
                  <a:pos x="82" y="311"/>
                </a:cxn>
                <a:cxn ang="0">
                  <a:pos x="87" y="297"/>
                </a:cxn>
                <a:cxn ang="0">
                  <a:pos x="78" y="274"/>
                </a:cxn>
                <a:cxn ang="0">
                  <a:pos x="64" y="261"/>
                </a:cxn>
                <a:cxn ang="0">
                  <a:pos x="41" y="251"/>
                </a:cxn>
                <a:cxn ang="0">
                  <a:pos x="50" y="238"/>
                </a:cxn>
                <a:cxn ang="0">
                  <a:pos x="55" y="210"/>
                </a:cxn>
                <a:cxn ang="0">
                  <a:pos x="73" y="192"/>
                </a:cxn>
                <a:cxn ang="0">
                  <a:pos x="82" y="174"/>
                </a:cxn>
                <a:cxn ang="0">
                  <a:pos x="60" y="160"/>
                </a:cxn>
                <a:cxn ang="0">
                  <a:pos x="37" y="151"/>
                </a:cxn>
                <a:cxn ang="0">
                  <a:pos x="14" y="151"/>
                </a:cxn>
                <a:cxn ang="0">
                  <a:pos x="0" y="137"/>
                </a:cxn>
                <a:cxn ang="0">
                  <a:pos x="9" y="119"/>
                </a:cxn>
                <a:cxn ang="0">
                  <a:pos x="18" y="96"/>
                </a:cxn>
                <a:cxn ang="0">
                  <a:pos x="32" y="114"/>
                </a:cxn>
                <a:cxn ang="0">
                  <a:pos x="50" y="123"/>
                </a:cxn>
                <a:cxn ang="0">
                  <a:pos x="69" y="105"/>
                </a:cxn>
                <a:cxn ang="0">
                  <a:pos x="87" y="91"/>
                </a:cxn>
              </a:cxnLst>
              <a:rect l="0" t="0" r="r" b="b"/>
              <a:pathLst>
                <a:path w="366" h="453">
                  <a:moveTo>
                    <a:pt x="105" y="73"/>
                  </a:moveTo>
                  <a:lnTo>
                    <a:pt x="110" y="69"/>
                  </a:lnTo>
                  <a:lnTo>
                    <a:pt x="119" y="64"/>
                  </a:lnTo>
                  <a:lnTo>
                    <a:pt x="124" y="59"/>
                  </a:lnTo>
                  <a:lnTo>
                    <a:pt x="124" y="59"/>
                  </a:lnTo>
                  <a:lnTo>
                    <a:pt x="133" y="50"/>
                  </a:lnTo>
                  <a:lnTo>
                    <a:pt x="137" y="46"/>
                  </a:lnTo>
                  <a:lnTo>
                    <a:pt x="137" y="41"/>
                  </a:lnTo>
                  <a:lnTo>
                    <a:pt x="142" y="41"/>
                  </a:lnTo>
                  <a:lnTo>
                    <a:pt x="146" y="37"/>
                  </a:lnTo>
                  <a:lnTo>
                    <a:pt x="146" y="32"/>
                  </a:lnTo>
                  <a:lnTo>
                    <a:pt x="151" y="32"/>
                  </a:lnTo>
                  <a:lnTo>
                    <a:pt x="151" y="27"/>
                  </a:lnTo>
                  <a:lnTo>
                    <a:pt x="156" y="27"/>
                  </a:lnTo>
                  <a:lnTo>
                    <a:pt x="160" y="23"/>
                  </a:lnTo>
                  <a:lnTo>
                    <a:pt x="165" y="18"/>
                  </a:lnTo>
                  <a:lnTo>
                    <a:pt x="169" y="18"/>
                  </a:lnTo>
                  <a:lnTo>
                    <a:pt x="169" y="18"/>
                  </a:lnTo>
                  <a:lnTo>
                    <a:pt x="169" y="18"/>
                  </a:lnTo>
                  <a:lnTo>
                    <a:pt x="169" y="14"/>
                  </a:lnTo>
                  <a:lnTo>
                    <a:pt x="174" y="9"/>
                  </a:lnTo>
                  <a:lnTo>
                    <a:pt x="178" y="5"/>
                  </a:lnTo>
                  <a:lnTo>
                    <a:pt x="183" y="5"/>
                  </a:lnTo>
                  <a:lnTo>
                    <a:pt x="183" y="0"/>
                  </a:lnTo>
                  <a:lnTo>
                    <a:pt x="188" y="0"/>
                  </a:lnTo>
                  <a:lnTo>
                    <a:pt x="197" y="0"/>
                  </a:lnTo>
                  <a:lnTo>
                    <a:pt x="201" y="0"/>
                  </a:lnTo>
                  <a:lnTo>
                    <a:pt x="206" y="0"/>
                  </a:lnTo>
                  <a:lnTo>
                    <a:pt x="210" y="0"/>
                  </a:lnTo>
                  <a:lnTo>
                    <a:pt x="210" y="5"/>
                  </a:lnTo>
                  <a:lnTo>
                    <a:pt x="215" y="9"/>
                  </a:lnTo>
                  <a:lnTo>
                    <a:pt x="220" y="14"/>
                  </a:lnTo>
                  <a:lnTo>
                    <a:pt x="224" y="18"/>
                  </a:lnTo>
                  <a:lnTo>
                    <a:pt x="233" y="27"/>
                  </a:lnTo>
                  <a:lnTo>
                    <a:pt x="233" y="32"/>
                  </a:lnTo>
                  <a:lnTo>
                    <a:pt x="238" y="41"/>
                  </a:lnTo>
                  <a:lnTo>
                    <a:pt x="238" y="46"/>
                  </a:lnTo>
                  <a:lnTo>
                    <a:pt x="238" y="50"/>
                  </a:lnTo>
                  <a:lnTo>
                    <a:pt x="242" y="55"/>
                  </a:lnTo>
                  <a:lnTo>
                    <a:pt x="247" y="59"/>
                  </a:lnTo>
                  <a:lnTo>
                    <a:pt x="252" y="64"/>
                  </a:lnTo>
                  <a:lnTo>
                    <a:pt x="256" y="64"/>
                  </a:lnTo>
                  <a:lnTo>
                    <a:pt x="256" y="69"/>
                  </a:lnTo>
                  <a:lnTo>
                    <a:pt x="256" y="73"/>
                  </a:lnTo>
                  <a:lnTo>
                    <a:pt x="261" y="73"/>
                  </a:lnTo>
                  <a:lnTo>
                    <a:pt x="265" y="78"/>
                  </a:lnTo>
                  <a:lnTo>
                    <a:pt x="265" y="82"/>
                  </a:lnTo>
                  <a:lnTo>
                    <a:pt x="270" y="82"/>
                  </a:lnTo>
                  <a:lnTo>
                    <a:pt x="270" y="82"/>
                  </a:lnTo>
                  <a:lnTo>
                    <a:pt x="274" y="87"/>
                  </a:lnTo>
                  <a:lnTo>
                    <a:pt x="279" y="91"/>
                  </a:lnTo>
                  <a:lnTo>
                    <a:pt x="279" y="96"/>
                  </a:lnTo>
                  <a:lnTo>
                    <a:pt x="284" y="101"/>
                  </a:lnTo>
                  <a:lnTo>
                    <a:pt x="288" y="101"/>
                  </a:lnTo>
                  <a:lnTo>
                    <a:pt x="293" y="101"/>
                  </a:lnTo>
                  <a:lnTo>
                    <a:pt x="302" y="101"/>
                  </a:lnTo>
                  <a:lnTo>
                    <a:pt x="306" y="101"/>
                  </a:lnTo>
                  <a:lnTo>
                    <a:pt x="306" y="96"/>
                  </a:lnTo>
                  <a:lnTo>
                    <a:pt x="311" y="96"/>
                  </a:lnTo>
                  <a:lnTo>
                    <a:pt x="316" y="96"/>
                  </a:lnTo>
                  <a:lnTo>
                    <a:pt x="320" y="91"/>
                  </a:lnTo>
                  <a:lnTo>
                    <a:pt x="325" y="87"/>
                  </a:lnTo>
                  <a:lnTo>
                    <a:pt x="334" y="87"/>
                  </a:lnTo>
                  <a:lnTo>
                    <a:pt x="338" y="87"/>
                  </a:lnTo>
                  <a:lnTo>
                    <a:pt x="343" y="87"/>
                  </a:lnTo>
                  <a:lnTo>
                    <a:pt x="343" y="87"/>
                  </a:lnTo>
                  <a:lnTo>
                    <a:pt x="343" y="91"/>
                  </a:lnTo>
                  <a:lnTo>
                    <a:pt x="348" y="91"/>
                  </a:lnTo>
                  <a:lnTo>
                    <a:pt x="352" y="101"/>
                  </a:lnTo>
                  <a:lnTo>
                    <a:pt x="357" y="101"/>
                  </a:lnTo>
                  <a:lnTo>
                    <a:pt x="357" y="105"/>
                  </a:lnTo>
                  <a:lnTo>
                    <a:pt x="361" y="105"/>
                  </a:lnTo>
                  <a:lnTo>
                    <a:pt x="366" y="110"/>
                  </a:lnTo>
                  <a:lnTo>
                    <a:pt x="366" y="114"/>
                  </a:lnTo>
                  <a:lnTo>
                    <a:pt x="366" y="123"/>
                  </a:lnTo>
                  <a:lnTo>
                    <a:pt x="366" y="128"/>
                  </a:lnTo>
                  <a:lnTo>
                    <a:pt x="366" y="128"/>
                  </a:lnTo>
                  <a:lnTo>
                    <a:pt x="366" y="133"/>
                  </a:lnTo>
                  <a:lnTo>
                    <a:pt x="366" y="137"/>
                  </a:lnTo>
                  <a:lnTo>
                    <a:pt x="366" y="142"/>
                  </a:lnTo>
                  <a:lnTo>
                    <a:pt x="366" y="146"/>
                  </a:lnTo>
                  <a:lnTo>
                    <a:pt x="366" y="151"/>
                  </a:lnTo>
                  <a:lnTo>
                    <a:pt x="366" y="151"/>
                  </a:lnTo>
                  <a:lnTo>
                    <a:pt x="366" y="155"/>
                  </a:lnTo>
                  <a:lnTo>
                    <a:pt x="361" y="160"/>
                  </a:lnTo>
                  <a:lnTo>
                    <a:pt x="361" y="165"/>
                  </a:lnTo>
                  <a:lnTo>
                    <a:pt x="357" y="169"/>
                  </a:lnTo>
                  <a:lnTo>
                    <a:pt x="357" y="169"/>
                  </a:lnTo>
                  <a:lnTo>
                    <a:pt x="352" y="174"/>
                  </a:lnTo>
                  <a:lnTo>
                    <a:pt x="329" y="169"/>
                  </a:lnTo>
                  <a:lnTo>
                    <a:pt x="311" y="174"/>
                  </a:lnTo>
                  <a:lnTo>
                    <a:pt x="297" y="178"/>
                  </a:lnTo>
                  <a:lnTo>
                    <a:pt x="284" y="174"/>
                  </a:lnTo>
                  <a:lnTo>
                    <a:pt x="284" y="174"/>
                  </a:lnTo>
                  <a:lnTo>
                    <a:pt x="279" y="178"/>
                  </a:lnTo>
                  <a:lnTo>
                    <a:pt x="279" y="187"/>
                  </a:lnTo>
                  <a:lnTo>
                    <a:pt x="284" y="192"/>
                  </a:lnTo>
                  <a:lnTo>
                    <a:pt x="288" y="201"/>
                  </a:lnTo>
                  <a:lnTo>
                    <a:pt x="293" y="215"/>
                  </a:lnTo>
                  <a:lnTo>
                    <a:pt x="297" y="233"/>
                  </a:lnTo>
                  <a:lnTo>
                    <a:pt x="293" y="242"/>
                  </a:lnTo>
                  <a:lnTo>
                    <a:pt x="293" y="256"/>
                  </a:lnTo>
                  <a:lnTo>
                    <a:pt x="297" y="270"/>
                  </a:lnTo>
                  <a:lnTo>
                    <a:pt x="297" y="279"/>
                  </a:lnTo>
                  <a:lnTo>
                    <a:pt x="288" y="288"/>
                  </a:lnTo>
                  <a:lnTo>
                    <a:pt x="284" y="302"/>
                  </a:lnTo>
                  <a:lnTo>
                    <a:pt x="279" y="306"/>
                  </a:lnTo>
                  <a:lnTo>
                    <a:pt x="284" y="320"/>
                  </a:lnTo>
                  <a:lnTo>
                    <a:pt x="284" y="329"/>
                  </a:lnTo>
                  <a:lnTo>
                    <a:pt x="293" y="334"/>
                  </a:lnTo>
                  <a:lnTo>
                    <a:pt x="302" y="338"/>
                  </a:lnTo>
                  <a:lnTo>
                    <a:pt x="311" y="338"/>
                  </a:lnTo>
                  <a:lnTo>
                    <a:pt x="311" y="343"/>
                  </a:lnTo>
                  <a:lnTo>
                    <a:pt x="316" y="361"/>
                  </a:lnTo>
                  <a:lnTo>
                    <a:pt x="316" y="366"/>
                  </a:lnTo>
                  <a:lnTo>
                    <a:pt x="316" y="375"/>
                  </a:lnTo>
                  <a:lnTo>
                    <a:pt x="316" y="384"/>
                  </a:lnTo>
                  <a:lnTo>
                    <a:pt x="311" y="389"/>
                  </a:lnTo>
                  <a:lnTo>
                    <a:pt x="311" y="389"/>
                  </a:lnTo>
                  <a:lnTo>
                    <a:pt x="306" y="398"/>
                  </a:lnTo>
                  <a:lnTo>
                    <a:pt x="302" y="402"/>
                  </a:lnTo>
                  <a:lnTo>
                    <a:pt x="297" y="407"/>
                  </a:lnTo>
                  <a:lnTo>
                    <a:pt x="293" y="411"/>
                  </a:lnTo>
                  <a:lnTo>
                    <a:pt x="293" y="411"/>
                  </a:lnTo>
                  <a:lnTo>
                    <a:pt x="293" y="416"/>
                  </a:lnTo>
                  <a:lnTo>
                    <a:pt x="297" y="421"/>
                  </a:lnTo>
                  <a:lnTo>
                    <a:pt x="297" y="425"/>
                  </a:lnTo>
                  <a:lnTo>
                    <a:pt x="297" y="430"/>
                  </a:lnTo>
                  <a:lnTo>
                    <a:pt x="302" y="434"/>
                  </a:lnTo>
                  <a:lnTo>
                    <a:pt x="302" y="434"/>
                  </a:lnTo>
                  <a:lnTo>
                    <a:pt x="302" y="443"/>
                  </a:lnTo>
                  <a:lnTo>
                    <a:pt x="302" y="453"/>
                  </a:lnTo>
                  <a:lnTo>
                    <a:pt x="293" y="453"/>
                  </a:lnTo>
                  <a:lnTo>
                    <a:pt x="288" y="448"/>
                  </a:lnTo>
                  <a:lnTo>
                    <a:pt x="284" y="448"/>
                  </a:lnTo>
                  <a:lnTo>
                    <a:pt x="284" y="443"/>
                  </a:lnTo>
                  <a:lnTo>
                    <a:pt x="279" y="439"/>
                  </a:lnTo>
                  <a:lnTo>
                    <a:pt x="265" y="434"/>
                  </a:lnTo>
                  <a:lnTo>
                    <a:pt x="256" y="425"/>
                  </a:lnTo>
                  <a:lnTo>
                    <a:pt x="252" y="425"/>
                  </a:lnTo>
                  <a:lnTo>
                    <a:pt x="252" y="425"/>
                  </a:lnTo>
                  <a:lnTo>
                    <a:pt x="247" y="425"/>
                  </a:lnTo>
                  <a:lnTo>
                    <a:pt x="242" y="425"/>
                  </a:lnTo>
                  <a:lnTo>
                    <a:pt x="238" y="425"/>
                  </a:lnTo>
                  <a:lnTo>
                    <a:pt x="233" y="421"/>
                  </a:lnTo>
                  <a:lnTo>
                    <a:pt x="233" y="421"/>
                  </a:lnTo>
                  <a:lnTo>
                    <a:pt x="233" y="416"/>
                  </a:lnTo>
                  <a:lnTo>
                    <a:pt x="229" y="416"/>
                  </a:lnTo>
                  <a:lnTo>
                    <a:pt x="224" y="416"/>
                  </a:lnTo>
                  <a:lnTo>
                    <a:pt x="224" y="411"/>
                  </a:lnTo>
                  <a:lnTo>
                    <a:pt x="215" y="411"/>
                  </a:lnTo>
                  <a:lnTo>
                    <a:pt x="210" y="411"/>
                  </a:lnTo>
                  <a:lnTo>
                    <a:pt x="206" y="411"/>
                  </a:lnTo>
                  <a:lnTo>
                    <a:pt x="201" y="411"/>
                  </a:lnTo>
                  <a:lnTo>
                    <a:pt x="197" y="411"/>
                  </a:lnTo>
                  <a:lnTo>
                    <a:pt x="192" y="416"/>
                  </a:lnTo>
                  <a:lnTo>
                    <a:pt x="188" y="416"/>
                  </a:lnTo>
                  <a:lnTo>
                    <a:pt x="183" y="411"/>
                  </a:lnTo>
                  <a:lnTo>
                    <a:pt x="178" y="411"/>
                  </a:lnTo>
                  <a:lnTo>
                    <a:pt x="178" y="407"/>
                  </a:lnTo>
                  <a:lnTo>
                    <a:pt x="174" y="407"/>
                  </a:lnTo>
                  <a:lnTo>
                    <a:pt x="174" y="402"/>
                  </a:lnTo>
                  <a:lnTo>
                    <a:pt x="169" y="402"/>
                  </a:lnTo>
                  <a:lnTo>
                    <a:pt x="169" y="402"/>
                  </a:lnTo>
                  <a:lnTo>
                    <a:pt x="165" y="402"/>
                  </a:lnTo>
                  <a:lnTo>
                    <a:pt x="160" y="402"/>
                  </a:lnTo>
                  <a:lnTo>
                    <a:pt x="156" y="402"/>
                  </a:lnTo>
                  <a:lnTo>
                    <a:pt x="151" y="402"/>
                  </a:lnTo>
                  <a:lnTo>
                    <a:pt x="146" y="402"/>
                  </a:lnTo>
                  <a:lnTo>
                    <a:pt x="142" y="402"/>
                  </a:lnTo>
                  <a:lnTo>
                    <a:pt x="137" y="402"/>
                  </a:lnTo>
                  <a:lnTo>
                    <a:pt x="133" y="398"/>
                  </a:lnTo>
                  <a:lnTo>
                    <a:pt x="128" y="393"/>
                  </a:lnTo>
                  <a:lnTo>
                    <a:pt x="124" y="389"/>
                  </a:lnTo>
                  <a:lnTo>
                    <a:pt x="124" y="379"/>
                  </a:lnTo>
                  <a:lnTo>
                    <a:pt x="124" y="379"/>
                  </a:lnTo>
                  <a:lnTo>
                    <a:pt x="119" y="370"/>
                  </a:lnTo>
                  <a:lnTo>
                    <a:pt x="114" y="366"/>
                  </a:lnTo>
                  <a:lnTo>
                    <a:pt x="114" y="352"/>
                  </a:lnTo>
                  <a:lnTo>
                    <a:pt x="114" y="347"/>
                  </a:lnTo>
                  <a:lnTo>
                    <a:pt x="110" y="347"/>
                  </a:lnTo>
                  <a:lnTo>
                    <a:pt x="105" y="347"/>
                  </a:lnTo>
                  <a:lnTo>
                    <a:pt x="105" y="343"/>
                  </a:lnTo>
                  <a:lnTo>
                    <a:pt x="105" y="338"/>
                  </a:lnTo>
                  <a:lnTo>
                    <a:pt x="105" y="334"/>
                  </a:lnTo>
                  <a:lnTo>
                    <a:pt x="105" y="329"/>
                  </a:lnTo>
                  <a:lnTo>
                    <a:pt x="105" y="329"/>
                  </a:lnTo>
                  <a:lnTo>
                    <a:pt x="101" y="329"/>
                  </a:lnTo>
                  <a:lnTo>
                    <a:pt x="92" y="329"/>
                  </a:lnTo>
                  <a:lnTo>
                    <a:pt x="87" y="329"/>
                  </a:lnTo>
                  <a:lnTo>
                    <a:pt x="87" y="325"/>
                  </a:lnTo>
                  <a:lnTo>
                    <a:pt x="87" y="325"/>
                  </a:lnTo>
                  <a:lnTo>
                    <a:pt x="82" y="320"/>
                  </a:lnTo>
                  <a:lnTo>
                    <a:pt x="82" y="315"/>
                  </a:lnTo>
                  <a:lnTo>
                    <a:pt x="82" y="311"/>
                  </a:lnTo>
                  <a:lnTo>
                    <a:pt x="87" y="311"/>
                  </a:lnTo>
                  <a:lnTo>
                    <a:pt x="92" y="306"/>
                  </a:lnTo>
                  <a:lnTo>
                    <a:pt x="92" y="302"/>
                  </a:lnTo>
                  <a:lnTo>
                    <a:pt x="92" y="302"/>
                  </a:lnTo>
                  <a:lnTo>
                    <a:pt x="87" y="297"/>
                  </a:lnTo>
                  <a:lnTo>
                    <a:pt x="87" y="288"/>
                  </a:lnTo>
                  <a:lnTo>
                    <a:pt x="82" y="288"/>
                  </a:lnTo>
                  <a:lnTo>
                    <a:pt x="82" y="279"/>
                  </a:lnTo>
                  <a:lnTo>
                    <a:pt x="82" y="279"/>
                  </a:lnTo>
                  <a:lnTo>
                    <a:pt x="78" y="274"/>
                  </a:lnTo>
                  <a:lnTo>
                    <a:pt x="78" y="270"/>
                  </a:lnTo>
                  <a:lnTo>
                    <a:pt x="73" y="270"/>
                  </a:lnTo>
                  <a:lnTo>
                    <a:pt x="73" y="265"/>
                  </a:lnTo>
                  <a:lnTo>
                    <a:pt x="69" y="265"/>
                  </a:lnTo>
                  <a:lnTo>
                    <a:pt x="64" y="261"/>
                  </a:lnTo>
                  <a:lnTo>
                    <a:pt x="60" y="261"/>
                  </a:lnTo>
                  <a:lnTo>
                    <a:pt x="60" y="256"/>
                  </a:lnTo>
                  <a:lnTo>
                    <a:pt x="50" y="256"/>
                  </a:lnTo>
                  <a:lnTo>
                    <a:pt x="41" y="256"/>
                  </a:lnTo>
                  <a:lnTo>
                    <a:pt x="41" y="251"/>
                  </a:lnTo>
                  <a:lnTo>
                    <a:pt x="41" y="247"/>
                  </a:lnTo>
                  <a:lnTo>
                    <a:pt x="41" y="242"/>
                  </a:lnTo>
                  <a:lnTo>
                    <a:pt x="46" y="242"/>
                  </a:lnTo>
                  <a:lnTo>
                    <a:pt x="46" y="238"/>
                  </a:lnTo>
                  <a:lnTo>
                    <a:pt x="50" y="238"/>
                  </a:lnTo>
                  <a:lnTo>
                    <a:pt x="46" y="233"/>
                  </a:lnTo>
                  <a:lnTo>
                    <a:pt x="46" y="224"/>
                  </a:lnTo>
                  <a:lnTo>
                    <a:pt x="50" y="219"/>
                  </a:lnTo>
                  <a:lnTo>
                    <a:pt x="50" y="215"/>
                  </a:lnTo>
                  <a:lnTo>
                    <a:pt x="55" y="210"/>
                  </a:lnTo>
                  <a:lnTo>
                    <a:pt x="64" y="206"/>
                  </a:lnTo>
                  <a:lnTo>
                    <a:pt x="69" y="201"/>
                  </a:lnTo>
                  <a:lnTo>
                    <a:pt x="69" y="197"/>
                  </a:lnTo>
                  <a:lnTo>
                    <a:pt x="73" y="197"/>
                  </a:lnTo>
                  <a:lnTo>
                    <a:pt x="73" y="192"/>
                  </a:lnTo>
                  <a:lnTo>
                    <a:pt x="73" y="187"/>
                  </a:lnTo>
                  <a:lnTo>
                    <a:pt x="78" y="187"/>
                  </a:lnTo>
                  <a:lnTo>
                    <a:pt x="78" y="183"/>
                  </a:lnTo>
                  <a:lnTo>
                    <a:pt x="82" y="178"/>
                  </a:lnTo>
                  <a:lnTo>
                    <a:pt x="82" y="174"/>
                  </a:lnTo>
                  <a:lnTo>
                    <a:pt x="82" y="169"/>
                  </a:lnTo>
                  <a:lnTo>
                    <a:pt x="78" y="169"/>
                  </a:lnTo>
                  <a:lnTo>
                    <a:pt x="69" y="165"/>
                  </a:lnTo>
                  <a:lnTo>
                    <a:pt x="64" y="160"/>
                  </a:lnTo>
                  <a:lnTo>
                    <a:pt x="60" y="160"/>
                  </a:lnTo>
                  <a:lnTo>
                    <a:pt x="55" y="160"/>
                  </a:lnTo>
                  <a:lnTo>
                    <a:pt x="50" y="160"/>
                  </a:lnTo>
                  <a:lnTo>
                    <a:pt x="46" y="155"/>
                  </a:lnTo>
                  <a:lnTo>
                    <a:pt x="41" y="155"/>
                  </a:lnTo>
                  <a:lnTo>
                    <a:pt x="37" y="151"/>
                  </a:lnTo>
                  <a:lnTo>
                    <a:pt x="32" y="151"/>
                  </a:lnTo>
                  <a:lnTo>
                    <a:pt x="28" y="151"/>
                  </a:lnTo>
                  <a:lnTo>
                    <a:pt x="18" y="151"/>
                  </a:lnTo>
                  <a:lnTo>
                    <a:pt x="14" y="151"/>
                  </a:lnTo>
                  <a:lnTo>
                    <a:pt x="14" y="151"/>
                  </a:lnTo>
                  <a:lnTo>
                    <a:pt x="9" y="151"/>
                  </a:lnTo>
                  <a:lnTo>
                    <a:pt x="5" y="151"/>
                  </a:lnTo>
                  <a:lnTo>
                    <a:pt x="0" y="151"/>
                  </a:lnTo>
                  <a:lnTo>
                    <a:pt x="0" y="146"/>
                  </a:lnTo>
                  <a:lnTo>
                    <a:pt x="0" y="137"/>
                  </a:lnTo>
                  <a:lnTo>
                    <a:pt x="0" y="133"/>
                  </a:lnTo>
                  <a:lnTo>
                    <a:pt x="5" y="128"/>
                  </a:lnTo>
                  <a:lnTo>
                    <a:pt x="5" y="128"/>
                  </a:lnTo>
                  <a:lnTo>
                    <a:pt x="9" y="123"/>
                  </a:lnTo>
                  <a:lnTo>
                    <a:pt x="9" y="119"/>
                  </a:lnTo>
                  <a:lnTo>
                    <a:pt x="14" y="114"/>
                  </a:lnTo>
                  <a:lnTo>
                    <a:pt x="14" y="105"/>
                  </a:lnTo>
                  <a:lnTo>
                    <a:pt x="14" y="101"/>
                  </a:lnTo>
                  <a:lnTo>
                    <a:pt x="14" y="96"/>
                  </a:lnTo>
                  <a:lnTo>
                    <a:pt x="18" y="96"/>
                  </a:lnTo>
                  <a:lnTo>
                    <a:pt x="23" y="101"/>
                  </a:lnTo>
                  <a:lnTo>
                    <a:pt x="28" y="105"/>
                  </a:lnTo>
                  <a:lnTo>
                    <a:pt x="28" y="110"/>
                  </a:lnTo>
                  <a:lnTo>
                    <a:pt x="32" y="110"/>
                  </a:lnTo>
                  <a:lnTo>
                    <a:pt x="32" y="114"/>
                  </a:lnTo>
                  <a:lnTo>
                    <a:pt x="32" y="119"/>
                  </a:lnTo>
                  <a:lnTo>
                    <a:pt x="37" y="123"/>
                  </a:lnTo>
                  <a:lnTo>
                    <a:pt x="37" y="123"/>
                  </a:lnTo>
                  <a:lnTo>
                    <a:pt x="41" y="123"/>
                  </a:lnTo>
                  <a:lnTo>
                    <a:pt x="50" y="123"/>
                  </a:lnTo>
                  <a:lnTo>
                    <a:pt x="60" y="119"/>
                  </a:lnTo>
                  <a:lnTo>
                    <a:pt x="64" y="114"/>
                  </a:lnTo>
                  <a:lnTo>
                    <a:pt x="64" y="110"/>
                  </a:lnTo>
                  <a:lnTo>
                    <a:pt x="69" y="105"/>
                  </a:lnTo>
                  <a:lnTo>
                    <a:pt x="69" y="105"/>
                  </a:lnTo>
                  <a:lnTo>
                    <a:pt x="73" y="105"/>
                  </a:lnTo>
                  <a:lnTo>
                    <a:pt x="73" y="101"/>
                  </a:lnTo>
                  <a:lnTo>
                    <a:pt x="78" y="101"/>
                  </a:lnTo>
                  <a:lnTo>
                    <a:pt x="82" y="91"/>
                  </a:lnTo>
                  <a:lnTo>
                    <a:pt x="87" y="91"/>
                  </a:lnTo>
                  <a:lnTo>
                    <a:pt x="92" y="87"/>
                  </a:lnTo>
                  <a:lnTo>
                    <a:pt x="101" y="82"/>
                  </a:lnTo>
                  <a:lnTo>
                    <a:pt x="105" y="82"/>
                  </a:lnTo>
                  <a:lnTo>
                    <a:pt x="105" y="73"/>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3" name="Freeform 20">
              <a:extLst>
                <a:ext uri="{FF2B5EF4-FFF2-40B4-BE49-F238E27FC236}">
                  <a16:creationId xmlns:a16="http://schemas.microsoft.com/office/drawing/2014/main" id="{A29D27BD-41BB-4B93-8052-C6302C3C1A12}"/>
                </a:ext>
              </a:extLst>
            </p:cNvPr>
            <p:cNvSpPr>
              <a:spLocks/>
            </p:cNvSpPr>
            <p:nvPr>
              <p:custDataLst>
                <p:tags r:id="rId15"/>
              </p:custDataLst>
            </p:nvPr>
          </p:nvSpPr>
          <p:spPr bwMode="auto">
            <a:xfrm>
              <a:off x="1500089" y="2534599"/>
              <a:ext cx="292713" cy="369812"/>
            </a:xfrm>
            <a:custGeom>
              <a:avLst/>
              <a:gdLst/>
              <a:ahLst/>
              <a:cxnLst>
                <a:cxn ang="0">
                  <a:pos x="260" y="298"/>
                </a:cxn>
                <a:cxn ang="0">
                  <a:pos x="260" y="302"/>
                </a:cxn>
                <a:cxn ang="0">
                  <a:pos x="256" y="307"/>
                </a:cxn>
                <a:cxn ang="0">
                  <a:pos x="247" y="311"/>
                </a:cxn>
                <a:cxn ang="0">
                  <a:pos x="242" y="321"/>
                </a:cxn>
                <a:cxn ang="0">
                  <a:pos x="233" y="325"/>
                </a:cxn>
                <a:cxn ang="0">
                  <a:pos x="228" y="330"/>
                </a:cxn>
                <a:cxn ang="0">
                  <a:pos x="219" y="330"/>
                </a:cxn>
                <a:cxn ang="0">
                  <a:pos x="219" y="334"/>
                </a:cxn>
                <a:cxn ang="0">
                  <a:pos x="215" y="339"/>
                </a:cxn>
                <a:cxn ang="0">
                  <a:pos x="201" y="343"/>
                </a:cxn>
                <a:cxn ang="0">
                  <a:pos x="183" y="353"/>
                </a:cxn>
                <a:cxn ang="0">
                  <a:pos x="155" y="357"/>
                </a:cxn>
                <a:cxn ang="0">
                  <a:pos x="146" y="362"/>
                </a:cxn>
                <a:cxn ang="0">
                  <a:pos x="119" y="366"/>
                </a:cxn>
                <a:cxn ang="0">
                  <a:pos x="110" y="366"/>
                </a:cxn>
                <a:cxn ang="0">
                  <a:pos x="87" y="366"/>
                </a:cxn>
                <a:cxn ang="0">
                  <a:pos x="64" y="366"/>
                </a:cxn>
                <a:cxn ang="0">
                  <a:pos x="46" y="366"/>
                </a:cxn>
                <a:cxn ang="0">
                  <a:pos x="41" y="366"/>
                </a:cxn>
                <a:cxn ang="0">
                  <a:pos x="32" y="366"/>
                </a:cxn>
                <a:cxn ang="0">
                  <a:pos x="23" y="366"/>
                </a:cxn>
                <a:cxn ang="0">
                  <a:pos x="0" y="193"/>
                </a:cxn>
                <a:cxn ang="0">
                  <a:pos x="9" y="64"/>
                </a:cxn>
                <a:cxn ang="0">
                  <a:pos x="68" y="64"/>
                </a:cxn>
                <a:cxn ang="0">
                  <a:pos x="91" y="64"/>
                </a:cxn>
                <a:cxn ang="0">
                  <a:pos x="155" y="110"/>
                </a:cxn>
                <a:cxn ang="0">
                  <a:pos x="169" y="106"/>
                </a:cxn>
                <a:cxn ang="0">
                  <a:pos x="233" y="23"/>
                </a:cxn>
                <a:cxn ang="0">
                  <a:pos x="256" y="19"/>
                </a:cxn>
                <a:cxn ang="0">
                  <a:pos x="279" y="19"/>
                </a:cxn>
                <a:cxn ang="0">
                  <a:pos x="324" y="23"/>
                </a:cxn>
                <a:cxn ang="0">
                  <a:pos x="329" y="32"/>
                </a:cxn>
                <a:cxn ang="0">
                  <a:pos x="315" y="42"/>
                </a:cxn>
                <a:cxn ang="0">
                  <a:pos x="306" y="46"/>
                </a:cxn>
                <a:cxn ang="0">
                  <a:pos x="306" y="55"/>
                </a:cxn>
                <a:cxn ang="0">
                  <a:pos x="306" y="64"/>
                </a:cxn>
                <a:cxn ang="0">
                  <a:pos x="306" y="115"/>
                </a:cxn>
                <a:cxn ang="0">
                  <a:pos x="306" y="133"/>
                </a:cxn>
                <a:cxn ang="0">
                  <a:pos x="306" y="151"/>
                </a:cxn>
                <a:cxn ang="0">
                  <a:pos x="306" y="174"/>
                </a:cxn>
                <a:cxn ang="0">
                  <a:pos x="306" y="197"/>
                </a:cxn>
                <a:cxn ang="0">
                  <a:pos x="302" y="215"/>
                </a:cxn>
                <a:cxn ang="0">
                  <a:pos x="302" y="229"/>
                </a:cxn>
                <a:cxn ang="0">
                  <a:pos x="288" y="261"/>
                </a:cxn>
                <a:cxn ang="0">
                  <a:pos x="283" y="270"/>
                </a:cxn>
                <a:cxn ang="0">
                  <a:pos x="279" y="275"/>
                </a:cxn>
                <a:cxn ang="0">
                  <a:pos x="274" y="284"/>
                </a:cxn>
                <a:cxn ang="0">
                  <a:pos x="270" y="289"/>
                </a:cxn>
                <a:cxn ang="0">
                  <a:pos x="265" y="293"/>
                </a:cxn>
              </a:cxnLst>
              <a:rect l="0" t="0" r="r" b="b"/>
              <a:pathLst>
                <a:path w="334" h="366">
                  <a:moveTo>
                    <a:pt x="260" y="293"/>
                  </a:moveTo>
                  <a:lnTo>
                    <a:pt x="260" y="298"/>
                  </a:lnTo>
                  <a:lnTo>
                    <a:pt x="260" y="298"/>
                  </a:lnTo>
                  <a:lnTo>
                    <a:pt x="260" y="302"/>
                  </a:lnTo>
                  <a:lnTo>
                    <a:pt x="256" y="307"/>
                  </a:lnTo>
                  <a:lnTo>
                    <a:pt x="256" y="307"/>
                  </a:lnTo>
                  <a:lnTo>
                    <a:pt x="251" y="311"/>
                  </a:lnTo>
                  <a:lnTo>
                    <a:pt x="247" y="311"/>
                  </a:lnTo>
                  <a:lnTo>
                    <a:pt x="242" y="316"/>
                  </a:lnTo>
                  <a:lnTo>
                    <a:pt x="242" y="321"/>
                  </a:lnTo>
                  <a:lnTo>
                    <a:pt x="238" y="325"/>
                  </a:lnTo>
                  <a:lnTo>
                    <a:pt x="233" y="325"/>
                  </a:lnTo>
                  <a:lnTo>
                    <a:pt x="233" y="330"/>
                  </a:lnTo>
                  <a:lnTo>
                    <a:pt x="228" y="330"/>
                  </a:lnTo>
                  <a:lnTo>
                    <a:pt x="224" y="330"/>
                  </a:lnTo>
                  <a:lnTo>
                    <a:pt x="219" y="330"/>
                  </a:lnTo>
                  <a:lnTo>
                    <a:pt x="219" y="334"/>
                  </a:lnTo>
                  <a:lnTo>
                    <a:pt x="219" y="334"/>
                  </a:lnTo>
                  <a:lnTo>
                    <a:pt x="215" y="334"/>
                  </a:lnTo>
                  <a:lnTo>
                    <a:pt x="215" y="339"/>
                  </a:lnTo>
                  <a:lnTo>
                    <a:pt x="206" y="339"/>
                  </a:lnTo>
                  <a:lnTo>
                    <a:pt x="201" y="343"/>
                  </a:lnTo>
                  <a:lnTo>
                    <a:pt x="196" y="348"/>
                  </a:lnTo>
                  <a:lnTo>
                    <a:pt x="183" y="353"/>
                  </a:lnTo>
                  <a:lnTo>
                    <a:pt x="178" y="353"/>
                  </a:lnTo>
                  <a:lnTo>
                    <a:pt x="155" y="357"/>
                  </a:lnTo>
                  <a:lnTo>
                    <a:pt x="151" y="362"/>
                  </a:lnTo>
                  <a:lnTo>
                    <a:pt x="146" y="362"/>
                  </a:lnTo>
                  <a:lnTo>
                    <a:pt x="132" y="362"/>
                  </a:lnTo>
                  <a:lnTo>
                    <a:pt x="119" y="366"/>
                  </a:lnTo>
                  <a:lnTo>
                    <a:pt x="110" y="366"/>
                  </a:lnTo>
                  <a:lnTo>
                    <a:pt x="110" y="366"/>
                  </a:lnTo>
                  <a:lnTo>
                    <a:pt x="91" y="366"/>
                  </a:lnTo>
                  <a:lnTo>
                    <a:pt x="87" y="366"/>
                  </a:lnTo>
                  <a:lnTo>
                    <a:pt x="68" y="366"/>
                  </a:lnTo>
                  <a:lnTo>
                    <a:pt x="64" y="366"/>
                  </a:lnTo>
                  <a:lnTo>
                    <a:pt x="59" y="366"/>
                  </a:lnTo>
                  <a:lnTo>
                    <a:pt x="46" y="366"/>
                  </a:lnTo>
                  <a:lnTo>
                    <a:pt x="46" y="366"/>
                  </a:lnTo>
                  <a:lnTo>
                    <a:pt x="41" y="366"/>
                  </a:lnTo>
                  <a:lnTo>
                    <a:pt x="36" y="366"/>
                  </a:lnTo>
                  <a:lnTo>
                    <a:pt x="32" y="366"/>
                  </a:lnTo>
                  <a:lnTo>
                    <a:pt x="27" y="366"/>
                  </a:lnTo>
                  <a:lnTo>
                    <a:pt x="23" y="366"/>
                  </a:lnTo>
                  <a:lnTo>
                    <a:pt x="0" y="366"/>
                  </a:lnTo>
                  <a:lnTo>
                    <a:pt x="0" y="193"/>
                  </a:lnTo>
                  <a:lnTo>
                    <a:pt x="9" y="87"/>
                  </a:lnTo>
                  <a:lnTo>
                    <a:pt x="9" y="64"/>
                  </a:lnTo>
                  <a:lnTo>
                    <a:pt x="36" y="60"/>
                  </a:lnTo>
                  <a:lnTo>
                    <a:pt x="68" y="64"/>
                  </a:lnTo>
                  <a:lnTo>
                    <a:pt x="87" y="64"/>
                  </a:lnTo>
                  <a:lnTo>
                    <a:pt x="91" y="64"/>
                  </a:lnTo>
                  <a:lnTo>
                    <a:pt x="137" y="96"/>
                  </a:lnTo>
                  <a:lnTo>
                    <a:pt x="155" y="110"/>
                  </a:lnTo>
                  <a:lnTo>
                    <a:pt x="160" y="115"/>
                  </a:lnTo>
                  <a:lnTo>
                    <a:pt x="169" y="106"/>
                  </a:lnTo>
                  <a:lnTo>
                    <a:pt x="224" y="32"/>
                  </a:lnTo>
                  <a:lnTo>
                    <a:pt x="233" y="23"/>
                  </a:lnTo>
                  <a:lnTo>
                    <a:pt x="238" y="23"/>
                  </a:lnTo>
                  <a:lnTo>
                    <a:pt x="256" y="19"/>
                  </a:lnTo>
                  <a:lnTo>
                    <a:pt x="265" y="23"/>
                  </a:lnTo>
                  <a:lnTo>
                    <a:pt x="279" y="19"/>
                  </a:lnTo>
                  <a:lnTo>
                    <a:pt x="302" y="0"/>
                  </a:lnTo>
                  <a:lnTo>
                    <a:pt x="324" y="23"/>
                  </a:lnTo>
                  <a:lnTo>
                    <a:pt x="334" y="28"/>
                  </a:lnTo>
                  <a:lnTo>
                    <a:pt x="329" y="32"/>
                  </a:lnTo>
                  <a:lnTo>
                    <a:pt x="320" y="37"/>
                  </a:lnTo>
                  <a:lnTo>
                    <a:pt x="315" y="42"/>
                  </a:lnTo>
                  <a:lnTo>
                    <a:pt x="311" y="42"/>
                  </a:lnTo>
                  <a:lnTo>
                    <a:pt x="306" y="46"/>
                  </a:lnTo>
                  <a:lnTo>
                    <a:pt x="306" y="51"/>
                  </a:lnTo>
                  <a:lnTo>
                    <a:pt x="306" y="55"/>
                  </a:lnTo>
                  <a:lnTo>
                    <a:pt x="306" y="64"/>
                  </a:lnTo>
                  <a:lnTo>
                    <a:pt x="306" y="64"/>
                  </a:lnTo>
                  <a:lnTo>
                    <a:pt x="306" y="78"/>
                  </a:lnTo>
                  <a:lnTo>
                    <a:pt x="306" y="115"/>
                  </a:lnTo>
                  <a:lnTo>
                    <a:pt x="306" y="124"/>
                  </a:lnTo>
                  <a:lnTo>
                    <a:pt x="306" y="133"/>
                  </a:lnTo>
                  <a:lnTo>
                    <a:pt x="306" y="147"/>
                  </a:lnTo>
                  <a:lnTo>
                    <a:pt x="306" y="151"/>
                  </a:lnTo>
                  <a:lnTo>
                    <a:pt x="306" y="165"/>
                  </a:lnTo>
                  <a:lnTo>
                    <a:pt x="306" y="174"/>
                  </a:lnTo>
                  <a:lnTo>
                    <a:pt x="306" y="188"/>
                  </a:lnTo>
                  <a:lnTo>
                    <a:pt x="306" y="197"/>
                  </a:lnTo>
                  <a:lnTo>
                    <a:pt x="302" y="211"/>
                  </a:lnTo>
                  <a:lnTo>
                    <a:pt x="302" y="215"/>
                  </a:lnTo>
                  <a:lnTo>
                    <a:pt x="302" y="220"/>
                  </a:lnTo>
                  <a:lnTo>
                    <a:pt x="302" y="229"/>
                  </a:lnTo>
                  <a:lnTo>
                    <a:pt x="302" y="238"/>
                  </a:lnTo>
                  <a:lnTo>
                    <a:pt x="288" y="261"/>
                  </a:lnTo>
                  <a:lnTo>
                    <a:pt x="283" y="266"/>
                  </a:lnTo>
                  <a:lnTo>
                    <a:pt x="283" y="270"/>
                  </a:lnTo>
                  <a:lnTo>
                    <a:pt x="283" y="275"/>
                  </a:lnTo>
                  <a:lnTo>
                    <a:pt x="279" y="275"/>
                  </a:lnTo>
                  <a:lnTo>
                    <a:pt x="279" y="279"/>
                  </a:lnTo>
                  <a:lnTo>
                    <a:pt x="274" y="284"/>
                  </a:lnTo>
                  <a:lnTo>
                    <a:pt x="270" y="284"/>
                  </a:lnTo>
                  <a:lnTo>
                    <a:pt x="270" y="289"/>
                  </a:lnTo>
                  <a:lnTo>
                    <a:pt x="265" y="289"/>
                  </a:lnTo>
                  <a:lnTo>
                    <a:pt x="265" y="293"/>
                  </a:lnTo>
                  <a:lnTo>
                    <a:pt x="260" y="293"/>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4" name="Freeform 21">
              <a:extLst>
                <a:ext uri="{FF2B5EF4-FFF2-40B4-BE49-F238E27FC236}">
                  <a16:creationId xmlns:a16="http://schemas.microsoft.com/office/drawing/2014/main" id="{67EA4455-CE85-46CC-AF1E-2888014D48D9}"/>
                </a:ext>
              </a:extLst>
            </p:cNvPr>
            <p:cNvSpPr>
              <a:spLocks/>
            </p:cNvSpPr>
            <p:nvPr>
              <p:custDataLst>
                <p:tags r:id="rId16"/>
              </p:custDataLst>
            </p:nvPr>
          </p:nvSpPr>
          <p:spPr bwMode="auto">
            <a:xfrm>
              <a:off x="2721848" y="1809827"/>
              <a:ext cx="451089" cy="680216"/>
            </a:xfrm>
            <a:custGeom>
              <a:avLst/>
              <a:gdLst/>
              <a:ahLst/>
              <a:cxnLst>
                <a:cxn ang="0">
                  <a:pos x="27" y="169"/>
                </a:cxn>
                <a:cxn ang="0">
                  <a:pos x="45" y="160"/>
                </a:cxn>
                <a:cxn ang="0">
                  <a:pos x="50" y="146"/>
                </a:cxn>
                <a:cxn ang="0">
                  <a:pos x="64" y="105"/>
                </a:cxn>
                <a:cxn ang="0">
                  <a:pos x="96" y="73"/>
                </a:cxn>
                <a:cxn ang="0">
                  <a:pos x="137" y="82"/>
                </a:cxn>
                <a:cxn ang="0">
                  <a:pos x="178" y="41"/>
                </a:cxn>
                <a:cxn ang="0">
                  <a:pos x="201" y="4"/>
                </a:cxn>
                <a:cxn ang="0">
                  <a:pos x="242" y="0"/>
                </a:cxn>
                <a:cxn ang="0">
                  <a:pos x="269" y="13"/>
                </a:cxn>
                <a:cxn ang="0">
                  <a:pos x="311" y="27"/>
                </a:cxn>
                <a:cxn ang="0">
                  <a:pos x="320" y="41"/>
                </a:cxn>
                <a:cxn ang="0">
                  <a:pos x="333" y="77"/>
                </a:cxn>
                <a:cxn ang="0">
                  <a:pos x="356" y="96"/>
                </a:cxn>
                <a:cxn ang="0">
                  <a:pos x="379" y="114"/>
                </a:cxn>
                <a:cxn ang="0">
                  <a:pos x="384" y="128"/>
                </a:cxn>
                <a:cxn ang="0">
                  <a:pos x="397" y="146"/>
                </a:cxn>
                <a:cxn ang="0">
                  <a:pos x="402" y="173"/>
                </a:cxn>
                <a:cxn ang="0">
                  <a:pos x="397" y="237"/>
                </a:cxn>
                <a:cxn ang="0">
                  <a:pos x="402" y="269"/>
                </a:cxn>
                <a:cxn ang="0">
                  <a:pos x="411" y="283"/>
                </a:cxn>
                <a:cxn ang="0">
                  <a:pos x="448" y="301"/>
                </a:cxn>
                <a:cxn ang="0">
                  <a:pos x="466" y="311"/>
                </a:cxn>
                <a:cxn ang="0">
                  <a:pos x="457" y="324"/>
                </a:cxn>
                <a:cxn ang="0">
                  <a:pos x="443" y="333"/>
                </a:cxn>
                <a:cxn ang="0">
                  <a:pos x="420" y="343"/>
                </a:cxn>
                <a:cxn ang="0">
                  <a:pos x="407" y="361"/>
                </a:cxn>
                <a:cxn ang="0">
                  <a:pos x="397" y="375"/>
                </a:cxn>
                <a:cxn ang="0">
                  <a:pos x="416" y="388"/>
                </a:cxn>
                <a:cxn ang="0">
                  <a:pos x="425" y="402"/>
                </a:cxn>
                <a:cxn ang="0">
                  <a:pos x="439" y="420"/>
                </a:cxn>
                <a:cxn ang="0">
                  <a:pos x="466" y="434"/>
                </a:cxn>
                <a:cxn ang="0">
                  <a:pos x="484" y="443"/>
                </a:cxn>
                <a:cxn ang="0">
                  <a:pos x="489" y="452"/>
                </a:cxn>
                <a:cxn ang="0">
                  <a:pos x="498" y="471"/>
                </a:cxn>
                <a:cxn ang="0">
                  <a:pos x="507" y="489"/>
                </a:cxn>
                <a:cxn ang="0">
                  <a:pos x="512" y="516"/>
                </a:cxn>
                <a:cxn ang="0">
                  <a:pos x="516" y="557"/>
                </a:cxn>
                <a:cxn ang="0">
                  <a:pos x="507" y="589"/>
                </a:cxn>
                <a:cxn ang="0">
                  <a:pos x="493" y="603"/>
                </a:cxn>
                <a:cxn ang="0">
                  <a:pos x="480" y="617"/>
                </a:cxn>
                <a:cxn ang="0">
                  <a:pos x="466" y="626"/>
                </a:cxn>
                <a:cxn ang="0">
                  <a:pos x="448" y="635"/>
                </a:cxn>
                <a:cxn ang="0">
                  <a:pos x="429" y="640"/>
                </a:cxn>
                <a:cxn ang="0">
                  <a:pos x="411" y="649"/>
                </a:cxn>
                <a:cxn ang="0">
                  <a:pos x="370" y="653"/>
                </a:cxn>
                <a:cxn ang="0">
                  <a:pos x="343" y="667"/>
                </a:cxn>
                <a:cxn ang="0">
                  <a:pos x="324" y="672"/>
                </a:cxn>
                <a:cxn ang="0">
                  <a:pos x="297" y="663"/>
                </a:cxn>
                <a:cxn ang="0">
                  <a:pos x="260" y="658"/>
                </a:cxn>
                <a:cxn ang="0">
                  <a:pos x="201" y="649"/>
                </a:cxn>
                <a:cxn ang="0">
                  <a:pos x="178" y="571"/>
                </a:cxn>
                <a:cxn ang="0">
                  <a:pos x="146" y="516"/>
                </a:cxn>
                <a:cxn ang="0">
                  <a:pos x="68" y="461"/>
                </a:cxn>
                <a:cxn ang="0">
                  <a:pos x="119" y="439"/>
                </a:cxn>
                <a:cxn ang="0">
                  <a:pos x="128" y="393"/>
                </a:cxn>
                <a:cxn ang="0">
                  <a:pos x="123" y="343"/>
                </a:cxn>
                <a:cxn ang="0">
                  <a:pos x="68" y="306"/>
                </a:cxn>
                <a:cxn ang="0">
                  <a:pos x="27" y="292"/>
                </a:cxn>
                <a:cxn ang="0">
                  <a:pos x="0" y="256"/>
                </a:cxn>
                <a:cxn ang="0">
                  <a:pos x="4" y="228"/>
                </a:cxn>
              </a:cxnLst>
              <a:rect l="0" t="0" r="r" b="b"/>
              <a:pathLst>
                <a:path w="516" h="672">
                  <a:moveTo>
                    <a:pt x="18" y="205"/>
                  </a:moveTo>
                  <a:lnTo>
                    <a:pt x="23" y="201"/>
                  </a:lnTo>
                  <a:lnTo>
                    <a:pt x="27" y="192"/>
                  </a:lnTo>
                  <a:lnTo>
                    <a:pt x="27" y="178"/>
                  </a:lnTo>
                  <a:lnTo>
                    <a:pt x="27" y="169"/>
                  </a:lnTo>
                  <a:lnTo>
                    <a:pt x="27" y="164"/>
                  </a:lnTo>
                  <a:lnTo>
                    <a:pt x="27" y="155"/>
                  </a:lnTo>
                  <a:lnTo>
                    <a:pt x="32" y="155"/>
                  </a:lnTo>
                  <a:lnTo>
                    <a:pt x="41" y="155"/>
                  </a:lnTo>
                  <a:lnTo>
                    <a:pt x="45" y="160"/>
                  </a:lnTo>
                  <a:lnTo>
                    <a:pt x="50" y="169"/>
                  </a:lnTo>
                  <a:lnTo>
                    <a:pt x="59" y="169"/>
                  </a:lnTo>
                  <a:lnTo>
                    <a:pt x="59" y="160"/>
                  </a:lnTo>
                  <a:lnTo>
                    <a:pt x="55" y="151"/>
                  </a:lnTo>
                  <a:lnTo>
                    <a:pt x="50" y="146"/>
                  </a:lnTo>
                  <a:lnTo>
                    <a:pt x="45" y="141"/>
                  </a:lnTo>
                  <a:lnTo>
                    <a:pt x="45" y="128"/>
                  </a:lnTo>
                  <a:lnTo>
                    <a:pt x="41" y="123"/>
                  </a:lnTo>
                  <a:lnTo>
                    <a:pt x="50" y="114"/>
                  </a:lnTo>
                  <a:lnTo>
                    <a:pt x="64" y="105"/>
                  </a:lnTo>
                  <a:lnTo>
                    <a:pt x="68" y="100"/>
                  </a:lnTo>
                  <a:lnTo>
                    <a:pt x="77" y="91"/>
                  </a:lnTo>
                  <a:lnTo>
                    <a:pt x="82" y="82"/>
                  </a:lnTo>
                  <a:lnTo>
                    <a:pt x="87" y="77"/>
                  </a:lnTo>
                  <a:lnTo>
                    <a:pt x="96" y="73"/>
                  </a:lnTo>
                  <a:lnTo>
                    <a:pt x="109" y="68"/>
                  </a:lnTo>
                  <a:lnTo>
                    <a:pt x="114" y="77"/>
                  </a:lnTo>
                  <a:lnTo>
                    <a:pt x="123" y="82"/>
                  </a:lnTo>
                  <a:lnTo>
                    <a:pt x="132" y="82"/>
                  </a:lnTo>
                  <a:lnTo>
                    <a:pt x="137" y="82"/>
                  </a:lnTo>
                  <a:lnTo>
                    <a:pt x="146" y="73"/>
                  </a:lnTo>
                  <a:lnTo>
                    <a:pt x="151" y="64"/>
                  </a:lnTo>
                  <a:lnTo>
                    <a:pt x="160" y="59"/>
                  </a:lnTo>
                  <a:lnTo>
                    <a:pt x="169" y="50"/>
                  </a:lnTo>
                  <a:lnTo>
                    <a:pt x="178" y="41"/>
                  </a:lnTo>
                  <a:lnTo>
                    <a:pt x="183" y="36"/>
                  </a:lnTo>
                  <a:lnTo>
                    <a:pt x="187" y="23"/>
                  </a:lnTo>
                  <a:lnTo>
                    <a:pt x="196" y="13"/>
                  </a:lnTo>
                  <a:lnTo>
                    <a:pt x="196" y="9"/>
                  </a:lnTo>
                  <a:lnTo>
                    <a:pt x="201" y="4"/>
                  </a:lnTo>
                  <a:lnTo>
                    <a:pt x="201" y="0"/>
                  </a:lnTo>
                  <a:lnTo>
                    <a:pt x="205" y="0"/>
                  </a:lnTo>
                  <a:lnTo>
                    <a:pt x="219" y="0"/>
                  </a:lnTo>
                  <a:lnTo>
                    <a:pt x="233" y="0"/>
                  </a:lnTo>
                  <a:lnTo>
                    <a:pt x="242" y="0"/>
                  </a:lnTo>
                  <a:lnTo>
                    <a:pt x="247" y="4"/>
                  </a:lnTo>
                  <a:lnTo>
                    <a:pt x="251" y="4"/>
                  </a:lnTo>
                  <a:lnTo>
                    <a:pt x="256" y="9"/>
                  </a:lnTo>
                  <a:lnTo>
                    <a:pt x="260" y="13"/>
                  </a:lnTo>
                  <a:lnTo>
                    <a:pt x="269" y="13"/>
                  </a:lnTo>
                  <a:lnTo>
                    <a:pt x="283" y="18"/>
                  </a:lnTo>
                  <a:lnTo>
                    <a:pt x="292" y="23"/>
                  </a:lnTo>
                  <a:lnTo>
                    <a:pt x="301" y="23"/>
                  </a:lnTo>
                  <a:lnTo>
                    <a:pt x="306" y="27"/>
                  </a:lnTo>
                  <a:lnTo>
                    <a:pt x="311" y="27"/>
                  </a:lnTo>
                  <a:lnTo>
                    <a:pt x="311" y="32"/>
                  </a:lnTo>
                  <a:lnTo>
                    <a:pt x="311" y="32"/>
                  </a:lnTo>
                  <a:lnTo>
                    <a:pt x="315" y="36"/>
                  </a:lnTo>
                  <a:lnTo>
                    <a:pt x="320" y="36"/>
                  </a:lnTo>
                  <a:lnTo>
                    <a:pt x="320" y="41"/>
                  </a:lnTo>
                  <a:lnTo>
                    <a:pt x="324" y="55"/>
                  </a:lnTo>
                  <a:lnTo>
                    <a:pt x="324" y="59"/>
                  </a:lnTo>
                  <a:lnTo>
                    <a:pt x="329" y="68"/>
                  </a:lnTo>
                  <a:lnTo>
                    <a:pt x="329" y="73"/>
                  </a:lnTo>
                  <a:lnTo>
                    <a:pt x="333" y="77"/>
                  </a:lnTo>
                  <a:lnTo>
                    <a:pt x="333" y="82"/>
                  </a:lnTo>
                  <a:lnTo>
                    <a:pt x="343" y="87"/>
                  </a:lnTo>
                  <a:lnTo>
                    <a:pt x="347" y="91"/>
                  </a:lnTo>
                  <a:lnTo>
                    <a:pt x="352" y="96"/>
                  </a:lnTo>
                  <a:lnTo>
                    <a:pt x="356" y="96"/>
                  </a:lnTo>
                  <a:lnTo>
                    <a:pt x="356" y="100"/>
                  </a:lnTo>
                  <a:lnTo>
                    <a:pt x="356" y="100"/>
                  </a:lnTo>
                  <a:lnTo>
                    <a:pt x="365" y="105"/>
                  </a:lnTo>
                  <a:lnTo>
                    <a:pt x="375" y="109"/>
                  </a:lnTo>
                  <a:lnTo>
                    <a:pt x="379" y="114"/>
                  </a:lnTo>
                  <a:lnTo>
                    <a:pt x="379" y="119"/>
                  </a:lnTo>
                  <a:lnTo>
                    <a:pt x="379" y="119"/>
                  </a:lnTo>
                  <a:lnTo>
                    <a:pt x="379" y="123"/>
                  </a:lnTo>
                  <a:lnTo>
                    <a:pt x="384" y="123"/>
                  </a:lnTo>
                  <a:lnTo>
                    <a:pt x="384" y="128"/>
                  </a:lnTo>
                  <a:lnTo>
                    <a:pt x="388" y="137"/>
                  </a:lnTo>
                  <a:lnTo>
                    <a:pt x="393" y="137"/>
                  </a:lnTo>
                  <a:lnTo>
                    <a:pt x="393" y="141"/>
                  </a:lnTo>
                  <a:lnTo>
                    <a:pt x="393" y="146"/>
                  </a:lnTo>
                  <a:lnTo>
                    <a:pt x="397" y="146"/>
                  </a:lnTo>
                  <a:lnTo>
                    <a:pt x="397" y="146"/>
                  </a:lnTo>
                  <a:lnTo>
                    <a:pt x="397" y="151"/>
                  </a:lnTo>
                  <a:lnTo>
                    <a:pt x="397" y="160"/>
                  </a:lnTo>
                  <a:lnTo>
                    <a:pt x="397" y="164"/>
                  </a:lnTo>
                  <a:lnTo>
                    <a:pt x="402" y="173"/>
                  </a:lnTo>
                  <a:lnTo>
                    <a:pt x="402" y="183"/>
                  </a:lnTo>
                  <a:lnTo>
                    <a:pt x="402" y="192"/>
                  </a:lnTo>
                  <a:lnTo>
                    <a:pt x="397" y="205"/>
                  </a:lnTo>
                  <a:lnTo>
                    <a:pt x="397" y="228"/>
                  </a:lnTo>
                  <a:lnTo>
                    <a:pt x="397" y="237"/>
                  </a:lnTo>
                  <a:lnTo>
                    <a:pt x="397" y="242"/>
                  </a:lnTo>
                  <a:lnTo>
                    <a:pt x="397" y="251"/>
                  </a:lnTo>
                  <a:lnTo>
                    <a:pt x="397" y="260"/>
                  </a:lnTo>
                  <a:lnTo>
                    <a:pt x="397" y="265"/>
                  </a:lnTo>
                  <a:lnTo>
                    <a:pt x="402" y="269"/>
                  </a:lnTo>
                  <a:lnTo>
                    <a:pt x="402" y="274"/>
                  </a:lnTo>
                  <a:lnTo>
                    <a:pt x="402" y="279"/>
                  </a:lnTo>
                  <a:lnTo>
                    <a:pt x="407" y="279"/>
                  </a:lnTo>
                  <a:lnTo>
                    <a:pt x="407" y="283"/>
                  </a:lnTo>
                  <a:lnTo>
                    <a:pt x="411" y="283"/>
                  </a:lnTo>
                  <a:lnTo>
                    <a:pt x="420" y="283"/>
                  </a:lnTo>
                  <a:lnTo>
                    <a:pt x="420" y="288"/>
                  </a:lnTo>
                  <a:lnTo>
                    <a:pt x="434" y="292"/>
                  </a:lnTo>
                  <a:lnTo>
                    <a:pt x="443" y="297"/>
                  </a:lnTo>
                  <a:lnTo>
                    <a:pt x="448" y="301"/>
                  </a:lnTo>
                  <a:lnTo>
                    <a:pt x="452" y="301"/>
                  </a:lnTo>
                  <a:lnTo>
                    <a:pt x="457" y="301"/>
                  </a:lnTo>
                  <a:lnTo>
                    <a:pt x="461" y="301"/>
                  </a:lnTo>
                  <a:lnTo>
                    <a:pt x="461" y="306"/>
                  </a:lnTo>
                  <a:lnTo>
                    <a:pt x="466" y="311"/>
                  </a:lnTo>
                  <a:lnTo>
                    <a:pt x="466" y="315"/>
                  </a:lnTo>
                  <a:lnTo>
                    <a:pt x="466" y="320"/>
                  </a:lnTo>
                  <a:lnTo>
                    <a:pt x="461" y="320"/>
                  </a:lnTo>
                  <a:lnTo>
                    <a:pt x="457" y="320"/>
                  </a:lnTo>
                  <a:lnTo>
                    <a:pt x="457" y="324"/>
                  </a:lnTo>
                  <a:lnTo>
                    <a:pt x="452" y="324"/>
                  </a:lnTo>
                  <a:lnTo>
                    <a:pt x="448" y="329"/>
                  </a:lnTo>
                  <a:lnTo>
                    <a:pt x="443" y="329"/>
                  </a:lnTo>
                  <a:lnTo>
                    <a:pt x="443" y="329"/>
                  </a:lnTo>
                  <a:lnTo>
                    <a:pt x="443" y="333"/>
                  </a:lnTo>
                  <a:lnTo>
                    <a:pt x="434" y="333"/>
                  </a:lnTo>
                  <a:lnTo>
                    <a:pt x="429" y="338"/>
                  </a:lnTo>
                  <a:lnTo>
                    <a:pt x="425" y="343"/>
                  </a:lnTo>
                  <a:lnTo>
                    <a:pt x="420" y="343"/>
                  </a:lnTo>
                  <a:lnTo>
                    <a:pt x="420" y="343"/>
                  </a:lnTo>
                  <a:lnTo>
                    <a:pt x="420" y="343"/>
                  </a:lnTo>
                  <a:lnTo>
                    <a:pt x="416" y="347"/>
                  </a:lnTo>
                  <a:lnTo>
                    <a:pt x="411" y="352"/>
                  </a:lnTo>
                  <a:lnTo>
                    <a:pt x="407" y="356"/>
                  </a:lnTo>
                  <a:lnTo>
                    <a:pt x="407" y="361"/>
                  </a:lnTo>
                  <a:lnTo>
                    <a:pt x="402" y="365"/>
                  </a:lnTo>
                  <a:lnTo>
                    <a:pt x="402" y="365"/>
                  </a:lnTo>
                  <a:lnTo>
                    <a:pt x="397" y="365"/>
                  </a:lnTo>
                  <a:lnTo>
                    <a:pt x="397" y="370"/>
                  </a:lnTo>
                  <a:lnTo>
                    <a:pt x="397" y="375"/>
                  </a:lnTo>
                  <a:lnTo>
                    <a:pt x="397" y="379"/>
                  </a:lnTo>
                  <a:lnTo>
                    <a:pt x="402" y="379"/>
                  </a:lnTo>
                  <a:lnTo>
                    <a:pt x="407" y="384"/>
                  </a:lnTo>
                  <a:lnTo>
                    <a:pt x="411" y="384"/>
                  </a:lnTo>
                  <a:lnTo>
                    <a:pt x="416" y="388"/>
                  </a:lnTo>
                  <a:lnTo>
                    <a:pt x="420" y="388"/>
                  </a:lnTo>
                  <a:lnTo>
                    <a:pt x="420" y="393"/>
                  </a:lnTo>
                  <a:lnTo>
                    <a:pt x="420" y="397"/>
                  </a:lnTo>
                  <a:lnTo>
                    <a:pt x="425" y="397"/>
                  </a:lnTo>
                  <a:lnTo>
                    <a:pt x="425" y="402"/>
                  </a:lnTo>
                  <a:lnTo>
                    <a:pt x="429" y="411"/>
                  </a:lnTo>
                  <a:lnTo>
                    <a:pt x="429" y="411"/>
                  </a:lnTo>
                  <a:lnTo>
                    <a:pt x="434" y="416"/>
                  </a:lnTo>
                  <a:lnTo>
                    <a:pt x="439" y="416"/>
                  </a:lnTo>
                  <a:lnTo>
                    <a:pt x="439" y="420"/>
                  </a:lnTo>
                  <a:lnTo>
                    <a:pt x="443" y="420"/>
                  </a:lnTo>
                  <a:lnTo>
                    <a:pt x="443" y="425"/>
                  </a:lnTo>
                  <a:lnTo>
                    <a:pt x="448" y="425"/>
                  </a:lnTo>
                  <a:lnTo>
                    <a:pt x="457" y="429"/>
                  </a:lnTo>
                  <a:lnTo>
                    <a:pt x="466" y="434"/>
                  </a:lnTo>
                  <a:lnTo>
                    <a:pt x="466" y="434"/>
                  </a:lnTo>
                  <a:lnTo>
                    <a:pt x="471" y="434"/>
                  </a:lnTo>
                  <a:lnTo>
                    <a:pt x="475" y="439"/>
                  </a:lnTo>
                  <a:lnTo>
                    <a:pt x="480" y="443"/>
                  </a:lnTo>
                  <a:lnTo>
                    <a:pt x="484" y="443"/>
                  </a:lnTo>
                  <a:lnTo>
                    <a:pt x="484" y="448"/>
                  </a:lnTo>
                  <a:lnTo>
                    <a:pt x="489" y="448"/>
                  </a:lnTo>
                  <a:lnTo>
                    <a:pt x="489" y="452"/>
                  </a:lnTo>
                  <a:lnTo>
                    <a:pt x="489" y="452"/>
                  </a:lnTo>
                  <a:lnTo>
                    <a:pt x="489" y="452"/>
                  </a:lnTo>
                  <a:lnTo>
                    <a:pt x="493" y="452"/>
                  </a:lnTo>
                  <a:lnTo>
                    <a:pt x="493" y="457"/>
                  </a:lnTo>
                  <a:lnTo>
                    <a:pt x="498" y="461"/>
                  </a:lnTo>
                  <a:lnTo>
                    <a:pt x="498" y="466"/>
                  </a:lnTo>
                  <a:lnTo>
                    <a:pt x="498" y="471"/>
                  </a:lnTo>
                  <a:lnTo>
                    <a:pt x="503" y="471"/>
                  </a:lnTo>
                  <a:lnTo>
                    <a:pt x="503" y="475"/>
                  </a:lnTo>
                  <a:lnTo>
                    <a:pt x="503" y="475"/>
                  </a:lnTo>
                  <a:lnTo>
                    <a:pt x="503" y="480"/>
                  </a:lnTo>
                  <a:lnTo>
                    <a:pt x="507" y="489"/>
                  </a:lnTo>
                  <a:lnTo>
                    <a:pt x="507" y="493"/>
                  </a:lnTo>
                  <a:lnTo>
                    <a:pt x="507" y="498"/>
                  </a:lnTo>
                  <a:lnTo>
                    <a:pt x="507" y="498"/>
                  </a:lnTo>
                  <a:lnTo>
                    <a:pt x="507" y="507"/>
                  </a:lnTo>
                  <a:lnTo>
                    <a:pt x="512" y="516"/>
                  </a:lnTo>
                  <a:lnTo>
                    <a:pt x="512" y="521"/>
                  </a:lnTo>
                  <a:lnTo>
                    <a:pt x="512" y="525"/>
                  </a:lnTo>
                  <a:lnTo>
                    <a:pt x="512" y="535"/>
                  </a:lnTo>
                  <a:lnTo>
                    <a:pt x="512" y="539"/>
                  </a:lnTo>
                  <a:lnTo>
                    <a:pt x="516" y="557"/>
                  </a:lnTo>
                  <a:lnTo>
                    <a:pt x="516" y="562"/>
                  </a:lnTo>
                  <a:lnTo>
                    <a:pt x="516" y="567"/>
                  </a:lnTo>
                  <a:lnTo>
                    <a:pt x="512" y="580"/>
                  </a:lnTo>
                  <a:lnTo>
                    <a:pt x="507" y="585"/>
                  </a:lnTo>
                  <a:lnTo>
                    <a:pt x="507" y="589"/>
                  </a:lnTo>
                  <a:lnTo>
                    <a:pt x="503" y="589"/>
                  </a:lnTo>
                  <a:lnTo>
                    <a:pt x="503" y="594"/>
                  </a:lnTo>
                  <a:lnTo>
                    <a:pt x="498" y="594"/>
                  </a:lnTo>
                  <a:lnTo>
                    <a:pt x="493" y="599"/>
                  </a:lnTo>
                  <a:lnTo>
                    <a:pt x="493" y="603"/>
                  </a:lnTo>
                  <a:lnTo>
                    <a:pt x="489" y="608"/>
                  </a:lnTo>
                  <a:lnTo>
                    <a:pt x="489" y="608"/>
                  </a:lnTo>
                  <a:lnTo>
                    <a:pt x="484" y="612"/>
                  </a:lnTo>
                  <a:lnTo>
                    <a:pt x="480" y="612"/>
                  </a:lnTo>
                  <a:lnTo>
                    <a:pt x="480" y="617"/>
                  </a:lnTo>
                  <a:lnTo>
                    <a:pt x="475" y="617"/>
                  </a:lnTo>
                  <a:lnTo>
                    <a:pt x="475" y="621"/>
                  </a:lnTo>
                  <a:lnTo>
                    <a:pt x="471" y="621"/>
                  </a:lnTo>
                  <a:lnTo>
                    <a:pt x="471" y="626"/>
                  </a:lnTo>
                  <a:lnTo>
                    <a:pt x="466" y="626"/>
                  </a:lnTo>
                  <a:lnTo>
                    <a:pt x="461" y="631"/>
                  </a:lnTo>
                  <a:lnTo>
                    <a:pt x="457" y="631"/>
                  </a:lnTo>
                  <a:lnTo>
                    <a:pt x="452" y="631"/>
                  </a:lnTo>
                  <a:lnTo>
                    <a:pt x="448" y="631"/>
                  </a:lnTo>
                  <a:lnTo>
                    <a:pt x="448" y="635"/>
                  </a:lnTo>
                  <a:lnTo>
                    <a:pt x="443" y="635"/>
                  </a:lnTo>
                  <a:lnTo>
                    <a:pt x="443" y="635"/>
                  </a:lnTo>
                  <a:lnTo>
                    <a:pt x="443" y="640"/>
                  </a:lnTo>
                  <a:lnTo>
                    <a:pt x="434" y="640"/>
                  </a:lnTo>
                  <a:lnTo>
                    <a:pt x="429" y="640"/>
                  </a:lnTo>
                  <a:lnTo>
                    <a:pt x="429" y="644"/>
                  </a:lnTo>
                  <a:lnTo>
                    <a:pt x="425" y="644"/>
                  </a:lnTo>
                  <a:lnTo>
                    <a:pt x="420" y="644"/>
                  </a:lnTo>
                  <a:lnTo>
                    <a:pt x="420" y="644"/>
                  </a:lnTo>
                  <a:lnTo>
                    <a:pt x="411" y="649"/>
                  </a:lnTo>
                  <a:lnTo>
                    <a:pt x="407" y="649"/>
                  </a:lnTo>
                  <a:lnTo>
                    <a:pt x="402" y="649"/>
                  </a:lnTo>
                  <a:lnTo>
                    <a:pt x="397" y="649"/>
                  </a:lnTo>
                  <a:lnTo>
                    <a:pt x="379" y="653"/>
                  </a:lnTo>
                  <a:lnTo>
                    <a:pt x="370" y="653"/>
                  </a:lnTo>
                  <a:lnTo>
                    <a:pt x="361" y="658"/>
                  </a:lnTo>
                  <a:lnTo>
                    <a:pt x="356" y="658"/>
                  </a:lnTo>
                  <a:lnTo>
                    <a:pt x="352" y="663"/>
                  </a:lnTo>
                  <a:lnTo>
                    <a:pt x="347" y="667"/>
                  </a:lnTo>
                  <a:lnTo>
                    <a:pt x="343" y="667"/>
                  </a:lnTo>
                  <a:lnTo>
                    <a:pt x="338" y="667"/>
                  </a:lnTo>
                  <a:lnTo>
                    <a:pt x="333" y="667"/>
                  </a:lnTo>
                  <a:lnTo>
                    <a:pt x="333" y="672"/>
                  </a:lnTo>
                  <a:lnTo>
                    <a:pt x="329" y="672"/>
                  </a:lnTo>
                  <a:lnTo>
                    <a:pt x="324" y="672"/>
                  </a:lnTo>
                  <a:lnTo>
                    <a:pt x="324" y="667"/>
                  </a:lnTo>
                  <a:lnTo>
                    <a:pt x="320" y="672"/>
                  </a:lnTo>
                  <a:lnTo>
                    <a:pt x="311" y="667"/>
                  </a:lnTo>
                  <a:lnTo>
                    <a:pt x="301" y="663"/>
                  </a:lnTo>
                  <a:lnTo>
                    <a:pt x="297" y="663"/>
                  </a:lnTo>
                  <a:lnTo>
                    <a:pt x="292" y="658"/>
                  </a:lnTo>
                  <a:lnTo>
                    <a:pt x="288" y="658"/>
                  </a:lnTo>
                  <a:lnTo>
                    <a:pt x="283" y="658"/>
                  </a:lnTo>
                  <a:lnTo>
                    <a:pt x="279" y="658"/>
                  </a:lnTo>
                  <a:lnTo>
                    <a:pt x="260" y="658"/>
                  </a:lnTo>
                  <a:lnTo>
                    <a:pt x="247" y="658"/>
                  </a:lnTo>
                  <a:lnTo>
                    <a:pt x="228" y="653"/>
                  </a:lnTo>
                  <a:lnTo>
                    <a:pt x="224" y="653"/>
                  </a:lnTo>
                  <a:lnTo>
                    <a:pt x="210" y="649"/>
                  </a:lnTo>
                  <a:lnTo>
                    <a:pt x="201" y="649"/>
                  </a:lnTo>
                  <a:lnTo>
                    <a:pt x="187" y="649"/>
                  </a:lnTo>
                  <a:lnTo>
                    <a:pt x="183" y="612"/>
                  </a:lnTo>
                  <a:lnTo>
                    <a:pt x="178" y="608"/>
                  </a:lnTo>
                  <a:lnTo>
                    <a:pt x="178" y="585"/>
                  </a:lnTo>
                  <a:lnTo>
                    <a:pt x="178" y="571"/>
                  </a:lnTo>
                  <a:lnTo>
                    <a:pt x="178" y="562"/>
                  </a:lnTo>
                  <a:lnTo>
                    <a:pt x="183" y="553"/>
                  </a:lnTo>
                  <a:lnTo>
                    <a:pt x="178" y="544"/>
                  </a:lnTo>
                  <a:lnTo>
                    <a:pt x="164" y="530"/>
                  </a:lnTo>
                  <a:lnTo>
                    <a:pt x="146" y="516"/>
                  </a:lnTo>
                  <a:lnTo>
                    <a:pt x="123" y="503"/>
                  </a:lnTo>
                  <a:lnTo>
                    <a:pt x="109" y="493"/>
                  </a:lnTo>
                  <a:lnTo>
                    <a:pt x="91" y="480"/>
                  </a:lnTo>
                  <a:lnTo>
                    <a:pt x="73" y="475"/>
                  </a:lnTo>
                  <a:lnTo>
                    <a:pt x="68" y="461"/>
                  </a:lnTo>
                  <a:lnTo>
                    <a:pt x="77" y="452"/>
                  </a:lnTo>
                  <a:lnTo>
                    <a:pt x="91" y="452"/>
                  </a:lnTo>
                  <a:lnTo>
                    <a:pt x="100" y="448"/>
                  </a:lnTo>
                  <a:lnTo>
                    <a:pt x="114" y="443"/>
                  </a:lnTo>
                  <a:lnTo>
                    <a:pt x="119" y="439"/>
                  </a:lnTo>
                  <a:lnTo>
                    <a:pt x="119" y="429"/>
                  </a:lnTo>
                  <a:lnTo>
                    <a:pt x="123" y="420"/>
                  </a:lnTo>
                  <a:lnTo>
                    <a:pt x="128" y="411"/>
                  </a:lnTo>
                  <a:lnTo>
                    <a:pt x="137" y="402"/>
                  </a:lnTo>
                  <a:lnTo>
                    <a:pt x="128" y="393"/>
                  </a:lnTo>
                  <a:lnTo>
                    <a:pt x="123" y="384"/>
                  </a:lnTo>
                  <a:lnTo>
                    <a:pt x="123" y="370"/>
                  </a:lnTo>
                  <a:lnTo>
                    <a:pt x="123" y="361"/>
                  </a:lnTo>
                  <a:lnTo>
                    <a:pt x="123" y="343"/>
                  </a:lnTo>
                  <a:lnTo>
                    <a:pt x="123" y="343"/>
                  </a:lnTo>
                  <a:lnTo>
                    <a:pt x="123" y="333"/>
                  </a:lnTo>
                  <a:lnTo>
                    <a:pt x="114" y="324"/>
                  </a:lnTo>
                  <a:lnTo>
                    <a:pt x="100" y="320"/>
                  </a:lnTo>
                  <a:lnTo>
                    <a:pt x="77" y="315"/>
                  </a:lnTo>
                  <a:lnTo>
                    <a:pt x="68" y="306"/>
                  </a:lnTo>
                  <a:lnTo>
                    <a:pt x="55" y="306"/>
                  </a:lnTo>
                  <a:lnTo>
                    <a:pt x="41" y="306"/>
                  </a:lnTo>
                  <a:lnTo>
                    <a:pt x="32" y="301"/>
                  </a:lnTo>
                  <a:lnTo>
                    <a:pt x="27" y="301"/>
                  </a:lnTo>
                  <a:lnTo>
                    <a:pt x="27" y="292"/>
                  </a:lnTo>
                  <a:lnTo>
                    <a:pt x="27" y="288"/>
                  </a:lnTo>
                  <a:lnTo>
                    <a:pt x="18" y="279"/>
                  </a:lnTo>
                  <a:lnTo>
                    <a:pt x="18" y="269"/>
                  </a:lnTo>
                  <a:lnTo>
                    <a:pt x="4" y="256"/>
                  </a:lnTo>
                  <a:lnTo>
                    <a:pt x="0" y="256"/>
                  </a:lnTo>
                  <a:lnTo>
                    <a:pt x="0" y="251"/>
                  </a:lnTo>
                  <a:lnTo>
                    <a:pt x="0" y="247"/>
                  </a:lnTo>
                  <a:lnTo>
                    <a:pt x="0" y="237"/>
                  </a:lnTo>
                  <a:lnTo>
                    <a:pt x="4" y="233"/>
                  </a:lnTo>
                  <a:lnTo>
                    <a:pt x="4" y="228"/>
                  </a:lnTo>
                  <a:lnTo>
                    <a:pt x="4" y="219"/>
                  </a:lnTo>
                  <a:lnTo>
                    <a:pt x="13" y="210"/>
                  </a:lnTo>
                  <a:lnTo>
                    <a:pt x="18" y="210"/>
                  </a:lnTo>
                  <a:lnTo>
                    <a:pt x="18" y="205"/>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5" name="Freeform 22">
              <a:extLst>
                <a:ext uri="{FF2B5EF4-FFF2-40B4-BE49-F238E27FC236}">
                  <a16:creationId xmlns:a16="http://schemas.microsoft.com/office/drawing/2014/main" id="{FD1D42B1-7582-47ED-9AB9-CDBB551F1B84}"/>
                </a:ext>
              </a:extLst>
            </p:cNvPr>
            <p:cNvSpPr>
              <a:spLocks/>
            </p:cNvSpPr>
            <p:nvPr>
              <p:custDataLst>
                <p:tags r:id="rId17"/>
              </p:custDataLst>
            </p:nvPr>
          </p:nvSpPr>
          <p:spPr bwMode="auto">
            <a:xfrm>
              <a:off x="1444941" y="3843050"/>
              <a:ext cx="267259" cy="300009"/>
            </a:xfrm>
            <a:custGeom>
              <a:avLst/>
              <a:gdLst/>
              <a:ahLst/>
              <a:cxnLst>
                <a:cxn ang="0">
                  <a:pos x="292" y="105"/>
                </a:cxn>
                <a:cxn ang="0">
                  <a:pos x="306" y="119"/>
                </a:cxn>
                <a:cxn ang="0">
                  <a:pos x="306" y="133"/>
                </a:cxn>
                <a:cxn ang="0">
                  <a:pos x="306" y="151"/>
                </a:cxn>
                <a:cxn ang="0">
                  <a:pos x="297" y="160"/>
                </a:cxn>
                <a:cxn ang="0">
                  <a:pos x="288" y="174"/>
                </a:cxn>
                <a:cxn ang="0">
                  <a:pos x="283" y="188"/>
                </a:cxn>
                <a:cxn ang="0">
                  <a:pos x="274" y="197"/>
                </a:cxn>
                <a:cxn ang="0">
                  <a:pos x="260" y="220"/>
                </a:cxn>
                <a:cxn ang="0">
                  <a:pos x="260" y="229"/>
                </a:cxn>
                <a:cxn ang="0">
                  <a:pos x="256" y="243"/>
                </a:cxn>
                <a:cxn ang="0">
                  <a:pos x="247" y="252"/>
                </a:cxn>
                <a:cxn ang="0">
                  <a:pos x="238" y="270"/>
                </a:cxn>
                <a:cxn ang="0">
                  <a:pos x="238" y="288"/>
                </a:cxn>
                <a:cxn ang="0">
                  <a:pos x="224" y="297"/>
                </a:cxn>
                <a:cxn ang="0">
                  <a:pos x="206" y="288"/>
                </a:cxn>
                <a:cxn ang="0">
                  <a:pos x="196" y="293"/>
                </a:cxn>
                <a:cxn ang="0">
                  <a:pos x="183" y="293"/>
                </a:cxn>
                <a:cxn ang="0">
                  <a:pos x="164" y="288"/>
                </a:cxn>
                <a:cxn ang="0">
                  <a:pos x="146" y="288"/>
                </a:cxn>
                <a:cxn ang="0">
                  <a:pos x="128" y="288"/>
                </a:cxn>
                <a:cxn ang="0">
                  <a:pos x="110" y="288"/>
                </a:cxn>
                <a:cxn ang="0">
                  <a:pos x="87" y="284"/>
                </a:cxn>
                <a:cxn ang="0">
                  <a:pos x="73" y="284"/>
                </a:cxn>
                <a:cxn ang="0">
                  <a:pos x="64" y="270"/>
                </a:cxn>
                <a:cxn ang="0">
                  <a:pos x="59" y="261"/>
                </a:cxn>
                <a:cxn ang="0">
                  <a:pos x="46" y="252"/>
                </a:cxn>
                <a:cxn ang="0">
                  <a:pos x="41" y="243"/>
                </a:cxn>
                <a:cxn ang="0">
                  <a:pos x="41" y="233"/>
                </a:cxn>
                <a:cxn ang="0">
                  <a:pos x="46" y="220"/>
                </a:cxn>
                <a:cxn ang="0">
                  <a:pos x="50" y="197"/>
                </a:cxn>
                <a:cxn ang="0">
                  <a:pos x="50" y="188"/>
                </a:cxn>
                <a:cxn ang="0">
                  <a:pos x="36" y="192"/>
                </a:cxn>
                <a:cxn ang="0">
                  <a:pos x="14" y="188"/>
                </a:cxn>
                <a:cxn ang="0">
                  <a:pos x="0" y="179"/>
                </a:cxn>
                <a:cxn ang="0">
                  <a:pos x="9" y="160"/>
                </a:cxn>
                <a:cxn ang="0">
                  <a:pos x="18" y="137"/>
                </a:cxn>
                <a:cxn ang="0">
                  <a:pos x="18" y="128"/>
                </a:cxn>
                <a:cxn ang="0">
                  <a:pos x="23" y="115"/>
                </a:cxn>
                <a:cxn ang="0">
                  <a:pos x="18" y="83"/>
                </a:cxn>
                <a:cxn ang="0">
                  <a:pos x="36" y="64"/>
                </a:cxn>
                <a:cxn ang="0">
                  <a:pos x="55" y="64"/>
                </a:cxn>
                <a:cxn ang="0">
                  <a:pos x="87" y="73"/>
                </a:cxn>
                <a:cxn ang="0">
                  <a:pos x="100" y="64"/>
                </a:cxn>
                <a:cxn ang="0">
                  <a:pos x="119" y="51"/>
                </a:cxn>
                <a:cxn ang="0">
                  <a:pos x="119" y="28"/>
                </a:cxn>
                <a:cxn ang="0">
                  <a:pos x="123" y="19"/>
                </a:cxn>
                <a:cxn ang="0">
                  <a:pos x="137" y="14"/>
                </a:cxn>
                <a:cxn ang="0">
                  <a:pos x="174" y="9"/>
                </a:cxn>
                <a:cxn ang="0">
                  <a:pos x="210" y="14"/>
                </a:cxn>
                <a:cxn ang="0">
                  <a:pos x="233" y="9"/>
                </a:cxn>
                <a:cxn ang="0">
                  <a:pos x="247" y="5"/>
                </a:cxn>
                <a:cxn ang="0">
                  <a:pos x="260" y="14"/>
                </a:cxn>
                <a:cxn ang="0">
                  <a:pos x="279" y="19"/>
                </a:cxn>
                <a:cxn ang="0">
                  <a:pos x="292" y="23"/>
                </a:cxn>
                <a:cxn ang="0">
                  <a:pos x="297" y="37"/>
                </a:cxn>
                <a:cxn ang="0">
                  <a:pos x="302" y="51"/>
                </a:cxn>
                <a:cxn ang="0">
                  <a:pos x="302" y="73"/>
                </a:cxn>
                <a:cxn ang="0">
                  <a:pos x="302" y="92"/>
                </a:cxn>
                <a:cxn ang="0">
                  <a:pos x="297" y="101"/>
                </a:cxn>
              </a:cxnLst>
              <a:rect l="0" t="0" r="r" b="b"/>
              <a:pathLst>
                <a:path w="306" h="297">
                  <a:moveTo>
                    <a:pt x="288" y="96"/>
                  </a:moveTo>
                  <a:lnTo>
                    <a:pt x="288" y="101"/>
                  </a:lnTo>
                  <a:lnTo>
                    <a:pt x="292" y="105"/>
                  </a:lnTo>
                  <a:lnTo>
                    <a:pt x="297" y="110"/>
                  </a:lnTo>
                  <a:lnTo>
                    <a:pt x="297" y="110"/>
                  </a:lnTo>
                  <a:lnTo>
                    <a:pt x="306" y="119"/>
                  </a:lnTo>
                  <a:lnTo>
                    <a:pt x="306" y="124"/>
                  </a:lnTo>
                  <a:lnTo>
                    <a:pt x="306" y="128"/>
                  </a:lnTo>
                  <a:lnTo>
                    <a:pt x="306" y="133"/>
                  </a:lnTo>
                  <a:lnTo>
                    <a:pt x="306" y="133"/>
                  </a:lnTo>
                  <a:lnTo>
                    <a:pt x="306" y="147"/>
                  </a:lnTo>
                  <a:lnTo>
                    <a:pt x="306" y="151"/>
                  </a:lnTo>
                  <a:lnTo>
                    <a:pt x="302" y="151"/>
                  </a:lnTo>
                  <a:lnTo>
                    <a:pt x="297" y="156"/>
                  </a:lnTo>
                  <a:lnTo>
                    <a:pt x="297" y="160"/>
                  </a:lnTo>
                  <a:lnTo>
                    <a:pt x="292" y="169"/>
                  </a:lnTo>
                  <a:lnTo>
                    <a:pt x="288" y="174"/>
                  </a:lnTo>
                  <a:lnTo>
                    <a:pt x="288" y="174"/>
                  </a:lnTo>
                  <a:lnTo>
                    <a:pt x="283" y="179"/>
                  </a:lnTo>
                  <a:lnTo>
                    <a:pt x="283" y="183"/>
                  </a:lnTo>
                  <a:lnTo>
                    <a:pt x="283" y="188"/>
                  </a:lnTo>
                  <a:lnTo>
                    <a:pt x="283" y="192"/>
                  </a:lnTo>
                  <a:lnTo>
                    <a:pt x="279" y="197"/>
                  </a:lnTo>
                  <a:lnTo>
                    <a:pt x="274" y="197"/>
                  </a:lnTo>
                  <a:lnTo>
                    <a:pt x="270" y="201"/>
                  </a:lnTo>
                  <a:lnTo>
                    <a:pt x="265" y="215"/>
                  </a:lnTo>
                  <a:lnTo>
                    <a:pt x="260" y="220"/>
                  </a:lnTo>
                  <a:lnTo>
                    <a:pt x="260" y="220"/>
                  </a:lnTo>
                  <a:lnTo>
                    <a:pt x="260" y="224"/>
                  </a:lnTo>
                  <a:lnTo>
                    <a:pt x="260" y="229"/>
                  </a:lnTo>
                  <a:lnTo>
                    <a:pt x="260" y="233"/>
                  </a:lnTo>
                  <a:lnTo>
                    <a:pt x="256" y="238"/>
                  </a:lnTo>
                  <a:lnTo>
                    <a:pt x="256" y="243"/>
                  </a:lnTo>
                  <a:lnTo>
                    <a:pt x="251" y="243"/>
                  </a:lnTo>
                  <a:lnTo>
                    <a:pt x="247" y="247"/>
                  </a:lnTo>
                  <a:lnTo>
                    <a:pt x="247" y="252"/>
                  </a:lnTo>
                  <a:lnTo>
                    <a:pt x="242" y="261"/>
                  </a:lnTo>
                  <a:lnTo>
                    <a:pt x="242" y="265"/>
                  </a:lnTo>
                  <a:lnTo>
                    <a:pt x="238" y="270"/>
                  </a:lnTo>
                  <a:lnTo>
                    <a:pt x="238" y="279"/>
                  </a:lnTo>
                  <a:lnTo>
                    <a:pt x="238" y="284"/>
                  </a:lnTo>
                  <a:lnTo>
                    <a:pt x="238" y="288"/>
                  </a:lnTo>
                  <a:lnTo>
                    <a:pt x="238" y="293"/>
                  </a:lnTo>
                  <a:lnTo>
                    <a:pt x="228" y="297"/>
                  </a:lnTo>
                  <a:lnTo>
                    <a:pt x="224" y="297"/>
                  </a:lnTo>
                  <a:lnTo>
                    <a:pt x="215" y="293"/>
                  </a:lnTo>
                  <a:lnTo>
                    <a:pt x="210" y="293"/>
                  </a:lnTo>
                  <a:lnTo>
                    <a:pt x="206" y="288"/>
                  </a:lnTo>
                  <a:lnTo>
                    <a:pt x="201" y="288"/>
                  </a:lnTo>
                  <a:lnTo>
                    <a:pt x="196" y="293"/>
                  </a:lnTo>
                  <a:lnTo>
                    <a:pt x="196" y="293"/>
                  </a:lnTo>
                  <a:lnTo>
                    <a:pt x="187" y="288"/>
                  </a:lnTo>
                  <a:lnTo>
                    <a:pt x="187" y="293"/>
                  </a:lnTo>
                  <a:lnTo>
                    <a:pt x="183" y="293"/>
                  </a:lnTo>
                  <a:lnTo>
                    <a:pt x="178" y="288"/>
                  </a:lnTo>
                  <a:lnTo>
                    <a:pt x="169" y="288"/>
                  </a:lnTo>
                  <a:lnTo>
                    <a:pt x="164" y="288"/>
                  </a:lnTo>
                  <a:lnTo>
                    <a:pt x="160" y="288"/>
                  </a:lnTo>
                  <a:lnTo>
                    <a:pt x="155" y="288"/>
                  </a:lnTo>
                  <a:lnTo>
                    <a:pt x="146" y="288"/>
                  </a:lnTo>
                  <a:lnTo>
                    <a:pt x="137" y="288"/>
                  </a:lnTo>
                  <a:lnTo>
                    <a:pt x="132" y="288"/>
                  </a:lnTo>
                  <a:lnTo>
                    <a:pt x="128" y="288"/>
                  </a:lnTo>
                  <a:lnTo>
                    <a:pt x="123" y="288"/>
                  </a:lnTo>
                  <a:lnTo>
                    <a:pt x="110" y="288"/>
                  </a:lnTo>
                  <a:lnTo>
                    <a:pt x="110" y="288"/>
                  </a:lnTo>
                  <a:lnTo>
                    <a:pt x="105" y="288"/>
                  </a:lnTo>
                  <a:lnTo>
                    <a:pt x="91" y="288"/>
                  </a:lnTo>
                  <a:lnTo>
                    <a:pt x="87" y="284"/>
                  </a:lnTo>
                  <a:lnTo>
                    <a:pt x="82" y="284"/>
                  </a:lnTo>
                  <a:lnTo>
                    <a:pt x="78" y="284"/>
                  </a:lnTo>
                  <a:lnTo>
                    <a:pt x="73" y="284"/>
                  </a:lnTo>
                  <a:lnTo>
                    <a:pt x="68" y="279"/>
                  </a:lnTo>
                  <a:lnTo>
                    <a:pt x="64" y="270"/>
                  </a:lnTo>
                  <a:lnTo>
                    <a:pt x="64" y="270"/>
                  </a:lnTo>
                  <a:lnTo>
                    <a:pt x="64" y="265"/>
                  </a:lnTo>
                  <a:lnTo>
                    <a:pt x="59" y="265"/>
                  </a:lnTo>
                  <a:lnTo>
                    <a:pt x="59" y="261"/>
                  </a:lnTo>
                  <a:lnTo>
                    <a:pt x="55" y="261"/>
                  </a:lnTo>
                  <a:lnTo>
                    <a:pt x="50" y="256"/>
                  </a:lnTo>
                  <a:lnTo>
                    <a:pt x="46" y="252"/>
                  </a:lnTo>
                  <a:lnTo>
                    <a:pt x="41" y="247"/>
                  </a:lnTo>
                  <a:lnTo>
                    <a:pt x="41" y="247"/>
                  </a:lnTo>
                  <a:lnTo>
                    <a:pt x="41" y="243"/>
                  </a:lnTo>
                  <a:lnTo>
                    <a:pt x="41" y="243"/>
                  </a:lnTo>
                  <a:lnTo>
                    <a:pt x="41" y="238"/>
                  </a:lnTo>
                  <a:lnTo>
                    <a:pt x="41" y="233"/>
                  </a:lnTo>
                  <a:lnTo>
                    <a:pt x="41" y="229"/>
                  </a:lnTo>
                  <a:lnTo>
                    <a:pt x="46" y="229"/>
                  </a:lnTo>
                  <a:lnTo>
                    <a:pt x="46" y="220"/>
                  </a:lnTo>
                  <a:lnTo>
                    <a:pt x="46" y="220"/>
                  </a:lnTo>
                  <a:lnTo>
                    <a:pt x="46" y="211"/>
                  </a:lnTo>
                  <a:lnTo>
                    <a:pt x="50" y="197"/>
                  </a:lnTo>
                  <a:lnTo>
                    <a:pt x="55" y="197"/>
                  </a:lnTo>
                  <a:lnTo>
                    <a:pt x="55" y="192"/>
                  </a:lnTo>
                  <a:lnTo>
                    <a:pt x="50" y="188"/>
                  </a:lnTo>
                  <a:lnTo>
                    <a:pt x="46" y="188"/>
                  </a:lnTo>
                  <a:lnTo>
                    <a:pt x="41" y="188"/>
                  </a:lnTo>
                  <a:lnTo>
                    <a:pt x="36" y="192"/>
                  </a:lnTo>
                  <a:lnTo>
                    <a:pt x="27" y="188"/>
                  </a:lnTo>
                  <a:lnTo>
                    <a:pt x="18" y="188"/>
                  </a:lnTo>
                  <a:lnTo>
                    <a:pt x="14" y="188"/>
                  </a:lnTo>
                  <a:lnTo>
                    <a:pt x="0" y="188"/>
                  </a:lnTo>
                  <a:lnTo>
                    <a:pt x="0" y="183"/>
                  </a:lnTo>
                  <a:lnTo>
                    <a:pt x="0" y="179"/>
                  </a:lnTo>
                  <a:lnTo>
                    <a:pt x="4" y="174"/>
                  </a:lnTo>
                  <a:lnTo>
                    <a:pt x="9" y="165"/>
                  </a:lnTo>
                  <a:lnTo>
                    <a:pt x="9" y="160"/>
                  </a:lnTo>
                  <a:lnTo>
                    <a:pt x="14" y="151"/>
                  </a:lnTo>
                  <a:lnTo>
                    <a:pt x="18" y="142"/>
                  </a:lnTo>
                  <a:lnTo>
                    <a:pt x="18" y="137"/>
                  </a:lnTo>
                  <a:lnTo>
                    <a:pt x="18" y="133"/>
                  </a:lnTo>
                  <a:lnTo>
                    <a:pt x="18" y="133"/>
                  </a:lnTo>
                  <a:lnTo>
                    <a:pt x="18" y="128"/>
                  </a:lnTo>
                  <a:lnTo>
                    <a:pt x="18" y="124"/>
                  </a:lnTo>
                  <a:lnTo>
                    <a:pt x="18" y="119"/>
                  </a:lnTo>
                  <a:lnTo>
                    <a:pt x="23" y="115"/>
                  </a:lnTo>
                  <a:lnTo>
                    <a:pt x="23" y="105"/>
                  </a:lnTo>
                  <a:lnTo>
                    <a:pt x="23" y="101"/>
                  </a:lnTo>
                  <a:lnTo>
                    <a:pt x="18" y="83"/>
                  </a:lnTo>
                  <a:lnTo>
                    <a:pt x="18" y="78"/>
                  </a:lnTo>
                  <a:lnTo>
                    <a:pt x="23" y="69"/>
                  </a:lnTo>
                  <a:lnTo>
                    <a:pt x="36" y="64"/>
                  </a:lnTo>
                  <a:lnTo>
                    <a:pt x="46" y="64"/>
                  </a:lnTo>
                  <a:lnTo>
                    <a:pt x="55" y="64"/>
                  </a:lnTo>
                  <a:lnTo>
                    <a:pt x="55" y="64"/>
                  </a:lnTo>
                  <a:lnTo>
                    <a:pt x="64" y="64"/>
                  </a:lnTo>
                  <a:lnTo>
                    <a:pt x="78" y="69"/>
                  </a:lnTo>
                  <a:lnTo>
                    <a:pt x="87" y="73"/>
                  </a:lnTo>
                  <a:lnTo>
                    <a:pt x="96" y="73"/>
                  </a:lnTo>
                  <a:lnTo>
                    <a:pt x="96" y="73"/>
                  </a:lnTo>
                  <a:lnTo>
                    <a:pt x="100" y="64"/>
                  </a:lnTo>
                  <a:lnTo>
                    <a:pt x="110" y="60"/>
                  </a:lnTo>
                  <a:lnTo>
                    <a:pt x="110" y="55"/>
                  </a:lnTo>
                  <a:lnTo>
                    <a:pt x="119" y="51"/>
                  </a:lnTo>
                  <a:lnTo>
                    <a:pt x="123" y="41"/>
                  </a:lnTo>
                  <a:lnTo>
                    <a:pt x="123" y="37"/>
                  </a:lnTo>
                  <a:lnTo>
                    <a:pt x="119" y="28"/>
                  </a:lnTo>
                  <a:lnTo>
                    <a:pt x="119" y="23"/>
                  </a:lnTo>
                  <a:lnTo>
                    <a:pt x="114" y="23"/>
                  </a:lnTo>
                  <a:lnTo>
                    <a:pt x="123" y="19"/>
                  </a:lnTo>
                  <a:lnTo>
                    <a:pt x="128" y="19"/>
                  </a:lnTo>
                  <a:lnTo>
                    <a:pt x="132" y="19"/>
                  </a:lnTo>
                  <a:lnTo>
                    <a:pt x="137" y="14"/>
                  </a:lnTo>
                  <a:lnTo>
                    <a:pt x="151" y="14"/>
                  </a:lnTo>
                  <a:lnTo>
                    <a:pt x="169" y="9"/>
                  </a:lnTo>
                  <a:lnTo>
                    <a:pt x="174" y="9"/>
                  </a:lnTo>
                  <a:lnTo>
                    <a:pt x="187" y="14"/>
                  </a:lnTo>
                  <a:lnTo>
                    <a:pt x="196" y="14"/>
                  </a:lnTo>
                  <a:lnTo>
                    <a:pt x="210" y="14"/>
                  </a:lnTo>
                  <a:lnTo>
                    <a:pt x="219" y="14"/>
                  </a:lnTo>
                  <a:lnTo>
                    <a:pt x="219" y="14"/>
                  </a:lnTo>
                  <a:lnTo>
                    <a:pt x="233" y="9"/>
                  </a:lnTo>
                  <a:lnTo>
                    <a:pt x="238" y="5"/>
                  </a:lnTo>
                  <a:lnTo>
                    <a:pt x="242" y="0"/>
                  </a:lnTo>
                  <a:lnTo>
                    <a:pt x="247" y="5"/>
                  </a:lnTo>
                  <a:lnTo>
                    <a:pt x="251" y="5"/>
                  </a:lnTo>
                  <a:lnTo>
                    <a:pt x="256" y="9"/>
                  </a:lnTo>
                  <a:lnTo>
                    <a:pt x="260" y="14"/>
                  </a:lnTo>
                  <a:lnTo>
                    <a:pt x="265" y="19"/>
                  </a:lnTo>
                  <a:lnTo>
                    <a:pt x="270" y="19"/>
                  </a:lnTo>
                  <a:lnTo>
                    <a:pt x="279" y="19"/>
                  </a:lnTo>
                  <a:lnTo>
                    <a:pt x="283" y="23"/>
                  </a:lnTo>
                  <a:lnTo>
                    <a:pt x="288" y="23"/>
                  </a:lnTo>
                  <a:lnTo>
                    <a:pt x="292" y="23"/>
                  </a:lnTo>
                  <a:lnTo>
                    <a:pt x="292" y="28"/>
                  </a:lnTo>
                  <a:lnTo>
                    <a:pt x="297" y="28"/>
                  </a:lnTo>
                  <a:lnTo>
                    <a:pt x="297" y="37"/>
                  </a:lnTo>
                  <a:lnTo>
                    <a:pt x="302" y="41"/>
                  </a:lnTo>
                  <a:lnTo>
                    <a:pt x="302" y="41"/>
                  </a:lnTo>
                  <a:lnTo>
                    <a:pt x="302" y="51"/>
                  </a:lnTo>
                  <a:lnTo>
                    <a:pt x="302" y="64"/>
                  </a:lnTo>
                  <a:lnTo>
                    <a:pt x="302" y="64"/>
                  </a:lnTo>
                  <a:lnTo>
                    <a:pt x="302" y="73"/>
                  </a:lnTo>
                  <a:lnTo>
                    <a:pt x="302" y="83"/>
                  </a:lnTo>
                  <a:lnTo>
                    <a:pt x="302" y="87"/>
                  </a:lnTo>
                  <a:lnTo>
                    <a:pt x="302" y="92"/>
                  </a:lnTo>
                  <a:lnTo>
                    <a:pt x="302" y="96"/>
                  </a:lnTo>
                  <a:lnTo>
                    <a:pt x="302" y="101"/>
                  </a:lnTo>
                  <a:lnTo>
                    <a:pt x="297" y="101"/>
                  </a:lnTo>
                  <a:lnTo>
                    <a:pt x="292" y="96"/>
                  </a:lnTo>
                  <a:lnTo>
                    <a:pt x="288" y="96"/>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6" name="Freeform 23">
              <a:extLst>
                <a:ext uri="{FF2B5EF4-FFF2-40B4-BE49-F238E27FC236}">
                  <a16:creationId xmlns:a16="http://schemas.microsoft.com/office/drawing/2014/main" id="{A93C664B-5AAB-4AAC-85B6-B630A1EE671A}"/>
                </a:ext>
              </a:extLst>
            </p:cNvPr>
            <p:cNvSpPr>
              <a:spLocks/>
            </p:cNvSpPr>
            <p:nvPr>
              <p:custDataLst>
                <p:tags r:id="rId18"/>
              </p:custDataLst>
            </p:nvPr>
          </p:nvSpPr>
          <p:spPr bwMode="auto">
            <a:xfrm>
              <a:off x="1951179" y="1140007"/>
              <a:ext cx="806021" cy="803487"/>
            </a:xfrm>
            <a:custGeom>
              <a:avLst/>
              <a:gdLst/>
              <a:ahLst/>
              <a:cxnLst>
                <a:cxn ang="0">
                  <a:pos x="755" y="375"/>
                </a:cxn>
                <a:cxn ang="0">
                  <a:pos x="704" y="407"/>
                </a:cxn>
                <a:cxn ang="0">
                  <a:pos x="645" y="434"/>
                </a:cxn>
                <a:cxn ang="0">
                  <a:pos x="590" y="457"/>
                </a:cxn>
                <a:cxn ang="0">
                  <a:pos x="558" y="489"/>
                </a:cxn>
                <a:cxn ang="0">
                  <a:pos x="604" y="494"/>
                </a:cxn>
                <a:cxn ang="0">
                  <a:pos x="631" y="526"/>
                </a:cxn>
                <a:cxn ang="0">
                  <a:pos x="622" y="576"/>
                </a:cxn>
                <a:cxn ang="0">
                  <a:pos x="645" y="603"/>
                </a:cxn>
                <a:cxn ang="0">
                  <a:pos x="668" y="649"/>
                </a:cxn>
                <a:cxn ang="0">
                  <a:pos x="732" y="676"/>
                </a:cxn>
                <a:cxn ang="0">
                  <a:pos x="823" y="699"/>
                </a:cxn>
                <a:cxn ang="0">
                  <a:pos x="819" y="727"/>
                </a:cxn>
                <a:cxn ang="0">
                  <a:pos x="755" y="754"/>
                </a:cxn>
                <a:cxn ang="0">
                  <a:pos x="759" y="795"/>
                </a:cxn>
                <a:cxn ang="0">
                  <a:pos x="677" y="786"/>
                </a:cxn>
                <a:cxn ang="0">
                  <a:pos x="654" y="718"/>
                </a:cxn>
                <a:cxn ang="0">
                  <a:pos x="618" y="676"/>
                </a:cxn>
                <a:cxn ang="0">
                  <a:pos x="554" y="681"/>
                </a:cxn>
                <a:cxn ang="0">
                  <a:pos x="522" y="654"/>
                </a:cxn>
                <a:cxn ang="0">
                  <a:pos x="467" y="649"/>
                </a:cxn>
                <a:cxn ang="0">
                  <a:pos x="426" y="631"/>
                </a:cxn>
                <a:cxn ang="0">
                  <a:pos x="448" y="590"/>
                </a:cxn>
                <a:cxn ang="0">
                  <a:pos x="453" y="558"/>
                </a:cxn>
                <a:cxn ang="0">
                  <a:pos x="416" y="516"/>
                </a:cxn>
                <a:cxn ang="0">
                  <a:pos x="394" y="503"/>
                </a:cxn>
                <a:cxn ang="0">
                  <a:pos x="394" y="457"/>
                </a:cxn>
                <a:cxn ang="0">
                  <a:pos x="407" y="393"/>
                </a:cxn>
                <a:cxn ang="0">
                  <a:pos x="384" y="370"/>
                </a:cxn>
                <a:cxn ang="0">
                  <a:pos x="362" y="370"/>
                </a:cxn>
                <a:cxn ang="0">
                  <a:pos x="298" y="356"/>
                </a:cxn>
                <a:cxn ang="0">
                  <a:pos x="316" y="324"/>
                </a:cxn>
                <a:cxn ang="0">
                  <a:pos x="288" y="283"/>
                </a:cxn>
                <a:cxn ang="0">
                  <a:pos x="238" y="260"/>
                </a:cxn>
                <a:cxn ang="0">
                  <a:pos x="229" y="228"/>
                </a:cxn>
                <a:cxn ang="0">
                  <a:pos x="215" y="187"/>
                </a:cxn>
                <a:cxn ang="0">
                  <a:pos x="165" y="174"/>
                </a:cxn>
                <a:cxn ang="0">
                  <a:pos x="119" y="174"/>
                </a:cxn>
                <a:cxn ang="0">
                  <a:pos x="87" y="224"/>
                </a:cxn>
                <a:cxn ang="0">
                  <a:pos x="74" y="206"/>
                </a:cxn>
                <a:cxn ang="0">
                  <a:pos x="37" y="174"/>
                </a:cxn>
                <a:cxn ang="0">
                  <a:pos x="0" y="119"/>
                </a:cxn>
                <a:cxn ang="0">
                  <a:pos x="32" y="73"/>
                </a:cxn>
                <a:cxn ang="0">
                  <a:pos x="92" y="82"/>
                </a:cxn>
                <a:cxn ang="0">
                  <a:pos x="160" y="96"/>
                </a:cxn>
                <a:cxn ang="0">
                  <a:pos x="192" y="132"/>
                </a:cxn>
                <a:cxn ang="0">
                  <a:pos x="279" y="128"/>
                </a:cxn>
                <a:cxn ang="0">
                  <a:pos x="302" y="100"/>
                </a:cxn>
                <a:cxn ang="0">
                  <a:pos x="348" y="68"/>
                </a:cxn>
                <a:cxn ang="0">
                  <a:pos x="403" y="73"/>
                </a:cxn>
                <a:cxn ang="0">
                  <a:pos x="448" y="78"/>
                </a:cxn>
                <a:cxn ang="0">
                  <a:pos x="526" y="82"/>
                </a:cxn>
                <a:cxn ang="0">
                  <a:pos x="604" y="87"/>
                </a:cxn>
                <a:cxn ang="0">
                  <a:pos x="659" y="68"/>
                </a:cxn>
                <a:cxn ang="0">
                  <a:pos x="695" y="23"/>
                </a:cxn>
                <a:cxn ang="0">
                  <a:pos x="759" y="0"/>
                </a:cxn>
                <a:cxn ang="0">
                  <a:pos x="796" y="64"/>
                </a:cxn>
                <a:cxn ang="0">
                  <a:pos x="828" y="82"/>
                </a:cxn>
                <a:cxn ang="0">
                  <a:pos x="901" y="87"/>
                </a:cxn>
                <a:cxn ang="0">
                  <a:pos x="910" y="201"/>
                </a:cxn>
                <a:cxn ang="0">
                  <a:pos x="874" y="233"/>
                </a:cxn>
                <a:cxn ang="0">
                  <a:pos x="810" y="233"/>
                </a:cxn>
                <a:cxn ang="0">
                  <a:pos x="778" y="260"/>
                </a:cxn>
              </a:cxnLst>
              <a:rect l="0" t="0" r="r" b="b"/>
              <a:pathLst>
                <a:path w="924" h="795">
                  <a:moveTo>
                    <a:pt x="773" y="265"/>
                  </a:moveTo>
                  <a:lnTo>
                    <a:pt x="773" y="270"/>
                  </a:lnTo>
                  <a:lnTo>
                    <a:pt x="768" y="279"/>
                  </a:lnTo>
                  <a:lnTo>
                    <a:pt x="764" y="288"/>
                  </a:lnTo>
                  <a:lnTo>
                    <a:pt x="764" y="302"/>
                  </a:lnTo>
                  <a:lnTo>
                    <a:pt x="759" y="306"/>
                  </a:lnTo>
                  <a:lnTo>
                    <a:pt x="759" y="334"/>
                  </a:lnTo>
                  <a:lnTo>
                    <a:pt x="759" y="356"/>
                  </a:lnTo>
                  <a:lnTo>
                    <a:pt x="755" y="366"/>
                  </a:lnTo>
                  <a:lnTo>
                    <a:pt x="755" y="370"/>
                  </a:lnTo>
                  <a:lnTo>
                    <a:pt x="755" y="370"/>
                  </a:lnTo>
                  <a:lnTo>
                    <a:pt x="755" y="375"/>
                  </a:lnTo>
                  <a:lnTo>
                    <a:pt x="750" y="384"/>
                  </a:lnTo>
                  <a:lnTo>
                    <a:pt x="746" y="388"/>
                  </a:lnTo>
                  <a:lnTo>
                    <a:pt x="741" y="393"/>
                  </a:lnTo>
                  <a:lnTo>
                    <a:pt x="736" y="393"/>
                  </a:lnTo>
                  <a:lnTo>
                    <a:pt x="736" y="398"/>
                  </a:lnTo>
                  <a:lnTo>
                    <a:pt x="732" y="398"/>
                  </a:lnTo>
                  <a:lnTo>
                    <a:pt x="732" y="398"/>
                  </a:lnTo>
                  <a:lnTo>
                    <a:pt x="727" y="402"/>
                  </a:lnTo>
                  <a:lnTo>
                    <a:pt x="718" y="402"/>
                  </a:lnTo>
                  <a:lnTo>
                    <a:pt x="714" y="407"/>
                  </a:lnTo>
                  <a:lnTo>
                    <a:pt x="709" y="407"/>
                  </a:lnTo>
                  <a:lnTo>
                    <a:pt x="704" y="407"/>
                  </a:lnTo>
                  <a:lnTo>
                    <a:pt x="700" y="411"/>
                  </a:lnTo>
                  <a:lnTo>
                    <a:pt x="695" y="411"/>
                  </a:lnTo>
                  <a:lnTo>
                    <a:pt x="691" y="416"/>
                  </a:lnTo>
                  <a:lnTo>
                    <a:pt x="691" y="416"/>
                  </a:lnTo>
                  <a:lnTo>
                    <a:pt x="686" y="416"/>
                  </a:lnTo>
                  <a:lnTo>
                    <a:pt x="682" y="416"/>
                  </a:lnTo>
                  <a:lnTo>
                    <a:pt x="677" y="420"/>
                  </a:lnTo>
                  <a:lnTo>
                    <a:pt x="672" y="420"/>
                  </a:lnTo>
                  <a:lnTo>
                    <a:pt x="668" y="425"/>
                  </a:lnTo>
                  <a:lnTo>
                    <a:pt x="668" y="425"/>
                  </a:lnTo>
                  <a:lnTo>
                    <a:pt x="659" y="430"/>
                  </a:lnTo>
                  <a:lnTo>
                    <a:pt x="645" y="434"/>
                  </a:lnTo>
                  <a:lnTo>
                    <a:pt x="640" y="434"/>
                  </a:lnTo>
                  <a:lnTo>
                    <a:pt x="636" y="439"/>
                  </a:lnTo>
                  <a:lnTo>
                    <a:pt x="631" y="439"/>
                  </a:lnTo>
                  <a:lnTo>
                    <a:pt x="627" y="443"/>
                  </a:lnTo>
                  <a:lnTo>
                    <a:pt x="622" y="443"/>
                  </a:lnTo>
                  <a:lnTo>
                    <a:pt x="618" y="443"/>
                  </a:lnTo>
                  <a:lnTo>
                    <a:pt x="613" y="443"/>
                  </a:lnTo>
                  <a:lnTo>
                    <a:pt x="604" y="448"/>
                  </a:lnTo>
                  <a:lnTo>
                    <a:pt x="604" y="448"/>
                  </a:lnTo>
                  <a:lnTo>
                    <a:pt x="599" y="448"/>
                  </a:lnTo>
                  <a:lnTo>
                    <a:pt x="595" y="452"/>
                  </a:lnTo>
                  <a:lnTo>
                    <a:pt x="590" y="457"/>
                  </a:lnTo>
                  <a:lnTo>
                    <a:pt x="586" y="457"/>
                  </a:lnTo>
                  <a:lnTo>
                    <a:pt x="581" y="457"/>
                  </a:lnTo>
                  <a:lnTo>
                    <a:pt x="581" y="462"/>
                  </a:lnTo>
                  <a:lnTo>
                    <a:pt x="581" y="466"/>
                  </a:lnTo>
                  <a:lnTo>
                    <a:pt x="581" y="471"/>
                  </a:lnTo>
                  <a:lnTo>
                    <a:pt x="576" y="471"/>
                  </a:lnTo>
                  <a:lnTo>
                    <a:pt x="572" y="475"/>
                  </a:lnTo>
                  <a:lnTo>
                    <a:pt x="567" y="480"/>
                  </a:lnTo>
                  <a:lnTo>
                    <a:pt x="563" y="480"/>
                  </a:lnTo>
                  <a:lnTo>
                    <a:pt x="563" y="480"/>
                  </a:lnTo>
                  <a:lnTo>
                    <a:pt x="558" y="480"/>
                  </a:lnTo>
                  <a:lnTo>
                    <a:pt x="558" y="489"/>
                  </a:lnTo>
                  <a:lnTo>
                    <a:pt x="558" y="494"/>
                  </a:lnTo>
                  <a:lnTo>
                    <a:pt x="563" y="498"/>
                  </a:lnTo>
                  <a:lnTo>
                    <a:pt x="563" y="503"/>
                  </a:lnTo>
                  <a:lnTo>
                    <a:pt x="567" y="503"/>
                  </a:lnTo>
                  <a:lnTo>
                    <a:pt x="572" y="503"/>
                  </a:lnTo>
                  <a:lnTo>
                    <a:pt x="576" y="503"/>
                  </a:lnTo>
                  <a:lnTo>
                    <a:pt x="581" y="503"/>
                  </a:lnTo>
                  <a:lnTo>
                    <a:pt x="586" y="498"/>
                  </a:lnTo>
                  <a:lnTo>
                    <a:pt x="590" y="498"/>
                  </a:lnTo>
                  <a:lnTo>
                    <a:pt x="595" y="498"/>
                  </a:lnTo>
                  <a:lnTo>
                    <a:pt x="599" y="498"/>
                  </a:lnTo>
                  <a:lnTo>
                    <a:pt x="604" y="494"/>
                  </a:lnTo>
                  <a:lnTo>
                    <a:pt x="604" y="494"/>
                  </a:lnTo>
                  <a:lnTo>
                    <a:pt x="608" y="494"/>
                  </a:lnTo>
                  <a:lnTo>
                    <a:pt x="613" y="494"/>
                  </a:lnTo>
                  <a:lnTo>
                    <a:pt x="618" y="498"/>
                  </a:lnTo>
                  <a:lnTo>
                    <a:pt x="622" y="503"/>
                  </a:lnTo>
                  <a:lnTo>
                    <a:pt x="622" y="503"/>
                  </a:lnTo>
                  <a:lnTo>
                    <a:pt x="622" y="507"/>
                  </a:lnTo>
                  <a:lnTo>
                    <a:pt x="627" y="512"/>
                  </a:lnTo>
                  <a:lnTo>
                    <a:pt x="627" y="516"/>
                  </a:lnTo>
                  <a:lnTo>
                    <a:pt x="631" y="521"/>
                  </a:lnTo>
                  <a:lnTo>
                    <a:pt x="631" y="526"/>
                  </a:lnTo>
                  <a:lnTo>
                    <a:pt x="631" y="526"/>
                  </a:lnTo>
                  <a:lnTo>
                    <a:pt x="631" y="530"/>
                  </a:lnTo>
                  <a:lnTo>
                    <a:pt x="636" y="535"/>
                  </a:lnTo>
                  <a:lnTo>
                    <a:pt x="631" y="544"/>
                  </a:lnTo>
                  <a:lnTo>
                    <a:pt x="631" y="548"/>
                  </a:lnTo>
                  <a:lnTo>
                    <a:pt x="631" y="558"/>
                  </a:lnTo>
                  <a:lnTo>
                    <a:pt x="627" y="562"/>
                  </a:lnTo>
                  <a:lnTo>
                    <a:pt x="627" y="567"/>
                  </a:lnTo>
                  <a:lnTo>
                    <a:pt x="627" y="567"/>
                  </a:lnTo>
                  <a:lnTo>
                    <a:pt x="622" y="567"/>
                  </a:lnTo>
                  <a:lnTo>
                    <a:pt x="622" y="571"/>
                  </a:lnTo>
                  <a:lnTo>
                    <a:pt x="622" y="576"/>
                  </a:lnTo>
                  <a:lnTo>
                    <a:pt x="622" y="576"/>
                  </a:lnTo>
                  <a:lnTo>
                    <a:pt x="622" y="580"/>
                  </a:lnTo>
                  <a:lnTo>
                    <a:pt x="622" y="585"/>
                  </a:lnTo>
                  <a:lnTo>
                    <a:pt x="622" y="590"/>
                  </a:lnTo>
                  <a:lnTo>
                    <a:pt x="622" y="590"/>
                  </a:lnTo>
                  <a:lnTo>
                    <a:pt x="622" y="594"/>
                  </a:lnTo>
                  <a:lnTo>
                    <a:pt x="622" y="594"/>
                  </a:lnTo>
                  <a:lnTo>
                    <a:pt x="622" y="599"/>
                  </a:lnTo>
                  <a:lnTo>
                    <a:pt x="627" y="599"/>
                  </a:lnTo>
                  <a:lnTo>
                    <a:pt x="627" y="603"/>
                  </a:lnTo>
                  <a:lnTo>
                    <a:pt x="636" y="603"/>
                  </a:lnTo>
                  <a:lnTo>
                    <a:pt x="640" y="603"/>
                  </a:lnTo>
                  <a:lnTo>
                    <a:pt x="645" y="603"/>
                  </a:lnTo>
                  <a:lnTo>
                    <a:pt x="645" y="608"/>
                  </a:lnTo>
                  <a:lnTo>
                    <a:pt x="645" y="612"/>
                  </a:lnTo>
                  <a:lnTo>
                    <a:pt x="645" y="612"/>
                  </a:lnTo>
                  <a:lnTo>
                    <a:pt x="650" y="612"/>
                  </a:lnTo>
                  <a:lnTo>
                    <a:pt x="659" y="631"/>
                  </a:lnTo>
                  <a:lnTo>
                    <a:pt x="659" y="635"/>
                  </a:lnTo>
                  <a:lnTo>
                    <a:pt x="663" y="635"/>
                  </a:lnTo>
                  <a:lnTo>
                    <a:pt x="663" y="635"/>
                  </a:lnTo>
                  <a:lnTo>
                    <a:pt x="663" y="640"/>
                  </a:lnTo>
                  <a:lnTo>
                    <a:pt x="668" y="640"/>
                  </a:lnTo>
                  <a:lnTo>
                    <a:pt x="668" y="644"/>
                  </a:lnTo>
                  <a:lnTo>
                    <a:pt x="668" y="649"/>
                  </a:lnTo>
                  <a:lnTo>
                    <a:pt x="668" y="654"/>
                  </a:lnTo>
                  <a:lnTo>
                    <a:pt x="672" y="654"/>
                  </a:lnTo>
                  <a:lnTo>
                    <a:pt x="677" y="658"/>
                  </a:lnTo>
                  <a:lnTo>
                    <a:pt x="677" y="663"/>
                  </a:lnTo>
                  <a:lnTo>
                    <a:pt x="682" y="667"/>
                  </a:lnTo>
                  <a:lnTo>
                    <a:pt x="686" y="672"/>
                  </a:lnTo>
                  <a:lnTo>
                    <a:pt x="695" y="676"/>
                  </a:lnTo>
                  <a:lnTo>
                    <a:pt x="700" y="676"/>
                  </a:lnTo>
                  <a:lnTo>
                    <a:pt x="714" y="676"/>
                  </a:lnTo>
                  <a:lnTo>
                    <a:pt x="714" y="676"/>
                  </a:lnTo>
                  <a:lnTo>
                    <a:pt x="723" y="676"/>
                  </a:lnTo>
                  <a:lnTo>
                    <a:pt x="732" y="676"/>
                  </a:lnTo>
                  <a:lnTo>
                    <a:pt x="736" y="676"/>
                  </a:lnTo>
                  <a:lnTo>
                    <a:pt x="750" y="681"/>
                  </a:lnTo>
                  <a:lnTo>
                    <a:pt x="759" y="686"/>
                  </a:lnTo>
                  <a:lnTo>
                    <a:pt x="768" y="686"/>
                  </a:lnTo>
                  <a:lnTo>
                    <a:pt x="778" y="690"/>
                  </a:lnTo>
                  <a:lnTo>
                    <a:pt x="782" y="690"/>
                  </a:lnTo>
                  <a:lnTo>
                    <a:pt x="796" y="695"/>
                  </a:lnTo>
                  <a:lnTo>
                    <a:pt x="800" y="695"/>
                  </a:lnTo>
                  <a:lnTo>
                    <a:pt x="805" y="695"/>
                  </a:lnTo>
                  <a:lnTo>
                    <a:pt x="810" y="699"/>
                  </a:lnTo>
                  <a:lnTo>
                    <a:pt x="814" y="699"/>
                  </a:lnTo>
                  <a:lnTo>
                    <a:pt x="823" y="699"/>
                  </a:lnTo>
                  <a:lnTo>
                    <a:pt x="823" y="699"/>
                  </a:lnTo>
                  <a:lnTo>
                    <a:pt x="828" y="699"/>
                  </a:lnTo>
                  <a:lnTo>
                    <a:pt x="832" y="704"/>
                  </a:lnTo>
                  <a:lnTo>
                    <a:pt x="832" y="708"/>
                  </a:lnTo>
                  <a:lnTo>
                    <a:pt x="828" y="708"/>
                  </a:lnTo>
                  <a:lnTo>
                    <a:pt x="828" y="713"/>
                  </a:lnTo>
                  <a:lnTo>
                    <a:pt x="828" y="718"/>
                  </a:lnTo>
                  <a:lnTo>
                    <a:pt x="823" y="718"/>
                  </a:lnTo>
                  <a:lnTo>
                    <a:pt x="823" y="722"/>
                  </a:lnTo>
                  <a:lnTo>
                    <a:pt x="823" y="722"/>
                  </a:lnTo>
                  <a:lnTo>
                    <a:pt x="823" y="722"/>
                  </a:lnTo>
                  <a:lnTo>
                    <a:pt x="819" y="727"/>
                  </a:lnTo>
                  <a:lnTo>
                    <a:pt x="814" y="731"/>
                  </a:lnTo>
                  <a:lnTo>
                    <a:pt x="810" y="736"/>
                  </a:lnTo>
                  <a:lnTo>
                    <a:pt x="805" y="736"/>
                  </a:lnTo>
                  <a:lnTo>
                    <a:pt x="800" y="740"/>
                  </a:lnTo>
                  <a:lnTo>
                    <a:pt x="796" y="740"/>
                  </a:lnTo>
                  <a:lnTo>
                    <a:pt x="782" y="740"/>
                  </a:lnTo>
                  <a:lnTo>
                    <a:pt x="778" y="740"/>
                  </a:lnTo>
                  <a:lnTo>
                    <a:pt x="778" y="745"/>
                  </a:lnTo>
                  <a:lnTo>
                    <a:pt x="768" y="745"/>
                  </a:lnTo>
                  <a:lnTo>
                    <a:pt x="764" y="745"/>
                  </a:lnTo>
                  <a:lnTo>
                    <a:pt x="755" y="750"/>
                  </a:lnTo>
                  <a:lnTo>
                    <a:pt x="755" y="754"/>
                  </a:lnTo>
                  <a:lnTo>
                    <a:pt x="755" y="759"/>
                  </a:lnTo>
                  <a:lnTo>
                    <a:pt x="755" y="763"/>
                  </a:lnTo>
                  <a:lnTo>
                    <a:pt x="755" y="772"/>
                  </a:lnTo>
                  <a:lnTo>
                    <a:pt x="755" y="777"/>
                  </a:lnTo>
                  <a:lnTo>
                    <a:pt x="755" y="777"/>
                  </a:lnTo>
                  <a:lnTo>
                    <a:pt x="755" y="782"/>
                  </a:lnTo>
                  <a:lnTo>
                    <a:pt x="759" y="786"/>
                  </a:lnTo>
                  <a:lnTo>
                    <a:pt x="764" y="786"/>
                  </a:lnTo>
                  <a:lnTo>
                    <a:pt x="768" y="791"/>
                  </a:lnTo>
                  <a:lnTo>
                    <a:pt x="768" y="795"/>
                  </a:lnTo>
                  <a:lnTo>
                    <a:pt x="764" y="795"/>
                  </a:lnTo>
                  <a:lnTo>
                    <a:pt x="759" y="795"/>
                  </a:lnTo>
                  <a:lnTo>
                    <a:pt x="755" y="795"/>
                  </a:lnTo>
                  <a:lnTo>
                    <a:pt x="755" y="791"/>
                  </a:lnTo>
                  <a:lnTo>
                    <a:pt x="750" y="791"/>
                  </a:lnTo>
                  <a:lnTo>
                    <a:pt x="746" y="791"/>
                  </a:lnTo>
                  <a:lnTo>
                    <a:pt x="746" y="786"/>
                  </a:lnTo>
                  <a:lnTo>
                    <a:pt x="736" y="786"/>
                  </a:lnTo>
                  <a:lnTo>
                    <a:pt x="732" y="786"/>
                  </a:lnTo>
                  <a:lnTo>
                    <a:pt x="714" y="786"/>
                  </a:lnTo>
                  <a:lnTo>
                    <a:pt x="691" y="782"/>
                  </a:lnTo>
                  <a:lnTo>
                    <a:pt x="686" y="782"/>
                  </a:lnTo>
                  <a:lnTo>
                    <a:pt x="682" y="786"/>
                  </a:lnTo>
                  <a:lnTo>
                    <a:pt x="677" y="786"/>
                  </a:lnTo>
                  <a:lnTo>
                    <a:pt x="672" y="782"/>
                  </a:lnTo>
                  <a:lnTo>
                    <a:pt x="668" y="782"/>
                  </a:lnTo>
                  <a:lnTo>
                    <a:pt x="668" y="777"/>
                  </a:lnTo>
                  <a:lnTo>
                    <a:pt x="668" y="772"/>
                  </a:lnTo>
                  <a:lnTo>
                    <a:pt x="668" y="768"/>
                  </a:lnTo>
                  <a:lnTo>
                    <a:pt x="668" y="763"/>
                  </a:lnTo>
                  <a:lnTo>
                    <a:pt x="663" y="759"/>
                  </a:lnTo>
                  <a:lnTo>
                    <a:pt x="663" y="754"/>
                  </a:lnTo>
                  <a:lnTo>
                    <a:pt x="659" y="736"/>
                  </a:lnTo>
                  <a:lnTo>
                    <a:pt x="654" y="722"/>
                  </a:lnTo>
                  <a:lnTo>
                    <a:pt x="654" y="722"/>
                  </a:lnTo>
                  <a:lnTo>
                    <a:pt x="654" y="718"/>
                  </a:lnTo>
                  <a:lnTo>
                    <a:pt x="650" y="708"/>
                  </a:lnTo>
                  <a:lnTo>
                    <a:pt x="645" y="699"/>
                  </a:lnTo>
                  <a:lnTo>
                    <a:pt x="645" y="695"/>
                  </a:lnTo>
                  <a:lnTo>
                    <a:pt x="645" y="690"/>
                  </a:lnTo>
                  <a:lnTo>
                    <a:pt x="640" y="690"/>
                  </a:lnTo>
                  <a:lnTo>
                    <a:pt x="636" y="681"/>
                  </a:lnTo>
                  <a:lnTo>
                    <a:pt x="631" y="681"/>
                  </a:lnTo>
                  <a:lnTo>
                    <a:pt x="631" y="676"/>
                  </a:lnTo>
                  <a:lnTo>
                    <a:pt x="627" y="676"/>
                  </a:lnTo>
                  <a:lnTo>
                    <a:pt x="622" y="676"/>
                  </a:lnTo>
                  <a:lnTo>
                    <a:pt x="622" y="676"/>
                  </a:lnTo>
                  <a:lnTo>
                    <a:pt x="618" y="676"/>
                  </a:lnTo>
                  <a:lnTo>
                    <a:pt x="613" y="676"/>
                  </a:lnTo>
                  <a:lnTo>
                    <a:pt x="604" y="676"/>
                  </a:lnTo>
                  <a:lnTo>
                    <a:pt x="599" y="676"/>
                  </a:lnTo>
                  <a:lnTo>
                    <a:pt x="595" y="681"/>
                  </a:lnTo>
                  <a:lnTo>
                    <a:pt x="586" y="681"/>
                  </a:lnTo>
                  <a:lnTo>
                    <a:pt x="581" y="686"/>
                  </a:lnTo>
                  <a:lnTo>
                    <a:pt x="576" y="686"/>
                  </a:lnTo>
                  <a:lnTo>
                    <a:pt x="572" y="686"/>
                  </a:lnTo>
                  <a:lnTo>
                    <a:pt x="567" y="686"/>
                  </a:lnTo>
                  <a:lnTo>
                    <a:pt x="558" y="686"/>
                  </a:lnTo>
                  <a:lnTo>
                    <a:pt x="558" y="686"/>
                  </a:lnTo>
                  <a:lnTo>
                    <a:pt x="554" y="681"/>
                  </a:lnTo>
                  <a:lnTo>
                    <a:pt x="549" y="681"/>
                  </a:lnTo>
                  <a:lnTo>
                    <a:pt x="549" y="676"/>
                  </a:lnTo>
                  <a:lnTo>
                    <a:pt x="544" y="676"/>
                  </a:lnTo>
                  <a:lnTo>
                    <a:pt x="544" y="676"/>
                  </a:lnTo>
                  <a:lnTo>
                    <a:pt x="540" y="672"/>
                  </a:lnTo>
                  <a:lnTo>
                    <a:pt x="540" y="667"/>
                  </a:lnTo>
                  <a:lnTo>
                    <a:pt x="540" y="663"/>
                  </a:lnTo>
                  <a:lnTo>
                    <a:pt x="535" y="658"/>
                  </a:lnTo>
                  <a:lnTo>
                    <a:pt x="535" y="654"/>
                  </a:lnTo>
                  <a:lnTo>
                    <a:pt x="531" y="654"/>
                  </a:lnTo>
                  <a:lnTo>
                    <a:pt x="526" y="654"/>
                  </a:lnTo>
                  <a:lnTo>
                    <a:pt x="522" y="654"/>
                  </a:lnTo>
                  <a:lnTo>
                    <a:pt x="512" y="654"/>
                  </a:lnTo>
                  <a:lnTo>
                    <a:pt x="512" y="658"/>
                  </a:lnTo>
                  <a:lnTo>
                    <a:pt x="499" y="663"/>
                  </a:lnTo>
                  <a:lnTo>
                    <a:pt x="494" y="663"/>
                  </a:lnTo>
                  <a:lnTo>
                    <a:pt x="490" y="658"/>
                  </a:lnTo>
                  <a:lnTo>
                    <a:pt x="485" y="658"/>
                  </a:lnTo>
                  <a:lnTo>
                    <a:pt x="480" y="658"/>
                  </a:lnTo>
                  <a:lnTo>
                    <a:pt x="480" y="654"/>
                  </a:lnTo>
                  <a:lnTo>
                    <a:pt x="476" y="654"/>
                  </a:lnTo>
                  <a:lnTo>
                    <a:pt x="471" y="654"/>
                  </a:lnTo>
                  <a:lnTo>
                    <a:pt x="471" y="654"/>
                  </a:lnTo>
                  <a:lnTo>
                    <a:pt x="467" y="649"/>
                  </a:lnTo>
                  <a:lnTo>
                    <a:pt x="462" y="649"/>
                  </a:lnTo>
                  <a:lnTo>
                    <a:pt x="458" y="644"/>
                  </a:lnTo>
                  <a:lnTo>
                    <a:pt x="448" y="644"/>
                  </a:lnTo>
                  <a:lnTo>
                    <a:pt x="448" y="640"/>
                  </a:lnTo>
                  <a:lnTo>
                    <a:pt x="439" y="640"/>
                  </a:lnTo>
                  <a:lnTo>
                    <a:pt x="435" y="640"/>
                  </a:lnTo>
                  <a:lnTo>
                    <a:pt x="430" y="640"/>
                  </a:lnTo>
                  <a:lnTo>
                    <a:pt x="426" y="644"/>
                  </a:lnTo>
                  <a:lnTo>
                    <a:pt x="426" y="644"/>
                  </a:lnTo>
                  <a:lnTo>
                    <a:pt x="421" y="640"/>
                  </a:lnTo>
                  <a:lnTo>
                    <a:pt x="426" y="635"/>
                  </a:lnTo>
                  <a:lnTo>
                    <a:pt x="426" y="631"/>
                  </a:lnTo>
                  <a:lnTo>
                    <a:pt x="426" y="626"/>
                  </a:lnTo>
                  <a:lnTo>
                    <a:pt x="421" y="617"/>
                  </a:lnTo>
                  <a:lnTo>
                    <a:pt x="426" y="612"/>
                  </a:lnTo>
                  <a:lnTo>
                    <a:pt x="426" y="608"/>
                  </a:lnTo>
                  <a:lnTo>
                    <a:pt x="426" y="603"/>
                  </a:lnTo>
                  <a:lnTo>
                    <a:pt x="426" y="603"/>
                  </a:lnTo>
                  <a:lnTo>
                    <a:pt x="430" y="594"/>
                  </a:lnTo>
                  <a:lnTo>
                    <a:pt x="430" y="590"/>
                  </a:lnTo>
                  <a:lnTo>
                    <a:pt x="435" y="590"/>
                  </a:lnTo>
                  <a:lnTo>
                    <a:pt x="439" y="590"/>
                  </a:lnTo>
                  <a:lnTo>
                    <a:pt x="444" y="590"/>
                  </a:lnTo>
                  <a:lnTo>
                    <a:pt x="448" y="590"/>
                  </a:lnTo>
                  <a:lnTo>
                    <a:pt x="453" y="590"/>
                  </a:lnTo>
                  <a:lnTo>
                    <a:pt x="458" y="585"/>
                  </a:lnTo>
                  <a:lnTo>
                    <a:pt x="458" y="580"/>
                  </a:lnTo>
                  <a:lnTo>
                    <a:pt x="462" y="576"/>
                  </a:lnTo>
                  <a:lnTo>
                    <a:pt x="462" y="571"/>
                  </a:lnTo>
                  <a:lnTo>
                    <a:pt x="467" y="567"/>
                  </a:lnTo>
                  <a:lnTo>
                    <a:pt x="471" y="567"/>
                  </a:lnTo>
                  <a:lnTo>
                    <a:pt x="471" y="562"/>
                  </a:lnTo>
                  <a:lnTo>
                    <a:pt x="471" y="558"/>
                  </a:lnTo>
                  <a:lnTo>
                    <a:pt x="467" y="558"/>
                  </a:lnTo>
                  <a:lnTo>
                    <a:pt x="462" y="558"/>
                  </a:lnTo>
                  <a:lnTo>
                    <a:pt x="453" y="558"/>
                  </a:lnTo>
                  <a:lnTo>
                    <a:pt x="448" y="558"/>
                  </a:lnTo>
                  <a:lnTo>
                    <a:pt x="448" y="553"/>
                  </a:lnTo>
                  <a:lnTo>
                    <a:pt x="448" y="548"/>
                  </a:lnTo>
                  <a:lnTo>
                    <a:pt x="448" y="544"/>
                  </a:lnTo>
                  <a:lnTo>
                    <a:pt x="444" y="544"/>
                  </a:lnTo>
                  <a:lnTo>
                    <a:pt x="435" y="539"/>
                  </a:lnTo>
                  <a:lnTo>
                    <a:pt x="430" y="535"/>
                  </a:lnTo>
                  <a:lnTo>
                    <a:pt x="426" y="535"/>
                  </a:lnTo>
                  <a:lnTo>
                    <a:pt x="426" y="530"/>
                  </a:lnTo>
                  <a:lnTo>
                    <a:pt x="421" y="526"/>
                  </a:lnTo>
                  <a:lnTo>
                    <a:pt x="421" y="526"/>
                  </a:lnTo>
                  <a:lnTo>
                    <a:pt x="416" y="516"/>
                  </a:lnTo>
                  <a:lnTo>
                    <a:pt x="421" y="516"/>
                  </a:lnTo>
                  <a:lnTo>
                    <a:pt x="421" y="512"/>
                  </a:lnTo>
                  <a:lnTo>
                    <a:pt x="421" y="507"/>
                  </a:lnTo>
                  <a:lnTo>
                    <a:pt x="426" y="507"/>
                  </a:lnTo>
                  <a:lnTo>
                    <a:pt x="426" y="503"/>
                  </a:lnTo>
                  <a:lnTo>
                    <a:pt x="426" y="498"/>
                  </a:lnTo>
                  <a:lnTo>
                    <a:pt x="421" y="498"/>
                  </a:lnTo>
                  <a:lnTo>
                    <a:pt x="416" y="498"/>
                  </a:lnTo>
                  <a:lnTo>
                    <a:pt x="407" y="503"/>
                  </a:lnTo>
                  <a:lnTo>
                    <a:pt x="403" y="503"/>
                  </a:lnTo>
                  <a:lnTo>
                    <a:pt x="398" y="503"/>
                  </a:lnTo>
                  <a:lnTo>
                    <a:pt x="394" y="503"/>
                  </a:lnTo>
                  <a:lnTo>
                    <a:pt x="389" y="503"/>
                  </a:lnTo>
                  <a:lnTo>
                    <a:pt x="384" y="498"/>
                  </a:lnTo>
                  <a:lnTo>
                    <a:pt x="384" y="494"/>
                  </a:lnTo>
                  <a:lnTo>
                    <a:pt x="384" y="489"/>
                  </a:lnTo>
                  <a:lnTo>
                    <a:pt x="384" y="484"/>
                  </a:lnTo>
                  <a:lnTo>
                    <a:pt x="384" y="480"/>
                  </a:lnTo>
                  <a:lnTo>
                    <a:pt x="384" y="475"/>
                  </a:lnTo>
                  <a:lnTo>
                    <a:pt x="384" y="471"/>
                  </a:lnTo>
                  <a:lnTo>
                    <a:pt x="389" y="471"/>
                  </a:lnTo>
                  <a:lnTo>
                    <a:pt x="389" y="466"/>
                  </a:lnTo>
                  <a:lnTo>
                    <a:pt x="389" y="462"/>
                  </a:lnTo>
                  <a:lnTo>
                    <a:pt x="394" y="457"/>
                  </a:lnTo>
                  <a:lnTo>
                    <a:pt x="398" y="457"/>
                  </a:lnTo>
                  <a:lnTo>
                    <a:pt x="403" y="457"/>
                  </a:lnTo>
                  <a:lnTo>
                    <a:pt x="403" y="452"/>
                  </a:lnTo>
                  <a:lnTo>
                    <a:pt x="407" y="452"/>
                  </a:lnTo>
                  <a:lnTo>
                    <a:pt x="407" y="448"/>
                  </a:lnTo>
                  <a:lnTo>
                    <a:pt x="412" y="443"/>
                  </a:lnTo>
                  <a:lnTo>
                    <a:pt x="412" y="425"/>
                  </a:lnTo>
                  <a:lnTo>
                    <a:pt x="412" y="416"/>
                  </a:lnTo>
                  <a:lnTo>
                    <a:pt x="412" y="407"/>
                  </a:lnTo>
                  <a:lnTo>
                    <a:pt x="412" y="402"/>
                  </a:lnTo>
                  <a:lnTo>
                    <a:pt x="412" y="398"/>
                  </a:lnTo>
                  <a:lnTo>
                    <a:pt x="407" y="393"/>
                  </a:lnTo>
                  <a:lnTo>
                    <a:pt x="407" y="393"/>
                  </a:lnTo>
                  <a:lnTo>
                    <a:pt x="407" y="379"/>
                  </a:lnTo>
                  <a:lnTo>
                    <a:pt x="403" y="370"/>
                  </a:lnTo>
                  <a:lnTo>
                    <a:pt x="403" y="370"/>
                  </a:lnTo>
                  <a:lnTo>
                    <a:pt x="403" y="366"/>
                  </a:lnTo>
                  <a:lnTo>
                    <a:pt x="398" y="366"/>
                  </a:lnTo>
                  <a:lnTo>
                    <a:pt x="394" y="361"/>
                  </a:lnTo>
                  <a:lnTo>
                    <a:pt x="394" y="361"/>
                  </a:lnTo>
                  <a:lnTo>
                    <a:pt x="389" y="366"/>
                  </a:lnTo>
                  <a:lnTo>
                    <a:pt x="384" y="366"/>
                  </a:lnTo>
                  <a:lnTo>
                    <a:pt x="384" y="370"/>
                  </a:lnTo>
                  <a:lnTo>
                    <a:pt x="384" y="370"/>
                  </a:lnTo>
                  <a:lnTo>
                    <a:pt x="384" y="375"/>
                  </a:lnTo>
                  <a:lnTo>
                    <a:pt x="384" y="384"/>
                  </a:lnTo>
                  <a:lnTo>
                    <a:pt x="384" y="388"/>
                  </a:lnTo>
                  <a:lnTo>
                    <a:pt x="380" y="388"/>
                  </a:lnTo>
                  <a:lnTo>
                    <a:pt x="371" y="388"/>
                  </a:lnTo>
                  <a:lnTo>
                    <a:pt x="366" y="384"/>
                  </a:lnTo>
                  <a:lnTo>
                    <a:pt x="362" y="384"/>
                  </a:lnTo>
                  <a:lnTo>
                    <a:pt x="357" y="384"/>
                  </a:lnTo>
                  <a:lnTo>
                    <a:pt x="357" y="379"/>
                  </a:lnTo>
                  <a:lnTo>
                    <a:pt x="357" y="375"/>
                  </a:lnTo>
                  <a:lnTo>
                    <a:pt x="362" y="375"/>
                  </a:lnTo>
                  <a:lnTo>
                    <a:pt x="362" y="370"/>
                  </a:lnTo>
                  <a:lnTo>
                    <a:pt x="362" y="366"/>
                  </a:lnTo>
                  <a:lnTo>
                    <a:pt x="357" y="366"/>
                  </a:lnTo>
                  <a:lnTo>
                    <a:pt x="352" y="361"/>
                  </a:lnTo>
                  <a:lnTo>
                    <a:pt x="339" y="366"/>
                  </a:lnTo>
                  <a:lnTo>
                    <a:pt x="339" y="366"/>
                  </a:lnTo>
                  <a:lnTo>
                    <a:pt x="334" y="366"/>
                  </a:lnTo>
                  <a:lnTo>
                    <a:pt x="325" y="370"/>
                  </a:lnTo>
                  <a:lnTo>
                    <a:pt x="320" y="370"/>
                  </a:lnTo>
                  <a:lnTo>
                    <a:pt x="311" y="366"/>
                  </a:lnTo>
                  <a:lnTo>
                    <a:pt x="307" y="366"/>
                  </a:lnTo>
                  <a:lnTo>
                    <a:pt x="302" y="361"/>
                  </a:lnTo>
                  <a:lnTo>
                    <a:pt x="298" y="356"/>
                  </a:lnTo>
                  <a:lnTo>
                    <a:pt x="298" y="352"/>
                  </a:lnTo>
                  <a:lnTo>
                    <a:pt x="298" y="347"/>
                  </a:lnTo>
                  <a:lnTo>
                    <a:pt x="302" y="347"/>
                  </a:lnTo>
                  <a:lnTo>
                    <a:pt x="302" y="347"/>
                  </a:lnTo>
                  <a:lnTo>
                    <a:pt x="307" y="347"/>
                  </a:lnTo>
                  <a:lnTo>
                    <a:pt x="307" y="343"/>
                  </a:lnTo>
                  <a:lnTo>
                    <a:pt x="311" y="343"/>
                  </a:lnTo>
                  <a:lnTo>
                    <a:pt x="311" y="338"/>
                  </a:lnTo>
                  <a:lnTo>
                    <a:pt x="311" y="334"/>
                  </a:lnTo>
                  <a:lnTo>
                    <a:pt x="311" y="329"/>
                  </a:lnTo>
                  <a:lnTo>
                    <a:pt x="316" y="324"/>
                  </a:lnTo>
                  <a:lnTo>
                    <a:pt x="316" y="324"/>
                  </a:lnTo>
                  <a:lnTo>
                    <a:pt x="311" y="320"/>
                  </a:lnTo>
                  <a:lnTo>
                    <a:pt x="311" y="315"/>
                  </a:lnTo>
                  <a:lnTo>
                    <a:pt x="307" y="315"/>
                  </a:lnTo>
                  <a:lnTo>
                    <a:pt x="307" y="311"/>
                  </a:lnTo>
                  <a:lnTo>
                    <a:pt x="302" y="302"/>
                  </a:lnTo>
                  <a:lnTo>
                    <a:pt x="298" y="297"/>
                  </a:lnTo>
                  <a:lnTo>
                    <a:pt x="298" y="292"/>
                  </a:lnTo>
                  <a:lnTo>
                    <a:pt x="293" y="288"/>
                  </a:lnTo>
                  <a:lnTo>
                    <a:pt x="293" y="283"/>
                  </a:lnTo>
                  <a:lnTo>
                    <a:pt x="293" y="283"/>
                  </a:lnTo>
                  <a:lnTo>
                    <a:pt x="293" y="283"/>
                  </a:lnTo>
                  <a:lnTo>
                    <a:pt x="288" y="283"/>
                  </a:lnTo>
                  <a:lnTo>
                    <a:pt x="284" y="283"/>
                  </a:lnTo>
                  <a:lnTo>
                    <a:pt x="275" y="283"/>
                  </a:lnTo>
                  <a:lnTo>
                    <a:pt x="270" y="283"/>
                  </a:lnTo>
                  <a:lnTo>
                    <a:pt x="256" y="283"/>
                  </a:lnTo>
                  <a:lnTo>
                    <a:pt x="252" y="283"/>
                  </a:lnTo>
                  <a:lnTo>
                    <a:pt x="252" y="283"/>
                  </a:lnTo>
                  <a:lnTo>
                    <a:pt x="243" y="283"/>
                  </a:lnTo>
                  <a:lnTo>
                    <a:pt x="238" y="279"/>
                  </a:lnTo>
                  <a:lnTo>
                    <a:pt x="234" y="270"/>
                  </a:lnTo>
                  <a:lnTo>
                    <a:pt x="234" y="265"/>
                  </a:lnTo>
                  <a:lnTo>
                    <a:pt x="238" y="265"/>
                  </a:lnTo>
                  <a:lnTo>
                    <a:pt x="238" y="260"/>
                  </a:lnTo>
                  <a:lnTo>
                    <a:pt x="238" y="260"/>
                  </a:lnTo>
                  <a:lnTo>
                    <a:pt x="243" y="256"/>
                  </a:lnTo>
                  <a:lnTo>
                    <a:pt x="247" y="256"/>
                  </a:lnTo>
                  <a:lnTo>
                    <a:pt x="247" y="251"/>
                  </a:lnTo>
                  <a:lnTo>
                    <a:pt x="247" y="247"/>
                  </a:lnTo>
                  <a:lnTo>
                    <a:pt x="247" y="242"/>
                  </a:lnTo>
                  <a:lnTo>
                    <a:pt x="243" y="238"/>
                  </a:lnTo>
                  <a:lnTo>
                    <a:pt x="243" y="238"/>
                  </a:lnTo>
                  <a:lnTo>
                    <a:pt x="238" y="238"/>
                  </a:lnTo>
                  <a:lnTo>
                    <a:pt x="238" y="233"/>
                  </a:lnTo>
                  <a:lnTo>
                    <a:pt x="229" y="233"/>
                  </a:lnTo>
                  <a:lnTo>
                    <a:pt x="229" y="228"/>
                  </a:lnTo>
                  <a:lnTo>
                    <a:pt x="215" y="228"/>
                  </a:lnTo>
                  <a:lnTo>
                    <a:pt x="211" y="228"/>
                  </a:lnTo>
                  <a:lnTo>
                    <a:pt x="206" y="224"/>
                  </a:lnTo>
                  <a:lnTo>
                    <a:pt x="206" y="219"/>
                  </a:lnTo>
                  <a:lnTo>
                    <a:pt x="206" y="219"/>
                  </a:lnTo>
                  <a:lnTo>
                    <a:pt x="206" y="219"/>
                  </a:lnTo>
                  <a:lnTo>
                    <a:pt x="206" y="215"/>
                  </a:lnTo>
                  <a:lnTo>
                    <a:pt x="206" y="210"/>
                  </a:lnTo>
                  <a:lnTo>
                    <a:pt x="206" y="201"/>
                  </a:lnTo>
                  <a:lnTo>
                    <a:pt x="211" y="196"/>
                  </a:lnTo>
                  <a:lnTo>
                    <a:pt x="211" y="187"/>
                  </a:lnTo>
                  <a:lnTo>
                    <a:pt x="215" y="187"/>
                  </a:lnTo>
                  <a:lnTo>
                    <a:pt x="211" y="183"/>
                  </a:lnTo>
                  <a:lnTo>
                    <a:pt x="211" y="178"/>
                  </a:lnTo>
                  <a:lnTo>
                    <a:pt x="206" y="174"/>
                  </a:lnTo>
                  <a:lnTo>
                    <a:pt x="206" y="174"/>
                  </a:lnTo>
                  <a:lnTo>
                    <a:pt x="197" y="178"/>
                  </a:lnTo>
                  <a:lnTo>
                    <a:pt x="188" y="178"/>
                  </a:lnTo>
                  <a:lnTo>
                    <a:pt x="183" y="178"/>
                  </a:lnTo>
                  <a:lnTo>
                    <a:pt x="183" y="178"/>
                  </a:lnTo>
                  <a:lnTo>
                    <a:pt x="179" y="174"/>
                  </a:lnTo>
                  <a:lnTo>
                    <a:pt x="174" y="174"/>
                  </a:lnTo>
                  <a:lnTo>
                    <a:pt x="170" y="174"/>
                  </a:lnTo>
                  <a:lnTo>
                    <a:pt x="165" y="174"/>
                  </a:lnTo>
                  <a:lnTo>
                    <a:pt x="165" y="174"/>
                  </a:lnTo>
                  <a:lnTo>
                    <a:pt x="165" y="169"/>
                  </a:lnTo>
                  <a:lnTo>
                    <a:pt x="160" y="169"/>
                  </a:lnTo>
                  <a:lnTo>
                    <a:pt x="156" y="169"/>
                  </a:lnTo>
                  <a:lnTo>
                    <a:pt x="151" y="174"/>
                  </a:lnTo>
                  <a:lnTo>
                    <a:pt x="147" y="174"/>
                  </a:lnTo>
                  <a:lnTo>
                    <a:pt x="142" y="174"/>
                  </a:lnTo>
                  <a:lnTo>
                    <a:pt x="142" y="174"/>
                  </a:lnTo>
                  <a:lnTo>
                    <a:pt x="142" y="174"/>
                  </a:lnTo>
                  <a:lnTo>
                    <a:pt x="128" y="174"/>
                  </a:lnTo>
                  <a:lnTo>
                    <a:pt x="119" y="174"/>
                  </a:lnTo>
                  <a:lnTo>
                    <a:pt x="119" y="174"/>
                  </a:lnTo>
                  <a:lnTo>
                    <a:pt x="115" y="178"/>
                  </a:lnTo>
                  <a:lnTo>
                    <a:pt x="106" y="183"/>
                  </a:lnTo>
                  <a:lnTo>
                    <a:pt x="101" y="187"/>
                  </a:lnTo>
                  <a:lnTo>
                    <a:pt x="96" y="192"/>
                  </a:lnTo>
                  <a:lnTo>
                    <a:pt x="96" y="196"/>
                  </a:lnTo>
                  <a:lnTo>
                    <a:pt x="96" y="196"/>
                  </a:lnTo>
                  <a:lnTo>
                    <a:pt x="96" y="196"/>
                  </a:lnTo>
                  <a:lnTo>
                    <a:pt x="92" y="206"/>
                  </a:lnTo>
                  <a:lnTo>
                    <a:pt x="92" y="215"/>
                  </a:lnTo>
                  <a:lnTo>
                    <a:pt x="87" y="215"/>
                  </a:lnTo>
                  <a:lnTo>
                    <a:pt x="87" y="219"/>
                  </a:lnTo>
                  <a:lnTo>
                    <a:pt x="87" y="224"/>
                  </a:lnTo>
                  <a:lnTo>
                    <a:pt x="87" y="228"/>
                  </a:lnTo>
                  <a:lnTo>
                    <a:pt x="83" y="228"/>
                  </a:lnTo>
                  <a:lnTo>
                    <a:pt x="83" y="233"/>
                  </a:lnTo>
                  <a:lnTo>
                    <a:pt x="78" y="238"/>
                  </a:lnTo>
                  <a:lnTo>
                    <a:pt x="78" y="233"/>
                  </a:lnTo>
                  <a:lnTo>
                    <a:pt x="74" y="233"/>
                  </a:lnTo>
                  <a:lnTo>
                    <a:pt x="74" y="228"/>
                  </a:lnTo>
                  <a:lnTo>
                    <a:pt x="74" y="219"/>
                  </a:lnTo>
                  <a:lnTo>
                    <a:pt x="74" y="219"/>
                  </a:lnTo>
                  <a:lnTo>
                    <a:pt x="74" y="215"/>
                  </a:lnTo>
                  <a:lnTo>
                    <a:pt x="74" y="210"/>
                  </a:lnTo>
                  <a:lnTo>
                    <a:pt x="74" y="206"/>
                  </a:lnTo>
                  <a:lnTo>
                    <a:pt x="74" y="201"/>
                  </a:lnTo>
                  <a:lnTo>
                    <a:pt x="69" y="201"/>
                  </a:lnTo>
                  <a:lnTo>
                    <a:pt x="69" y="196"/>
                  </a:lnTo>
                  <a:lnTo>
                    <a:pt x="64" y="196"/>
                  </a:lnTo>
                  <a:lnTo>
                    <a:pt x="60" y="192"/>
                  </a:lnTo>
                  <a:lnTo>
                    <a:pt x="55" y="187"/>
                  </a:lnTo>
                  <a:lnTo>
                    <a:pt x="55" y="183"/>
                  </a:lnTo>
                  <a:lnTo>
                    <a:pt x="51" y="174"/>
                  </a:lnTo>
                  <a:lnTo>
                    <a:pt x="46" y="174"/>
                  </a:lnTo>
                  <a:lnTo>
                    <a:pt x="42" y="174"/>
                  </a:lnTo>
                  <a:lnTo>
                    <a:pt x="42" y="174"/>
                  </a:lnTo>
                  <a:lnTo>
                    <a:pt x="37" y="174"/>
                  </a:lnTo>
                  <a:lnTo>
                    <a:pt x="32" y="174"/>
                  </a:lnTo>
                  <a:lnTo>
                    <a:pt x="32" y="169"/>
                  </a:lnTo>
                  <a:lnTo>
                    <a:pt x="19" y="169"/>
                  </a:lnTo>
                  <a:lnTo>
                    <a:pt x="14" y="164"/>
                  </a:lnTo>
                  <a:lnTo>
                    <a:pt x="10" y="160"/>
                  </a:lnTo>
                  <a:lnTo>
                    <a:pt x="5" y="151"/>
                  </a:lnTo>
                  <a:lnTo>
                    <a:pt x="5" y="146"/>
                  </a:lnTo>
                  <a:lnTo>
                    <a:pt x="0" y="142"/>
                  </a:lnTo>
                  <a:lnTo>
                    <a:pt x="0" y="142"/>
                  </a:lnTo>
                  <a:lnTo>
                    <a:pt x="0" y="132"/>
                  </a:lnTo>
                  <a:lnTo>
                    <a:pt x="0" y="128"/>
                  </a:lnTo>
                  <a:lnTo>
                    <a:pt x="0" y="119"/>
                  </a:lnTo>
                  <a:lnTo>
                    <a:pt x="0" y="114"/>
                  </a:lnTo>
                  <a:lnTo>
                    <a:pt x="0" y="100"/>
                  </a:lnTo>
                  <a:lnTo>
                    <a:pt x="0" y="96"/>
                  </a:lnTo>
                  <a:lnTo>
                    <a:pt x="0" y="91"/>
                  </a:lnTo>
                  <a:lnTo>
                    <a:pt x="0" y="87"/>
                  </a:lnTo>
                  <a:lnTo>
                    <a:pt x="5" y="87"/>
                  </a:lnTo>
                  <a:lnTo>
                    <a:pt x="5" y="87"/>
                  </a:lnTo>
                  <a:lnTo>
                    <a:pt x="10" y="82"/>
                  </a:lnTo>
                  <a:lnTo>
                    <a:pt x="14" y="78"/>
                  </a:lnTo>
                  <a:lnTo>
                    <a:pt x="28" y="73"/>
                  </a:lnTo>
                  <a:lnTo>
                    <a:pt x="32" y="73"/>
                  </a:lnTo>
                  <a:lnTo>
                    <a:pt x="32" y="73"/>
                  </a:lnTo>
                  <a:lnTo>
                    <a:pt x="37" y="73"/>
                  </a:lnTo>
                  <a:lnTo>
                    <a:pt x="42" y="73"/>
                  </a:lnTo>
                  <a:lnTo>
                    <a:pt x="42" y="78"/>
                  </a:lnTo>
                  <a:lnTo>
                    <a:pt x="46" y="78"/>
                  </a:lnTo>
                  <a:lnTo>
                    <a:pt x="55" y="78"/>
                  </a:lnTo>
                  <a:lnTo>
                    <a:pt x="55" y="82"/>
                  </a:lnTo>
                  <a:lnTo>
                    <a:pt x="64" y="82"/>
                  </a:lnTo>
                  <a:lnTo>
                    <a:pt x="69" y="82"/>
                  </a:lnTo>
                  <a:lnTo>
                    <a:pt x="74" y="87"/>
                  </a:lnTo>
                  <a:lnTo>
                    <a:pt x="83" y="87"/>
                  </a:lnTo>
                  <a:lnTo>
                    <a:pt x="87" y="82"/>
                  </a:lnTo>
                  <a:lnTo>
                    <a:pt x="92" y="82"/>
                  </a:lnTo>
                  <a:lnTo>
                    <a:pt x="96" y="82"/>
                  </a:lnTo>
                  <a:lnTo>
                    <a:pt x="96" y="82"/>
                  </a:lnTo>
                  <a:lnTo>
                    <a:pt x="106" y="82"/>
                  </a:lnTo>
                  <a:lnTo>
                    <a:pt x="110" y="78"/>
                  </a:lnTo>
                  <a:lnTo>
                    <a:pt x="124" y="73"/>
                  </a:lnTo>
                  <a:lnTo>
                    <a:pt x="133" y="73"/>
                  </a:lnTo>
                  <a:lnTo>
                    <a:pt x="142" y="78"/>
                  </a:lnTo>
                  <a:lnTo>
                    <a:pt x="142" y="82"/>
                  </a:lnTo>
                  <a:lnTo>
                    <a:pt x="151" y="87"/>
                  </a:lnTo>
                  <a:lnTo>
                    <a:pt x="156" y="87"/>
                  </a:lnTo>
                  <a:lnTo>
                    <a:pt x="156" y="96"/>
                  </a:lnTo>
                  <a:lnTo>
                    <a:pt x="160" y="96"/>
                  </a:lnTo>
                  <a:lnTo>
                    <a:pt x="160" y="100"/>
                  </a:lnTo>
                  <a:lnTo>
                    <a:pt x="165" y="105"/>
                  </a:lnTo>
                  <a:lnTo>
                    <a:pt x="165" y="110"/>
                  </a:lnTo>
                  <a:lnTo>
                    <a:pt x="165" y="110"/>
                  </a:lnTo>
                  <a:lnTo>
                    <a:pt x="170" y="110"/>
                  </a:lnTo>
                  <a:lnTo>
                    <a:pt x="174" y="114"/>
                  </a:lnTo>
                  <a:lnTo>
                    <a:pt x="174" y="114"/>
                  </a:lnTo>
                  <a:lnTo>
                    <a:pt x="179" y="123"/>
                  </a:lnTo>
                  <a:lnTo>
                    <a:pt x="183" y="123"/>
                  </a:lnTo>
                  <a:lnTo>
                    <a:pt x="183" y="128"/>
                  </a:lnTo>
                  <a:lnTo>
                    <a:pt x="188" y="128"/>
                  </a:lnTo>
                  <a:lnTo>
                    <a:pt x="192" y="132"/>
                  </a:lnTo>
                  <a:lnTo>
                    <a:pt x="197" y="132"/>
                  </a:lnTo>
                  <a:lnTo>
                    <a:pt x="202" y="137"/>
                  </a:lnTo>
                  <a:lnTo>
                    <a:pt x="211" y="142"/>
                  </a:lnTo>
                  <a:lnTo>
                    <a:pt x="224" y="142"/>
                  </a:lnTo>
                  <a:lnTo>
                    <a:pt x="229" y="146"/>
                  </a:lnTo>
                  <a:lnTo>
                    <a:pt x="234" y="142"/>
                  </a:lnTo>
                  <a:lnTo>
                    <a:pt x="252" y="142"/>
                  </a:lnTo>
                  <a:lnTo>
                    <a:pt x="252" y="142"/>
                  </a:lnTo>
                  <a:lnTo>
                    <a:pt x="261" y="142"/>
                  </a:lnTo>
                  <a:lnTo>
                    <a:pt x="270" y="137"/>
                  </a:lnTo>
                  <a:lnTo>
                    <a:pt x="275" y="132"/>
                  </a:lnTo>
                  <a:lnTo>
                    <a:pt x="279" y="128"/>
                  </a:lnTo>
                  <a:lnTo>
                    <a:pt x="284" y="128"/>
                  </a:lnTo>
                  <a:lnTo>
                    <a:pt x="288" y="128"/>
                  </a:lnTo>
                  <a:lnTo>
                    <a:pt x="288" y="123"/>
                  </a:lnTo>
                  <a:lnTo>
                    <a:pt x="293" y="123"/>
                  </a:lnTo>
                  <a:lnTo>
                    <a:pt x="293" y="119"/>
                  </a:lnTo>
                  <a:lnTo>
                    <a:pt x="293" y="114"/>
                  </a:lnTo>
                  <a:lnTo>
                    <a:pt x="293" y="114"/>
                  </a:lnTo>
                  <a:lnTo>
                    <a:pt x="293" y="110"/>
                  </a:lnTo>
                  <a:lnTo>
                    <a:pt x="298" y="110"/>
                  </a:lnTo>
                  <a:lnTo>
                    <a:pt x="298" y="110"/>
                  </a:lnTo>
                  <a:lnTo>
                    <a:pt x="302" y="105"/>
                  </a:lnTo>
                  <a:lnTo>
                    <a:pt x="302" y="100"/>
                  </a:lnTo>
                  <a:lnTo>
                    <a:pt x="307" y="100"/>
                  </a:lnTo>
                  <a:lnTo>
                    <a:pt x="311" y="91"/>
                  </a:lnTo>
                  <a:lnTo>
                    <a:pt x="298" y="68"/>
                  </a:lnTo>
                  <a:lnTo>
                    <a:pt x="302" y="68"/>
                  </a:lnTo>
                  <a:lnTo>
                    <a:pt x="307" y="73"/>
                  </a:lnTo>
                  <a:lnTo>
                    <a:pt x="307" y="73"/>
                  </a:lnTo>
                  <a:lnTo>
                    <a:pt x="311" y="68"/>
                  </a:lnTo>
                  <a:lnTo>
                    <a:pt x="316" y="68"/>
                  </a:lnTo>
                  <a:lnTo>
                    <a:pt x="325" y="68"/>
                  </a:lnTo>
                  <a:lnTo>
                    <a:pt x="339" y="68"/>
                  </a:lnTo>
                  <a:lnTo>
                    <a:pt x="339" y="68"/>
                  </a:lnTo>
                  <a:lnTo>
                    <a:pt x="348" y="68"/>
                  </a:lnTo>
                  <a:lnTo>
                    <a:pt x="348" y="73"/>
                  </a:lnTo>
                  <a:lnTo>
                    <a:pt x="352" y="73"/>
                  </a:lnTo>
                  <a:lnTo>
                    <a:pt x="357" y="73"/>
                  </a:lnTo>
                  <a:lnTo>
                    <a:pt x="357" y="73"/>
                  </a:lnTo>
                  <a:lnTo>
                    <a:pt x="371" y="73"/>
                  </a:lnTo>
                  <a:lnTo>
                    <a:pt x="371" y="73"/>
                  </a:lnTo>
                  <a:lnTo>
                    <a:pt x="375" y="73"/>
                  </a:lnTo>
                  <a:lnTo>
                    <a:pt x="380" y="73"/>
                  </a:lnTo>
                  <a:lnTo>
                    <a:pt x="380" y="73"/>
                  </a:lnTo>
                  <a:lnTo>
                    <a:pt x="380" y="73"/>
                  </a:lnTo>
                  <a:lnTo>
                    <a:pt x="384" y="73"/>
                  </a:lnTo>
                  <a:lnTo>
                    <a:pt x="403" y="73"/>
                  </a:lnTo>
                  <a:lnTo>
                    <a:pt x="403" y="73"/>
                  </a:lnTo>
                  <a:lnTo>
                    <a:pt x="403" y="78"/>
                  </a:lnTo>
                  <a:lnTo>
                    <a:pt x="412" y="73"/>
                  </a:lnTo>
                  <a:lnTo>
                    <a:pt x="412" y="78"/>
                  </a:lnTo>
                  <a:lnTo>
                    <a:pt x="416" y="78"/>
                  </a:lnTo>
                  <a:lnTo>
                    <a:pt x="426" y="78"/>
                  </a:lnTo>
                  <a:lnTo>
                    <a:pt x="426" y="82"/>
                  </a:lnTo>
                  <a:lnTo>
                    <a:pt x="430" y="78"/>
                  </a:lnTo>
                  <a:lnTo>
                    <a:pt x="435" y="82"/>
                  </a:lnTo>
                  <a:lnTo>
                    <a:pt x="439" y="82"/>
                  </a:lnTo>
                  <a:lnTo>
                    <a:pt x="444" y="82"/>
                  </a:lnTo>
                  <a:lnTo>
                    <a:pt x="448" y="78"/>
                  </a:lnTo>
                  <a:lnTo>
                    <a:pt x="453" y="78"/>
                  </a:lnTo>
                  <a:lnTo>
                    <a:pt x="458" y="78"/>
                  </a:lnTo>
                  <a:lnTo>
                    <a:pt x="462" y="78"/>
                  </a:lnTo>
                  <a:lnTo>
                    <a:pt x="467" y="78"/>
                  </a:lnTo>
                  <a:lnTo>
                    <a:pt x="467" y="78"/>
                  </a:lnTo>
                  <a:lnTo>
                    <a:pt x="476" y="78"/>
                  </a:lnTo>
                  <a:lnTo>
                    <a:pt x="480" y="78"/>
                  </a:lnTo>
                  <a:lnTo>
                    <a:pt x="480" y="78"/>
                  </a:lnTo>
                  <a:lnTo>
                    <a:pt x="503" y="82"/>
                  </a:lnTo>
                  <a:lnTo>
                    <a:pt x="512" y="82"/>
                  </a:lnTo>
                  <a:lnTo>
                    <a:pt x="517" y="82"/>
                  </a:lnTo>
                  <a:lnTo>
                    <a:pt x="526" y="82"/>
                  </a:lnTo>
                  <a:lnTo>
                    <a:pt x="526" y="82"/>
                  </a:lnTo>
                  <a:lnTo>
                    <a:pt x="535" y="82"/>
                  </a:lnTo>
                  <a:lnTo>
                    <a:pt x="540" y="82"/>
                  </a:lnTo>
                  <a:lnTo>
                    <a:pt x="540" y="82"/>
                  </a:lnTo>
                  <a:lnTo>
                    <a:pt x="540" y="91"/>
                  </a:lnTo>
                  <a:lnTo>
                    <a:pt x="567" y="87"/>
                  </a:lnTo>
                  <a:lnTo>
                    <a:pt x="576" y="87"/>
                  </a:lnTo>
                  <a:lnTo>
                    <a:pt x="581" y="87"/>
                  </a:lnTo>
                  <a:lnTo>
                    <a:pt x="581" y="87"/>
                  </a:lnTo>
                  <a:lnTo>
                    <a:pt x="590" y="87"/>
                  </a:lnTo>
                  <a:lnTo>
                    <a:pt x="599" y="87"/>
                  </a:lnTo>
                  <a:lnTo>
                    <a:pt x="604" y="87"/>
                  </a:lnTo>
                  <a:lnTo>
                    <a:pt x="604" y="87"/>
                  </a:lnTo>
                  <a:lnTo>
                    <a:pt x="613" y="87"/>
                  </a:lnTo>
                  <a:lnTo>
                    <a:pt x="618" y="87"/>
                  </a:lnTo>
                  <a:lnTo>
                    <a:pt x="622" y="87"/>
                  </a:lnTo>
                  <a:lnTo>
                    <a:pt x="636" y="87"/>
                  </a:lnTo>
                  <a:lnTo>
                    <a:pt x="645" y="87"/>
                  </a:lnTo>
                  <a:lnTo>
                    <a:pt x="645" y="82"/>
                  </a:lnTo>
                  <a:lnTo>
                    <a:pt x="645" y="82"/>
                  </a:lnTo>
                  <a:lnTo>
                    <a:pt x="650" y="78"/>
                  </a:lnTo>
                  <a:lnTo>
                    <a:pt x="654" y="73"/>
                  </a:lnTo>
                  <a:lnTo>
                    <a:pt x="654" y="68"/>
                  </a:lnTo>
                  <a:lnTo>
                    <a:pt x="659" y="68"/>
                  </a:lnTo>
                  <a:lnTo>
                    <a:pt x="663" y="59"/>
                  </a:lnTo>
                  <a:lnTo>
                    <a:pt x="668" y="50"/>
                  </a:lnTo>
                  <a:lnTo>
                    <a:pt x="668" y="46"/>
                  </a:lnTo>
                  <a:lnTo>
                    <a:pt x="668" y="41"/>
                  </a:lnTo>
                  <a:lnTo>
                    <a:pt x="668" y="41"/>
                  </a:lnTo>
                  <a:lnTo>
                    <a:pt x="672" y="41"/>
                  </a:lnTo>
                  <a:lnTo>
                    <a:pt x="677" y="36"/>
                  </a:lnTo>
                  <a:lnTo>
                    <a:pt x="682" y="32"/>
                  </a:lnTo>
                  <a:lnTo>
                    <a:pt x="686" y="32"/>
                  </a:lnTo>
                  <a:lnTo>
                    <a:pt x="691" y="27"/>
                  </a:lnTo>
                  <a:lnTo>
                    <a:pt x="691" y="27"/>
                  </a:lnTo>
                  <a:lnTo>
                    <a:pt x="695" y="23"/>
                  </a:lnTo>
                  <a:lnTo>
                    <a:pt x="700" y="23"/>
                  </a:lnTo>
                  <a:lnTo>
                    <a:pt x="704" y="23"/>
                  </a:lnTo>
                  <a:lnTo>
                    <a:pt x="714" y="18"/>
                  </a:lnTo>
                  <a:lnTo>
                    <a:pt x="723" y="18"/>
                  </a:lnTo>
                  <a:lnTo>
                    <a:pt x="727" y="18"/>
                  </a:lnTo>
                  <a:lnTo>
                    <a:pt x="736" y="18"/>
                  </a:lnTo>
                  <a:lnTo>
                    <a:pt x="736" y="14"/>
                  </a:lnTo>
                  <a:lnTo>
                    <a:pt x="741" y="14"/>
                  </a:lnTo>
                  <a:lnTo>
                    <a:pt x="746" y="9"/>
                  </a:lnTo>
                  <a:lnTo>
                    <a:pt x="750" y="9"/>
                  </a:lnTo>
                  <a:lnTo>
                    <a:pt x="755" y="0"/>
                  </a:lnTo>
                  <a:lnTo>
                    <a:pt x="759" y="0"/>
                  </a:lnTo>
                  <a:lnTo>
                    <a:pt x="768" y="0"/>
                  </a:lnTo>
                  <a:lnTo>
                    <a:pt x="773" y="0"/>
                  </a:lnTo>
                  <a:lnTo>
                    <a:pt x="778" y="0"/>
                  </a:lnTo>
                  <a:lnTo>
                    <a:pt x="778" y="0"/>
                  </a:lnTo>
                  <a:lnTo>
                    <a:pt x="782" y="4"/>
                  </a:lnTo>
                  <a:lnTo>
                    <a:pt x="782" y="9"/>
                  </a:lnTo>
                  <a:lnTo>
                    <a:pt x="787" y="14"/>
                  </a:lnTo>
                  <a:lnTo>
                    <a:pt x="787" y="18"/>
                  </a:lnTo>
                  <a:lnTo>
                    <a:pt x="791" y="32"/>
                  </a:lnTo>
                  <a:lnTo>
                    <a:pt x="796" y="41"/>
                  </a:lnTo>
                  <a:lnTo>
                    <a:pt x="800" y="55"/>
                  </a:lnTo>
                  <a:lnTo>
                    <a:pt x="796" y="64"/>
                  </a:lnTo>
                  <a:lnTo>
                    <a:pt x="800" y="68"/>
                  </a:lnTo>
                  <a:lnTo>
                    <a:pt x="800" y="73"/>
                  </a:lnTo>
                  <a:lnTo>
                    <a:pt x="800" y="78"/>
                  </a:lnTo>
                  <a:lnTo>
                    <a:pt x="800" y="82"/>
                  </a:lnTo>
                  <a:lnTo>
                    <a:pt x="805" y="87"/>
                  </a:lnTo>
                  <a:lnTo>
                    <a:pt x="810" y="87"/>
                  </a:lnTo>
                  <a:lnTo>
                    <a:pt x="814" y="87"/>
                  </a:lnTo>
                  <a:lnTo>
                    <a:pt x="819" y="87"/>
                  </a:lnTo>
                  <a:lnTo>
                    <a:pt x="823" y="87"/>
                  </a:lnTo>
                  <a:lnTo>
                    <a:pt x="823" y="82"/>
                  </a:lnTo>
                  <a:lnTo>
                    <a:pt x="823" y="82"/>
                  </a:lnTo>
                  <a:lnTo>
                    <a:pt x="828" y="82"/>
                  </a:lnTo>
                  <a:lnTo>
                    <a:pt x="832" y="78"/>
                  </a:lnTo>
                  <a:lnTo>
                    <a:pt x="837" y="78"/>
                  </a:lnTo>
                  <a:lnTo>
                    <a:pt x="842" y="82"/>
                  </a:lnTo>
                  <a:lnTo>
                    <a:pt x="846" y="82"/>
                  </a:lnTo>
                  <a:lnTo>
                    <a:pt x="846" y="87"/>
                  </a:lnTo>
                  <a:lnTo>
                    <a:pt x="855" y="87"/>
                  </a:lnTo>
                  <a:lnTo>
                    <a:pt x="864" y="87"/>
                  </a:lnTo>
                  <a:lnTo>
                    <a:pt x="869" y="87"/>
                  </a:lnTo>
                  <a:lnTo>
                    <a:pt x="878" y="87"/>
                  </a:lnTo>
                  <a:lnTo>
                    <a:pt x="892" y="87"/>
                  </a:lnTo>
                  <a:lnTo>
                    <a:pt x="896" y="87"/>
                  </a:lnTo>
                  <a:lnTo>
                    <a:pt x="901" y="87"/>
                  </a:lnTo>
                  <a:lnTo>
                    <a:pt x="906" y="91"/>
                  </a:lnTo>
                  <a:lnTo>
                    <a:pt x="910" y="96"/>
                  </a:lnTo>
                  <a:lnTo>
                    <a:pt x="910" y="110"/>
                  </a:lnTo>
                  <a:lnTo>
                    <a:pt x="910" y="123"/>
                  </a:lnTo>
                  <a:lnTo>
                    <a:pt x="915" y="137"/>
                  </a:lnTo>
                  <a:lnTo>
                    <a:pt x="915" y="151"/>
                  </a:lnTo>
                  <a:lnTo>
                    <a:pt x="919" y="174"/>
                  </a:lnTo>
                  <a:lnTo>
                    <a:pt x="924" y="187"/>
                  </a:lnTo>
                  <a:lnTo>
                    <a:pt x="919" y="196"/>
                  </a:lnTo>
                  <a:lnTo>
                    <a:pt x="919" y="196"/>
                  </a:lnTo>
                  <a:lnTo>
                    <a:pt x="915" y="201"/>
                  </a:lnTo>
                  <a:lnTo>
                    <a:pt x="910" y="201"/>
                  </a:lnTo>
                  <a:lnTo>
                    <a:pt x="910" y="206"/>
                  </a:lnTo>
                  <a:lnTo>
                    <a:pt x="910" y="206"/>
                  </a:lnTo>
                  <a:lnTo>
                    <a:pt x="906" y="210"/>
                  </a:lnTo>
                  <a:lnTo>
                    <a:pt x="896" y="215"/>
                  </a:lnTo>
                  <a:lnTo>
                    <a:pt x="887" y="219"/>
                  </a:lnTo>
                  <a:lnTo>
                    <a:pt x="887" y="219"/>
                  </a:lnTo>
                  <a:lnTo>
                    <a:pt x="883" y="219"/>
                  </a:lnTo>
                  <a:lnTo>
                    <a:pt x="883" y="224"/>
                  </a:lnTo>
                  <a:lnTo>
                    <a:pt x="878" y="224"/>
                  </a:lnTo>
                  <a:lnTo>
                    <a:pt x="878" y="228"/>
                  </a:lnTo>
                  <a:lnTo>
                    <a:pt x="874" y="228"/>
                  </a:lnTo>
                  <a:lnTo>
                    <a:pt x="874" y="233"/>
                  </a:lnTo>
                  <a:lnTo>
                    <a:pt x="869" y="233"/>
                  </a:lnTo>
                  <a:lnTo>
                    <a:pt x="864" y="233"/>
                  </a:lnTo>
                  <a:lnTo>
                    <a:pt x="864" y="233"/>
                  </a:lnTo>
                  <a:lnTo>
                    <a:pt x="860" y="228"/>
                  </a:lnTo>
                  <a:lnTo>
                    <a:pt x="855" y="224"/>
                  </a:lnTo>
                  <a:lnTo>
                    <a:pt x="851" y="224"/>
                  </a:lnTo>
                  <a:lnTo>
                    <a:pt x="846" y="224"/>
                  </a:lnTo>
                  <a:lnTo>
                    <a:pt x="837" y="228"/>
                  </a:lnTo>
                  <a:lnTo>
                    <a:pt x="832" y="228"/>
                  </a:lnTo>
                  <a:lnTo>
                    <a:pt x="823" y="228"/>
                  </a:lnTo>
                  <a:lnTo>
                    <a:pt x="814" y="233"/>
                  </a:lnTo>
                  <a:lnTo>
                    <a:pt x="810" y="233"/>
                  </a:lnTo>
                  <a:lnTo>
                    <a:pt x="805" y="233"/>
                  </a:lnTo>
                  <a:lnTo>
                    <a:pt x="800" y="238"/>
                  </a:lnTo>
                  <a:lnTo>
                    <a:pt x="796" y="238"/>
                  </a:lnTo>
                  <a:lnTo>
                    <a:pt x="796" y="238"/>
                  </a:lnTo>
                  <a:lnTo>
                    <a:pt x="791" y="242"/>
                  </a:lnTo>
                  <a:lnTo>
                    <a:pt x="787" y="242"/>
                  </a:lnTo>
                  <a:lnTo>
                    <a:pt x="787" y="247"/>
                  </a:lnTo>
                  <a:lnTo>
                    <a:pt x="782" y="247"/>
                  </a:lnTo>
                  <a:lnTo>
                    <a:pt x="778" y="251"/>
                  </a:lnTo>
                  <a:lnTo>
                    <a:pt x="778" y="256"/>
                  </a:lnTo>
                  <a:lnTo>
                    <a:pt x="778" y="260"/>
                  </a:lnTo>
                  <a:lnTo>
                    <a:pt x="778" y="260"/>
                  </a:lnTo>
                  <a:lnTo>
                    <a:pt x="773" y="265"/>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7" name="Freeform 24">
              <a:extLst>
                <a:ext uri="{FF2B5EF4-FFF2-40B4-BE49-F238E27FC236}">
                  <a16:creationId xmlns:a16="http://schemas.microsoft.com/office/drawing/2014/main" id="{084BADF1-AFA6-4C24-8FFB-9221515DCCB2}"/>
                </a:ext>
              </a:extLst>
            </p:cNvPr>
            <p:cNvSpPr>
              <a:spLocks/>
            </p:cNvSpPr>
            <p:nvPr>
              <p:custDataLst>
                <p:tags r:id="rId19"/>
              </p:custDataLst>
            </p:nvPr>
          </p:nvSpPr>
          <p:spPr bwMode="auto">
            <a:xfrm>
              <a:off x="1272425" y="1726656"/>
              <a:ext cx="893694" cy="960918"/>
            </a:xfrm>
            <a:custGeom>
              <a:avLst/>
              <a:gdLst/>
              <a:ahLst/>
              <a:cxnLst>
                <a:cxn ang="0">
                  <a:pos x="686" y="819"/>
                </a:cxn>
                <a:cxn ang="0">
                  <a:pos x="627" y="823"/>
                </a:cxn>
                <a:cxn ang="0">
                  <a:pos x="563" y="800"/>
                </a:cxn>
                <a:cxn ang="0">
                  <a:pos x="453" y="828"/>
                </a:cxn>
                <a:cxn ang="0">
                  <a:pos x="430" y="791"/>
                </a:cxn>
                <a:cxn ang="0">
                  <a:pos x="457" y="741"/>
                </a:cxn>
                <a:cxn ang="0">
                  <a:pos x="462" y="704"/>
                </a:cxn>
                <a:cxn ang="0">
                  <a:pos x="444" y="672"/>
                </a:cxn>
                <a:cxn ang="0">
                  <a:pos x="457" y="645"/>
                </a:cxn>
                <a:cxn ang="0">
                  <a:pos x="453" y="567"/>
                </a:cxn>
                <a:cxn ang="0">
                  <a:pos x="371" y="558"/>
                </a:cxn>
                <a:cxn ang="0">
                  <a:pos x="307" y="535"/>
                </a:cxn>
                <a:cxn ang="0">
                  <a:pos x="334" y="494"/>
                </a:cxn>
                <a:cxn ang="0">
                  <a:pos x="357" y="444"/>
                </a:cxn>
                <a:cxn ang="0">
                  <a:pos x="325" y="403"/>
                </a:cxn>
                <a:cxn ang="0">
                  <a:pos x="284" y="362"/>
                </a:cxn>
                <a:cxn ang="0">
                  <a:pos x="247" y="325"/>
                </a:cxn>
                <a:cxn ang="0">
                  <a:pos x="197" y="362"/>
                </a:cxn>
                <a:cxn ang="0">
                  <a:pos x="147" y="339"/>
                </a:cxn>
                <a:cxn ang="0">
                  <a:pos x="96" y="380"/>
                </a:cxn>
                <a:cxn ang="0">
                  <a:pos x="64" y="412"/>
                </a:cxn>
                <a:cxn ang="0">
                  <a:pos x="19" y="412"/>
                </a:cxn>
                <a:cxn ang="0">
                  <a:pos x="5" y="371"/>
                </a:cxn>
                <a:cxn ang="0">
                  <a:pos x="5" y="302"/>
                </a:cxn>
                <a:cxn ang="0">
                  <a:pos x="32" y="243"/>
                </a:cxn>
                <a:cxn ang="0">
                  <a:pos x="78" y="202"/>
                </a:cxn>
                <a:cxn ang="0">
                  <a:pos x="160" y="183"/>
                </a:cxn>
                <a:cxn ang="0">
                  <a:pos x="238" y="151"/>
                </a:cxn>
                <a:cxn ang="0">
                  <a:pos x="270" y="87"/>
                </a:cxn>
                <a:cxn ang="0">
                  <a:pos x="316" y="55"/>
                </a:cxn>
                <a:cxn ang="0">
                  <a:pos x="334" y="106"/>
                </a:cxn>
                <a:cxn ang="0">
                  <a:pos x="384" y="133"/>
                </a:cxn>
                <a:cxn ang="0">
                  <a:pos x="416" y="96"/>
                </a:cxn>
                <a:cxn ang="0">
                  <a:pos x="480" y="69"/>
                </a:cxn>
                <a:cxn ang="0">
                  <a:pos x="540" y="55"/>
                </a:cxn>
                <a:cxn ang="0">
                  <a:pos x="572" y="119"/>
                </a:cxn>
                <a:cxn ang="0">
                  <a:pos x="622" y="87"/>
                </a:cxn>
                <a:cxn ang="0">
                  <a:pos x="677" y="51"/>
                </a:cxn>
                <a:cxn ang="0">
                  <a:pos x="755" y="10"/>
                </a:cxn>
                <a:cxn ang="0">
                  <a:pos x="777" y="55"/>
                </a:cxn>
                <a:cxn ang="0">
                  <a:pos x="828" y="83"/>
                </a:cxn>
                <a:cxn ang="0">
                  <a:pos x="896" y="124"/>
                </a:cxn>
                <a:cxn ang="0">
                  <a:pos x="933" y="165"/>
                </a:cxn>
                <a:cxn ang="0">
                  <a:pos x="942" y="206"/>
                </a:cxn>
                <a:cxn ang="0">
                  <a:pos x="942" y="307"/>
                </a:cxn>
                <a:cxn ang="0">
                  <a:pos x="965" y="343"/>
                </a:cxn>
                <a:cxn ang="0">
                  <a:pos x="1006" y="371"/>
                </a:cxn>
                <a:cxn ang="0">
                  <a:pos x="1024" y="462"/>
                </a:cxn>
                <a:cxn ang="0">
                  <a:pos x="983" y="517"/>
                </a:cxn>
                <a:cxn ang="0">
                  <a:pos x="974" y="604"/>
                </a:cxn>
                <a:cxn ang="0">
                  <a:pos x="960" y="695"/>
                </a:cxn>
                <a:cxn ang="0">
                  <a:pos x="947" y="782"/>
                </a:cxn>
                <a:cxn ang="0">
                  <a:pos x="992" y="823"/>
                </a:cxn>
                <a:cxn ang="0">
                  <a:pos x="974" y="883"/>
                </a:cxn>
                <a:cxn ang="0">
                  <a:pos x="947" y="942"/>
                </a:cxn>
                <a:cxn ang="0">
                  <a:pos x="887" y="933"/>
                </a:cxn>
                <a:cxn ang="0">
                  <a:pos x="823" y="906"/>
                </a:cxn>
                <a:cxn ang="0">
                  <a:pos x="787" y="947"/>
                </a:cxn>
                <a:cxn ang="0">
                  <a:pos x="764" y="883"/>
                </a:cxn>
                <a:cxn ang="0">
                  <a:pos x="736" y="823"/>
                </a:cxn>
              </a:cxnLst>
              <a:rect l="0" t="0" r="r" b="b"/>
              <a:pathLst>
                <a:path w="1024" h="951">
                  <a:moveTo>
                    <a:pt x="732" y="819"/>
                  </a:moveTo>
                  <a:lnTo>
                    <a:pt x="727" y="819"/>
                  </a:lnTo>
                  <a:lnTo>
                    <a:pt x="727" y="814"/>
                  </a:lnTo>
                  <a:lnTo>
                    <a:pt x="723" y="810"/>
                  </a:lnTo>
                  <a:lnTo>
                    <a:pt x="723" y="810"/>
                  </a:lnTo>
                  <a:lnTo>
                    <a:pt x="723" y="805"/>
                  </a:lnTo>
                  <a:lnTo>
                    <a:pt x="718" y="805"/>
                  </a:lnTo>
                  <a:lnTo>
                    <a:pt x="709" y="805"/>
                  </a:lnTo>
                  <a:lnTo>
                    <a:pt x="704" y="805"/>
                  </a:lnTo>
                  <a:lnTo>
                    <a:pt x="700" y="810"/>
                  </a:lnTo>
                  <a:lnTo>
                    <a:pt x="700" y="810"/>
                  </a:lnTo>
                  <a:lnTo>
                    <a:pt x="691" y="810"/>
                  </a:lnTo>
                  <a:lnTo>
                    <a:pt x="691" y="814"/>
                  </a:lnTo>
                  <a:lnTo>
                    <a:pt x="686" y="814"/>
                  </a:lnTo>
                  <a:lnTo>
                    <a:pt x="686" y="819"/>
                  </a:lnTo>
                  <a:lnTo>
                    <a:pt x="681" y="819"/>
                  </a:lnTo>
                  <a:lnTo>
                    <a:pt x="681" y="823"/>
                  </a:lnTo>
                  <a:lnTo>
                    <a:pt x="677" y="823"/>
                  </a:lnTo>
                  <a:lnTo>
                    <a:pt x="677" y="828"/>
                  </a:lnTo>
                  <a:lnTo>
                    <a:pt x="668" y="832"/>
                  </a:lnTo>
                  <a:lnTo>
                    <a:pt x="659" y="837"/>
                  </a:lnTo>
                  <a:lnTo>
                    <a:pt x="654" y="837"/>
                  </a:lnTo>
                  <a:lnTo>
                    <a:pt x="654" y="832"/>
                  </a:lnTo>
                  <a:lnTo>
                    <a:pt x="645" y="832"/>
                  </a:lnTo>
                  <a:lnTo>
                    <a:pt x="645" y="828"/>
                  </a:lnTo>
                  <a:lnTo>
                    <a:pt x="640" y="828"/>
                  </a:lnTo>
                  <a:lnTo>
                    <a:pt x="636" y="823"/>
                  </a:lnTo>
                  <a:lnTo>
                    <a:pt x="631" y="823"/>
                  </a:lnTo>
                  <a:lnTo>
                    <a:pt x="631" y="823"/>
                  </a:lnTo>
                  <a:lnTo>
                    <a:pt x="627" y="823"/>
                  </a:lnTo>
                  <a:lnTo>
                    <a:pt x="622" y="828"/>
                  </a:lnTo>
                  <a:lnTo>
                    <a:pt x="617" y="823"/>
                  </a:lnTo>
                  <a:lnTo>
                    <a:pt x="617" y="823"/>
                  </a:lnTo>
                  <a:lnTo>
                    <a:pt x="617" y="819"/>
                  </a:lnTo>
                  <a:lnTo>
                    <a:pt x="613" y="814"/>
                  </a:lnTo>
                  <a:lnTo>
                    <a:pt x="613" y="814"/>
                  </a:lnTo>
                  <a:lnTo>
                    <a:pt x="608" y="814"/>
                  </a:lnTo>
                  <a:lnTo>
                    <a:pt x="604" y="814"/>
                  </a:lnTo>
                  <a:lnTo>
                    <a:pt x="599" y="814"/>
                  </a:lnTo>
                  <a:lnTo>
                    <a:pt x="599" y="819"/>
                  </a:lnTo>
                  <a:lnTo>
                    <a:pt x="595" y="819"/>
                  </a:lnTo>
                  <a:lnTo>
                    <a:pt x="590" y="819"/>
                  </a:lnTo>
                  <a:lnTo>
                    <a:pt x="590" y="819"/>
                  </a:lnTo>
                  <a:lnTo>
                    <a:pt x="585" y="823"/>
                  </a:lnTo>
                  <a:lnTo>
                    <a:pt x="563" y="800"/>
                  </a:lnTo>
                  <a:lnTo>
                    <a:pt x="540" y="819"/>
                  </a:lnTo>
                  <a:lnTo>
                    <a:pt x="526" y="823"/>
                  </a:lnTo>
                  <a:lnTo>
                    <a:pt x="517" y="819"/>
                  </a:lnTo>
                  <a:lnTo>
                    <a:pt x="499" y="823"/>
                  </a:lnTo>
                  <a:lnTo>
                    <a:pt x="499" y="819"/>
                  </a:lnTo>
                  <a:lnTo>
                    <a:pt x="489" y="819"/>
                  </a:lnTo>
                  <a:lnTo>
                    <a:pt x="485" y="819"/>
                  </a:lnTo>
                  <a:lnTo>
                    <a:pt x="480" y="819"/>
                  </a:lnTo>
                  <a:lnTo>
                    <a:pt x="480" y="823"/>
                  </a:lnTo>
                  <a:lnTo>
                    <a:pt x="480" y="823"/>
                  </a:lnTo>
                  <a:lnTo>
                    <a:pt x="476" y="823"/>
                  </a:lnTo>
                  <a:lnTo>
                    <a:pt x="471" y="823"/>
                  </a:lnTo>
                  <a:lnTo>
                    <a:pt x="462" y="823"/>
                  </a:lnTo>
                  <a:lnTo>
                    <a:pt x="457" y="828"/>
                  </a:lnTo>
                  <a:lnTo>
                    <a:pt x="453" y="828"/>
                  </a:lnTo>
                  <a:lnTo>
                    <a:pt x="448" y="828"/>
                  </a:lnTo>
                  <a:lnTo>
                    <a:pt x="444" y="823"/>
                  </a:lnTo>
                  <a:lnTo>
                    <a:pt x="439" y="823"/>
                  </a:lnTo>
                  <a:lnTo>
                    <a:pt x="439" y="819"/>
                  </a:lnTo>
                  <a:lnTo>
                    <a:pt x="444" y="819"/>
                  </a:lnTo>
                  <a:lnTo>
                    <a:pt x="444" y="814"/>
                  </a:lnTo>
                  <a:lnTo>
                    <a:pt x="453" y="805"/>
                  </a:lnTo>
                  <a:lnTo>
                    <a:pt x="453" y="800"/>
                  </a:lnTo>
                  <a:lnTo>
                    <a:pt x="453" y="800"/>
                  </a:lnTo>
                  <a:lnTo>
                    <a:pt x="448" y="796"/>
                  </a:lnTo>
                  <a:lnTo>
                    <a:pt x="444" y="796"/>
                  </a:lnTo>
                  <a:lnTo>
                    <a:pt x="435" y="800"/>
                  </a:lnTo>
                  <a:lnTo>
                    <a:pt x="435" y="800"/>
                  </a:lnTo>
                  <a:lnTo>
                    <a:pt x="430" y="796"/>
                  </a:lnTo>
                  <a:lnTo>
                    <a:pt x="430" y="791"/>
                  </a:lnTo>
                  <a:lnTo>
                    <a:pt x="425" y="787"/>
                  </a:lnTo>
                  <a:lnTo>
                    <a:pt x="425" y="782"/>
                  </a:lnTo>
                  <a:lnTo>
                    <a:pt x="425" y="778"/>
                  </a:lnTo>
                  <a:lnTo>
                    <a:pt x="425" y="773"/>
                  </a:lnTo>
                  <a:lnTo>
                    <a:pt x="430" y="768"/>
                  </a:lnTo>
                  <a:lnTo>
                    <a:pt x="430" y="764"/>
                  </a:lnTo>
                  <a:lnTo>
                    <a:pt x="435" y="764"/>
                  </a:lnTo>
                  <a:lnTo>
                    <a:pt x="435" y="759"/>
                  </a:lnTo>
                  <a:lnTo>
                    <a:pt x="435" y="759"/>
                  </a:lnTo>
                  <a:lnTo>
                    <a:pt x="439" y="755"/>
                  </a:lnTo>
                  <a:lnTo>
                    <a:pt x="444" y="755"/>
                  </a:lnTo>
                  <a:lnTo>
                    <a:pt x="448" y="755"/>
                  </a:lnTo>
                  <a:lnTo>
                    <a:pt x="448" y="750"/>
                  </a:lnTo>
                  <a:lnTo>
                    <a:pt x="453" y="746"/>
                  </a:lnTo>
                  <a:lnTo>
                    <a:pt x="457" y="741"/>
                  </a:lnTo>
                  <a:lnTo>
                    <a:pt x="457" y="736"/>
                  </a:lnTo>
                  <a:lnTo>
                    <a:pt x="457" y="732"/>
                  </a:lnTo>
                  <a:lnTo>
                    <a:pt x="457" y="732"/>
                  </a:lnTo>
                  <a:lnTo>
                    <a:pt x="462" y="727"/>
                  </a:lnTo>
                  <a:lnTo>
                    <a:pt x="462" y="723"/>
                  </a:lnTo>
                  <a:lnTo>
                    <a:pt x="467" y="723"/>
                  </a:lnTo>
                  <a:lnTo>
                    <a:pt x="467" y="718"/>
                  </a:lnTo>
                  <a:lnTo>
                    <a:pt x="471" y="718"/>
                  </a:lnTo>
                  <a:lnTo>
                    <a:pt x="476" y="714"/>
                  </a:lnTo>
                  <a:lnTo>
                    <a:pt x="476" y="714"/>
                  </a:lnTo>
                  <a:lnTo>
                    <a:pt x="471" y="714"/>
                  </a:lnTo>
                  <a:lnTo>
                    <a:pt x="471" y="709"/>
                  </a:lnTo>
                  <a:lnTo>
                    <a:pt x="467" y="709"/>
                  </a:lnTo>
                  <a:lnTo>
                    <a:pt x="462" y="709"/>
                  </a:lnTo>
                  <a:lnTo>
                    <a:pt x="462" y="704"/>
                  </a:lnTo>
                  <a:lnTo>
                    <a:pt x="457" y="704"/>
                  </a:lnTo>
                  <a:lnTo>
                    <a:pt x="457" y="700"/>
                  </a:lnTo>
                  <a:lnTo>
                    <a:pt x="457" y="700"/>
                  </a:lnTo>
                  <a:lnTo>
                    <a:pt x="453" y="700"/>
                  </a:lnTo>
                  <a:lnTo>
                    <a:pt x="448" y="695"/>
                  </a:lnTo>
                  <a:lnTo>
                    <a:pt x="448" y="691"/>
                  </a:lnTo>
                  <a:lnTo>
                    <a:pt x="448" y="691"/>
                  </a:lnTo>
                  <a:lnTo>
                    <a:pt x="453" y="686"/>
                  </a:lnTo>
                  <a:lnTo>
                    <a:pt x="453" y="682"/>
                  </a:lnTo>
                  <a:lnTo>
                    <a:pt x="457" y="682"/>
                  </a:lnTo>
                  <a:lnTo>
                    <a:pt x="457" y="677"/>
                  </a:lnTo>
                  <a:lnTo>
                    <a:pt x="453" y="677"/>
                  </a:lnTo>
                  <a:lnTo>
                    <a:pt x="453" y="672"/>
                  </a:lnTo>
                  <a:lnTo>
                    <a:pt x="448" y="672"/>
                  </a:lnTo>
                  <a:lnTo>
                    <a:pt x="444" y="672"/>
                  </a:lnTo>
                  <a:lnTo>
                    <a:pt x="439" y="672"/>
                  </a:lnTo>
                  <a:lnTo>
                    <a:pt x="435" y="672"/>
                  </a:lnTo>
                  <a:lnTo>
                    <a:pt x="435" y="672"/>
                  </a:lnTo>
                  <a:lnTo>
                    <a:pt x="430" y="668"/>
                  </a:lnTo>
                  <a:lnTo>
                    <a:pt x="425" y="668"/>
                  </a:lnTo>
                  <a:lnTo>
                    <a:pt x="425" y="663"/>
                  </a:lnTo>
                  <a:lnTo>
                    <a:pt x="430" y="663"/>
                  </a:lnTo>
                  <a:lnTo>
                    <a:pt x="430" y="659"/>
                  </a:lnTo>
                  <a:lnTo>
                    <a:pt x="435" y="659"/>
                  </a:lnTo>
                  <a:lnTo>
                    <a:pt x="435" y="654"/>
                  </a:lnTo>
                  <a:lnTo>
                    <a:pt x="439" y="654"/>
                  </a:lnTo>
                  <a:lnTo>
                    <a:pt x="444" y="650"/>
                  </a:lnTo>
                  <a:lnTo>
                    <a:pt x="448" y="650"/>
                  </a:lnTo>
                  <a:lnTo>
                    <a:pt x="453" y="645"/>
                  </a:lnTo>
                  <a:lnTo>
                    <a:pt x="457" y="645"/>
                  </a:lnTo>
                  <a:lnTo>
                    <a:pt x="457" y="640"/>
                  </a:lnTo>
                  <a:lnTo>
                    <a:pt x="457" y="636"/>
                  </a:lnTo>
                  <a:lnTo>
                    <a:pt x="457" y="627"/>
                  </a:lnTo>
                  <a:lnTo>
                    <a:pt x="457" y="618"/>
                  </a:lnTo>
                  <a:lnTo>
                    <a:pt x="457" y="618"/>
                  </a:lnTo>
                  <a:lnTo>
                    <a:pt x="457" y="613"/>
                  </a:lnTo>
                  <a:lnTo>
                    <a:pt x="457" y="604"/>
                  </a:lnTo>
                  <a:lnTo>
                    <a:pt x="453" y="599"/>
                  </a:lnTo>
                  <a:lnTo>
                    <a:pt x="453" y="595"/>
                  </a:lnTo>
                  <a:lnTo>
                    <a:pt x="453" y="590"/>
                  </a:lnTo>
                  <a:lnTo>
                    <a:pt x="457" y="581"/>
                  </a:lnTo>
                  <a:lnTo>
                    <a:pt x="457" y="576"/>
                  </a:lnTo>
                  <a:lnTo>
                    <a:pt x="457" y="572"/>
                  </a:lnTo>
                  <a:lnTo>
                    <a:pt x="457" y="567"/>
                  </a:lnTo>
                  <a:lnTo>
                    <a:pt x="453" y="567"/>
                  </a:lnTo>
                  <a:lnTo>
                    <a:pt x="453" y="563"/>
                  </a:lnTo>
                  <a:lnTo>
                    <a:pt x="448" y="558"/>
                  </a:lnTo>
                  <a:lnTo>
                    <a:pt x="444" y="558"/>
                  </a:lnTo>
                  <a:lnTo>
                    <a:pt x="439" y="558"/>
                  </a:lnTo>
                  <a:lnTo>
                    <a:pt x="435" y="558"/>
                  </a:lnTo>
                  <a:lnTo>
                    <a:pt x="425" y="558"/>
                  </a:lnTo>
                  <a:lnTo>
                    <a:pt x="416" y="558"/>
                  </a:lnTo>
                  <a:lnTo>
                    <a:pt x="416" y="558"/>
                  </a:lnTo>
                  <a:lnTo>
                    <a:pt x="412" y="558"/>
                  </a:lnTo>
                  <a:lnTo>
                    <a:pt x="403" y="563"/>
                  </a:lnTo>
                  <a:lnTo>
                    <a:pt x="393" y="563"/>
                  </a:lnTo>
                  <a:lnTo>
                    <a:pt x="389" y="563"/>
                  </a:lnTo>
                  <a:lnTo>
                    <a:pt x="384" y="558"/>
                  </a:lnTo>
                  <a:lnTo>
                    <a:pt x="375" y="558"/>
                  </a:lnTo>
                  <a:lnTo>
                    <a:pt x="371" y="558"/>
                  </a:lnTo>
                  <a:lnTo>
                    <a:pt x="371" y="558"/>
                  </a:lnTo>
                  <a:lnTo>
                    <a:pt x="366" y="558"/>
                  </a:lnTo>
                  <a:lnTo>
                    <a:pt x="357" y="554"/>
                  </a:lnTo>
                  <a:lnTo>
                    <a:pt x="352" y="554"/>
                  </a:lnTo>
                  <a:lnTo>
                    <a:pt x="348" y="554"/>
                  </a:lnTo>
                  <a:lnTo>
                    <a:pt x="348" y="554"/>
                  </a:lnTo>
                  <a:lnTo>
                    <a:pt x="343" y="554"/>
                  </a:lnTo>
                  <a:lnTo>
                    <a:pt x="339" y="554"/>
                  </a:lnTo>
                  <a:lnTo>
                    <a:pt x="334" y="554"/>
                  </a:lnTo>
                  <a:lnTo>
                    <a:pt x="329" y="549"/>
                  </a:lnTo>
                  <a:lnTo>
                    <a:pt x="325" y="544"/>
                  </a:lnTo>
                  <a:lnTo>
                    <a:pt x="316" y="535"/>
                  </a:lnTo>
                  <a:lnTo>
                    <a:pt x="311" y="535"/>
                  </a:lnTo>
                  <a:lnTo>
                    <a:pt x="311" y="535"/>
                  </a:lnTo>
                  <a:lnTo>
                    <a:pt x="307" y="535"/>
                  </a:lnTo>
                  <a:lnTo>
                    <a:pt x="307" y="526"/>
                  </a:lnTo>
                  <a:lnTo>
                    <a:pt x="307" y="522"/>
                  </a:lnTo>
                  <a:lnTo>
                    <a:pt x="307" y="517"/>
                  </a:lnTo>
                  <a:lnTo>
                    <a:pt x="307" y="512"/>
                  </a:lnTo>
                  <a:lnTo>
                    <a:pt x="311" y="512"/>
                  </a:lnTo>
                  <a:lnTo>
                    <a:pt x="311" y="512"/>
                  </a:lnTo>
                  <a:lnTo>
                    <a:pt x="316" y="512"/>
                  </a:lnTo>
                  <a:lnTo>
                    <a:pt x="320" y="508"/>
                  </a:lnTo>
                  <a:lnTo>
                    <a:pt x="320" y="503"/>
                  </a:lnTo>
                  <a:lnTo>
                    <a:pt x="325" y="503"/>
                  </a:lnTo>
                  <a:lnTo>
                    <a:pt x="325" y="499"/>
                  </a:lnTo>
                  <a:lnTo>
                    <a:pt x="325" y="499"/>
                  </a:lnTo>
                  <a:lnTo>
                    <a:pt x="325" y="494"/>
                  </a:lnTo>
                  <a:lnTo>
                    <a:pt x="329" y="494"/>
                  </a:lnTo>
                  <a:lnTo>
                    <a:pt x="334" y="494"/>
                  </a:lnTo>
                  <a:lnTo>
                    <a:pt x="334" y="490"/>
                  </a:lnTo>
                  <a:lnTo>
                    <a:pt x="343" y="480"/>
                  </a:lnTo>
                  <a:lnTo>
                    <a:pt x="348" y="480"/>
                  </a:lnTo>
                  <a:lnTo>
                    <a:pt x="348" y="476"/>
                  </a:lnTo>
                  <a:lnTo>
                    <a:pt x="352" y="476"/>
                  </a:lnTo>
                  <a:lnTo>
                    <a:pt x="352" y="471"/>
                  </a:lnTo>
                  <a:lnTo>
                    <a:pt x="361" y="471"/>
                  </a:lnTo>
                  <a:lnTo>
                    <a:pt x="361" y="467"/>
                  </a:lnTo>
                  <a:lnTo>
                    <a:pt x="361" y="462"/>
                  </a:lnTo>
                  <a:lnTo>
                    <a:pt x="366" y="458"/>
                  </a:lnTo>
                  <a:lnTo>
                    <a:pt x="366" y="453"/>
                  </a:lnTo>
                  <a:lnTo>
                    <a:pt x="366" y="448"/>
                  </a:lnTo>
                  <a:lnTo>
                    <a:pt x="361" y="448"/>
                  </a:lnTo>
                  <a:lnTo>
                    <a:pt x="361" y="448"/>
                  </a:lnTo>
                  <a:lnTo>
                    <a:pt x="357" y="444"/>
                  </a:lnTo>
                  <a:lnTo>
                    <a:pt x="352" y="439"/>
                  </a:lnTo>
                  <a:lnTo>
                    <a:pt x="348" y="435"/>
                  </a:lnTo>
                  <a:lnTo>
                    <a:pt x="348" y="435"/>
                  </a:lnTo>
                  <a:lnTo>
                    <a:pt x="343" y="435"/>
                  </a:lnTo>
                  <a:lnTo>
                    <a:pt x="334" y="435"/>
                  </a:lnTo>
                  <a:lnTo>
                    <a:pt x="329" y="435"/>
                  </a:lnTo>
                  <a:lnTo>
                    <a:pt x="325" y="435"/>
                  </a:lnTo>
                  <a:lnTo>
                    <a:pt x="320" y="430"/>
                  </a:lnTo>
                  <a:lnTo>
                    <a:pt x="316" y="426"/>
                  </a:lnTo>
                  <a:lnTo>
                    <a:pt x="316" y="426"/>
                  </a:lnTo>
                  <a:lnTo>
                    <a:pt x="320" y="416"/>
                  </a:lnTo>
                  <a:lnTo>
                    <a:pt x="320" y="412"/>
                  </a:lnTo>
                  <a:lnTo>
                    <a:pt x="320" y="407"/>
                  </a:lnTo>
                  <a:lnTo>
                    <a:pt x="325" y="403"/>
                  </a:lnTo>
                  <a:lnTo>
                    <a:pt x="325" y="403"/>
                  </a:lnTo>
                  <a:lnTo>
                    <a:pt x="325" y="398"/>
                  </a:lnTo>
                  <a:lnTo>
                    <a:pt x="325" y="394"/>
                  </a:lnTo>
                  <a:lnTo>
                    <a:pt x="325" y="384"/>
                  </a:lnTo>
                  <a:lnTo>
                    <a:pt x="320" y="380"/>
                  </a:lnTo>
                  <a:lnTo>
                    <a:pt x="316" y="375"/>
                  </a:lnTo>
                  <a:lnTo>
                    <a:pt x="316" y="371"/>
                  </a:lnTo>
                  <a:lnTo>
                    <a:pt x="311" y="371"/>
                  </a:lnTo>
                  <a:lnTo>
                    <a:pt x="307" y="371"/>
                  </a:lnTo>
                  <a:lnTo>
                    <a:pt x="307" y="371"/>
                  </a:lnTo>
                  <a:lnTo>
                    <a:pt x="293" y="371"/>
                  </a:lnTo>
                  <a:lnTo>
                    <a:pt x="288" y="371"/>
                  </a:lnTo>
                  <a:lnTo>
                    <a:pt x="284" y="371"/>
                  </a:lnTo>
                  <a:lnTo>
                    <a:pt x="284" y="366"/>
                  </a:lnTo>
                  <a:lnTo>
                    <a:pt x="284" y="362"/>
                  </a:lnTo>
                  <a:lnTo>
                    <a:pt x="284" y="362"/>
                  </a:lnTo>
                  <a:lnTo>
                    <a:pt x="284" y="362"/>
                  </a:lnTo>
                  <a:lnTo>
                    <a:pt x="284" y="357"/>
                  </a:lnTo>
                  <a:lnTo>
                    <a:pt x="284" y="352"/>
                  </a:lnTo>
                  <a:lnTo>
                    <a:pt x="288" y="348"/>
                  </a:lnTo>
                  <a:lnTo>
                    <a:pt x="288" y="343"/>
                  </a:lnTo>
                  <a:lnTo>
                    <a:pt x="284" y="339"/>
                  </a:lnTo>
                  <a:lnTo>
                    <a:pt x="284" y="339"/>
                  </a:lnTo>
                  <a:lnTo>
                    <a:pt x="284" y="339"/>
                  </a:lnTo>
                  <a:lnTo>
                    <a:pt x="284" y="334"/>
                  </a:lnTo>
                  <a:lnTo>
                    <a:pt x="279" y="330"/>
                  </a:lnTo>
                  <a:lnTo>
                    <a:pt x="270" y="330"/>
                  </a:lnTo>
                  <a:lnTo>
                    <a:pt x="261" y="325"/>
                  </a:lnTo>
                  <a:lnTo>
                    <a:pt x="256" y="325"/>
                  </a:lnTo>
                  <a:lnTo>
                    <a:pt x="252" y="325"/>
                  </a:lnTo>
                  <a:lnTo>
                    <a:pt x="247" y="325"/>
                  </a:lnTo>
                  <a:lnTo>
                    <a:pt x="243" y="330"/>
                  </a:lnTo>
                  <a:lnTo>
                    <a:pt x="238" y="330"/>
                  </a:lnTo>
                  <a:lnTo>
                    <a:pt x="238" y="334"/>
                  </a:lnTo>
                  <a:lnTo>
                    <a:pt x="238" y="339"/>
                  </a:lnTo>
                  <a:lnTo>
                    <a:pt x="238" y="339"/>
                  </a:lnTo>
                  <a:lnTo>
                    <a:pt x="243" y="343"/>
                  </a:lnTo>
                  <a:lnTo>
                    <a:pt x="243" y="348"/>
                  </a:lnTo>
                  <a:lnTo>
                    <a:pt x="243" y="352"/>
                  </a:lnTo>
                  <a:lnTo>
                    <a:pt x="229" y="352"/>
                  </a:lnTo>
                  <a:lnTo>
                    <a:pt x="215" y="352"/>
                  </a:lnTo>
                  <a:lnTo>
                    <a:pt x="215" y="357"/>
                  </a:lnTo>
                  <a:lnTo>
                    <a:pt x="206" y="357"/>
                  </a:lnTo>
                  <a:lnTo>
                    <a:pt x="197" y="357"/>
                  </a:lnTo>
                  <a:lnTo>
                    <a:pt x="197" y="362"/>
                  </a:lnTo>
                  <a:lnTo>
                    <a:pt x="197" y="362"/>
                  </a:lnTo>
                  <a:lnTo>
                    <a:pt x="188" y="362"/>
                  </a:lnTo>
                  <a:lnTo>
                    <a:pt x="183" y="362"/>
                  </a:lnTo>
                  <a:lnTo>
                    <a:pt x="179" y="362"/>
                  </a:lnTo>
                  <a:lnTo>
                    <a:pt x="174" y="366"/>
                  </a:lnTo>
                  <a:lnTo>
                    <a:pt x="174" y="366"/>
                  </a:lnTo>
                  <a:lnTo>
                    <a:pt x="169" y="362"/>
                  </a:lnTo>
                  <a:lnTo>
                    <a:pt x="169" y="362"/>
                  </a:lnTo>
                  <a:lnTo>
                    <a:pt x="165" y="357"/>
                  </a:lnTo>
                  <a:lnTo>
                    <a:pt x="165" y="348"/>
                  </a:lnTo>
                  <a:lnTo>
                    <a:pt x="160" y="348"/>
                  </a:lnTo>
                  <a:lnTo>
                    <a:pt x="160" y="343"/>
                  </a:lnTo>
                  <a:lnTo>
                    <a:pt x="156" y="343"/>
                  </a:lnTo>
                  <a:lnTo>
                    <a:pt x="151" y="339"/>
                  </a:lnTo>
                  <a:lnTo>
                    <a:pt x="151" y="339"/>
                  </a:lnTo>
                  <a:lnTo>
                    <a:pt x="147" y="339"/>
                  </a:lnTo>
                  <a:lnTo>
                    <a:pt x="147" y="343"/>
                  </a:lnTo>
                  <a:lnTo>
                    <a:pt x="142" y="343"/>
                  </a:lnTo>
                  <a:lnTo>
                    <a:pt x="137" y="343"/>
                  </a:lnTo>
                  <a:lnTo>
                    <a:pt x="137" y="348"/>
                  </a:lnTo>
                  <a:lnTo>
                    <a:pt x="128" y="348"/>
                  </a:lnTo>
                  <a:lnTo>
                    <a:pt x="128" y="352"/>
                  </a:lnTo>
                  <a:lnTo>
                    <a:pt x="128" y="352"/>
                  </a:lnTo>
                  <a:lnTo>
                    <a:pt x="124" y="357"/>
                  </a:lnTo>
                  <a:lnTo>
                    <a:pt x="119" y="357"/>
                  </a:lnTo>
                  <a:lnTo>
                    <a:pt x="119" y="362"/>
                  </a:lnTo>
                  <a:lnTo>
                    <a:pt x="105" y="371"/>
                  </a:lnTo>
                  <a:lnTo>
                    <a:pt x="105" y="371"/>
                  </a:lnTo>
                  <a:lnTo>
                    <a:pt x="101" y="375"/>
                  </a:lnTo>
                  <a:lnTo>
                    <a:pt x="101" y="380"/>
                  </a:lnTo>
                  <a:lnTo>
                    <a:pt x="96" y="380"/>
                  </a:lnTo>
                  <a:lnTo>
                    <a:pt x="92" y="380"/>
                  </a:lnTo>
                  <a:lnTo>
                    <a:pt x="92" y="384"/>
                  </a:lnTo>
                  <a:lnTo>
                    <a:pt x="87" y="384"/>
                  </a:lnTo>
                  <a:lnTo>
                    <a:pt x="87" y="384"/>
                  </a:lnTo>
                  <a:lnTo>
                    <a:pt x="87" y="384"/>
                  </a:lnTo>
                  <a:lnTo>
                    <a:pt x="87" y="389"/>
                  </a:lnTo>
                  <a:lnTo>
                    <a:pt x="83" y="389"/>
                  </a:lnTo>
                  <a:lnTo>
                    <a:pt x="78" y="394"/>
                  </a:lnTo>
                  <a:lnTo>
                    <a:pt x="73" y="394"/>
                  </a:lnTo>
                  <a:lnTo>
                    <a:pt x="73" y="398"/>
                  </a:lnTo>
                  <a:lnTo>
                    <a:pt x="69" y="403"/>
                  </a:lnTo>
                  <a:lnTo>
                    <a:pt x="69" y="403"/>
                  </a:lnTo>
                  <a:lnTo>
                    <a:pt x="64" y="403"/>
                  </a:lnTo>
                  <a:lnTo>
                    <a:pt x="64" y="407"/>
                  </a:lnTo>
                  <a:lnTo>
                    <a:pt x="64" y="412"/>
                  </a:lnTo>
                  <a:lnTo>
                    <a:pt x="64" y="412"/>
                  </a:lnTo>
                  <a:lnTo>
                    <a:pt x="60" y="421"/>
                  </a:lnTo>
                  <a:lnTo>
                    <a:pt x="55" y="421"/>
                  </a:lnTo>
                  <a:lnTo>
                    <a:pt x="55" y="426"/>
                  </a:lnTo>
                  <a:lnTo>
                    <a:pt x="51" y="426"/>
                  </a:lnTo>
                  <a:lnTo>
                    <a:pt x="46" y="426"/>
                  </a:lnTo>
                  <a:lnTo>
                    <a:pt x="46" y="430"/>
                  </a:lnTo>
                  <a:lnTo>
                    <a:pt x="41" y="430"/>
                  </a:lnTo>
                  <a:lnTo>
                    <a:pt x="37" y="430"/>
                  </a:lnTo>
                  <a:lnTo>
                    <a:pt x="32" y="426"/>
                  </a:lnTo>
                  <a:lnTo>
                    <a:pt x="28" y="426"/>
                  </a:lnTo>
                  <a:lnTo>
                    <a:pt x="23" y="426"/>
                  </a:lnTo>
                  <a:lnTo>
                    <a:pt x="23" y="426"/>
                  </a:lnTo>
                  <a:lnTo>
                    <a:pt x="19" y="416"/>
                  </a:lnTo>
                  <a:lnTo>
                    <a:pt x="19" y="412"/>
                  </a:lnTo>
                  <a:lnTo>
                    <a:pt x="19" y="407"/>
                  </a:lnTo>
                  <a:lnTo>
                    <a:pt x="19" y="403"/>
                  </a:lnTo>
                  <a:lnTo>
                    <a:pt x="19" y="403"/>
                  </a:lnTo>
                  <a:lnTo>
                    <a:pt x="19" y="403"/>
                  </a:lnTo>
                  <a:lnTo>
                    <a:pt x="14" y="403"/>
                  </a:lnTo>
                  <a:lnTo>
                    <a:pt x="9" y="403"/>
                  </a:lnTo>
                  <a:lnTo>
                    <a:pt x="5" y="398"/>
                  </a:lnTo>
                  <a:lnTo>
                    <a:pt x="0" y="398"/>
                  </a:lnTo>
                  <a:lnTo>
                    <a:pt x="0" y="394"/>
                  </a:lnTo>
                  <a:lnTo>
                    <a:pt x="0" y="389"/>
                  </a:lnTo>
                  <a:lnTo>
                    <a:pt x="0" y="384"/>
                  </a:lnTo>
                  <a:lnTo>
                    <a:pt x="0" y="384"/>
                  </a:lnTo>
                  <a:lnTo>
                    <a:pt x="0" y="380"/>
                  </a:lnTo>
                  <a:lnTo>
                    <a:pt x="5" y="375"/>
                  </a:lnTo>
                  <a:lnTo>
                    <a:pt x="5" y="371"/>
                  </a:lnTo>
                  <a:lnTo>
                    <a:pt x="14" y="362"/>
                  </a:lnTo>
                  <a:lnTo>
                    <a:pt x="14" y="357"/>
                  </a:lnTo>
                  <a:lnTo>
                    <a:pt x="19" y="357"/>
                  </a:lnTo>
                  <a:lnTo>
                    <a:pt x="19" y="348"/>
                  </a:lnTo>
                  <a:lnTo>
                    <a:pt x="14" y="339"/>
                  </a:lnTo>
                  <a:lnTo>
                    <a:pt x="14" y="334"/>
                  </a:lnTo>
                  <a:lnTo>
                    <a:pt x="19" y="330"/>
                  </a:lnTo>
                  <a:lnTo>
                    <a:pt x="19" y="320"/>
                  </a:lnTo>
                  <a:lnTo>
                    <a:pt x="19" y="316"/>
                  </a:lnTo>
                  <a:lnTo>
                    <a:pt x="14" y="316"/>
                  </a:lnTo>
                  <a:lnTo>
                    <a:pt x="14" y="316"/>
                  </a:lnTo>
                  <a:lnTo>
                    <a:pt x="9" y="311"/>
                  </a:lnTo>
                  <a:lnTo>
                    <a:pt x="9" y="307"/>
                  </a:lnTo>
                  <a:lnTo>
                    <a:pt x="5" y="307"/>
                  </a:lnTo>
                  <a:lnTo>
                    <a:pt x="5" y="302"/>
                  </a:lnTo>
                  <a:lnTo>
                    <a:pt x="5" y="298"/>
                  </a:lnTo>
                  <a:lnTo>
                    <a:pt x="5" y="293"/>
                  </a:lnTo>
                  <a:lnTo>
                    <a:pt x="9" y="293"/>
                  </a:lnTo>
                  <a:lnTo>
                    <a:pt x="9" y="288"/>
                  </a:lnTo>
                  <a:lnTo>
                    <a:pt x="9" y="284"/>
                  </a:lnTo>
                  <a:lnTo>
                    <a:pt x="9" y="279"/>
                  </a:lnTo>
                  <a:lnTo>
                    <a:pt x="9" y="275"/>
                  </a:lnTo>
                  <a:lnTo>
                    <a:pt x="14" y="275"/>
                  </a:lnTo>
                  <a:lnTo>
                    <a:pt x="14" y="275"/>
                  </a:lnTo>
                  <a:lnTo>
                    <a:pt x="14" y="270"/>
                  </a:lnTo>
                  <a:lnTo>
                    <a:pt x="19" y="256"/>
                  </a:lnTo>
                  <a:lnTo>
                    <a:pt x="19" y="252"/>
                  </a:lnTo>
                  <a:lnTo>
                    <a:pt x="19" y="252"/>
                  </a:lnTo>
                  <a:lnTo>
                    <a:pt x="28" y="243"/>
                  </a:lnTo>
                  <a:lnTo>
                    <a:pt x="32" y="243"/>
                  </a:lnTo>
                  <a:lnTo>
                    <a:pt x="41" y="243"/>
                  </a:lnTo>
                  <a:lnTo>
                    <a:pt x="46" y="243"/>
                  </a:lnTo>
                  <a:lnTo>
                    <a:pt x="51" y="243"/>
                  </a:lnTo>
                  <a:lnTo>
                    <a:pt x="51" y="238"/>
                  </a:lnTo>
                  <a:lnTo>
                    <a:pt x="55" y="238"/>
                  </a:lnTo>
                  <a:lnTo>
                    <a:pt x="55" y="234"/>
                  </a:lnTo>
                  <a:lnTo>
                    <a:pt x="55" y="229"/>
                  </a:lnTo>
                  <a:lnTo>
                    <a:pt x="60" y="229"/>
                  </a:lnTo>
                  <a:lnTo>
                    <a:pt x="60" y="220"/>
                  </a:lnTo>
                  <a:lnTo>
                    <a:pt x="64" y="215"/>
                  </a:lnTo>
                  <a:lnTo>
                    <a:pt x="64" y="211"/>
                  </a:lnTo>
                  <a:lnTo>
                    <a:pt x="64" y="211"/>
                  </a:lnTo>
                  <a:lnTo>
                    <a:pt x="73" y="206"/>
                  </a:lnTo>
                  <a:lnTo>
                    <a:pt x="78" y="206"/>
                  </a:lnTo>
                  <a:lnTo>
                    <a:pt x="78" y="202"/>
                  </a:lnTo>
                  <a:lnTo>
                    <a:pt x="83" y="197"/>
                  </a:lnTo>
                  <a:lnTo>
                    <a:pt x="87" y="192"/>
                  </a:lnTo>
                  <a:lnTo>
                    <a:pt x="87" y="192"/>
                  </a:lnTo>
                  <a:lnTo>
                    <a:pt x="101" y="183"/>
                  </a:lnTo>
                  <a:lnTo>
                    <a:pt x="105" y="183"/>
                  </a:lnTo>
                  <a:lnTo>
                    <a:pt x="110" y="183"/>
                  </a:lnTo>
                  <a:lnTo>
                    <a:pt x="110" y="179"/>
                  </a:lnTo>
                  <a:lnTo>
                    <a:pt x="119" y="179"/>
                  </a:lnTo>
                  <a:lnTo>
                    <a:pt x="128" y="183"/>
                  </a:lnTo>
                  <a:lnTo>
                    <a:pt x="128" y="183"/>
                  </a:lnTo>
                  <a:lnTo>
                    <a:pt x="137" y="183"/>
                  </a:lnTo>
                  <a:lnTo>
                    <a:pt x="147" y="183"/>
                  </a:lnTo>
                  <a:lnTo>
                    <a:pt x="151" y="183"/>
                  </a:lnTo>
                  <a:lnTo>
                    <a:pt x="156" y="183"/>
                  </a:lnTo>
                  <a:lnTo>
                    <a:pt x="160" y="183"/>
                  </a:lnTo>
                  <a:lnTo>
                    <a:pt x="169" y="183"/>
                  </a:lnTo>
                  <a:lnTo>
                    <a:pt x="174" y="183"/>
                  </a:lnTo>
                  <a:lnTo>
                    <a:pt x="192" y="183"/>
                  </a:lnTo>
                  <a:lnTo>
                    <a:pt x="197" y="183"/>
                  </a:lnTo>
                  <a:lnTo>
                    <a:pt x="201" y="179"/>
                  </a:lnTo>
                  <a:lnTo>
                    <a:pt x="211" y="174"/>
                  </a:lnTo>
                  <a:lnTo>
                    <a:pt x="215" y="174"/>
                  </a:lnTo>
                  <a:lnTo>
                    <a:pt x="215" y="170"/>
                  </a:lnTo>
                  <a:lnTo>
                    <a:pt x="215" y="170"/>
                  </a:lnTo>
                  <a:lnTo>
                    <a:pt x="220" y="165"/>
                  </a:lnTo>
                  <a:lnTo>
                    <a:pt x="224" y="165"/>
                  </a:lnTo>
                  <a:lnTo>
                    <a:pt x="229" y="165"/>
                  </a:lnTo>
                  <a:lnTo>
                    <a:pt x="233" y="160"/>
                  </a:lnTo>
                  <a:lnTo>
                    <a:pt x="238" y="156"/>
                  </a:lnTo>
                  <a:lnTo>
                    <a:pt x="238" y="151"/>
                  </a:lnTo>
                  <a:lnTo>
                    <a:pt x="238" y="151"/>
                  </a:lnTo>
                  <a:lnTo>
                    <a:pt x="238" y="142"/>
                  </a:lnTo>
                  <a:lnTo>
                    <a:pt x="243" y="138"/>
                  </a:lnTo>
                  <a:lnTo>
                    <a:pt x="243" y="133"/>
                  </a:lnTo>
                  <a:lnTo>
                    <a:pt x="247" y="133"/>
                  </a:lnTo>
                  <a:lnTo>
                    <a:pt x="247" y="128"/>
                  </a:lnTo>
                  <a:lnTo>
                    <a:pt x="247" y="124"/>
                  </a:lnTo>
                  <a:lnTo>
                    <a:pt x="247" y="119"/>
                  </a:lnTo>
                  <a:lnTo>
                    <a:pt x="247" y="115"/>
                  </a:lnTo>
                  <a:lnTo>
                    <a:pt x="252" y="101"/>
                  </a:lnTo>
                  <a:lnTo>
                    <a:pt x="256" y="96"/>
                  </a:lnTo>
                  <a:lnTo>
                    <a:pt x="261" y="92"/>
                  </a:lnTo>
                  <a:lnTo>
                    <a:pt x="261" y="92"/>
                  </a:lnTo>
                  <a:lnTo>
                    <a:pt x="265" y="87"/>
                  </a:lnTo>
                  <a:lnTo>
                    <a:pt x="270" y="87"/>
                  </a:lnTo>
                  <a:lnTo>
                    <a:pt x="275" y="83"/>
                  </a:lnTo>
                  <a:lnTo>
                    <a:pt x="279" y="83"/>
                  </a:lnTo>
                  <a:lnTo>
                    <a:pt x="279" y="78"/>
                  </a:lnTo>
                  <a:lnTo>
                    <a:pt x="284" y="78"/>
                  </a:lnTo>
                  <a:lnTo>
                    <a:pt x="284" y="74"/>
                  </a:lnTo>
                  <a:lnTo>
                    <a:pt x="284" y="74"/>
                  </a:lnTo>
                  <a:lnTo>
                    <a:pt x="288" y="74"/>
                  </a:lnTo>
                  <a:lnTo>
                    <a:pt x="293" y="64"/>
                  </a:lnTo>
                  <a:lnTo>
                    <a:pt x="297" y="64"/>
                  </a:lnTo>
                  <a:lnTo>
                    <a:pt x="302" y="60"/>
                  </a:lnTo>
                  <a:lnTo>
                    <a:pt x="307" y="55"/>
                  </a:lnTo>
                  <a:lnTo>
                    <a:pt x="307" y="55"/>
                  </a:lnTo>
                  <a:lnTo>
                    <a:pt x="302" y="51"/>
                  </a:lnTo>
                  <a:lnTo>
                    <a:pt x="307" y="55"/>
                  </a:lnTo>
                  <a:lnTo>
                    <a:pt x="316" y="55"/>
                  </a:lnTo>
                  <a:lnTo>
                    <a:pt x="320" y="55"/>
                  </a:lnTo>
                  <a:lnTo>
                    <a:pt x="329" y="55"/>
                  </a:lnTo>
                  <a:lnTo>
                    <a:pt x="339" y="60"/>
                  </a:lnTo>
                  <a:lnTo>
                    <a:pt x="343" y="60"/>
                  </a:lnTo>
                  <a:lnTo>
                    <a:pt x="343" y="64"/>
                  </a:lnTo>
                  <a:lnTo>
                    <a:pt x="348" y="69"/>
                  </a:lnTo>
                  <a:lnTo>
                    <a:pt x="348" y="74"/>
                  </a:lnTo>
                  <a:lnTo>
                    <a:pt x="348" y="74"/>
                  </a:lnTo>
                  <a:lnTo>
                    <a:pt x="343" y="83"/>
                  </a:lnTo>
                  <a:lnTo>
                    <a:pt x="339" y="83"/>
                  </a:lnTo>
                  <a:lnTo>
                    <a:pt x="339" y="87"/>
                  </a:lnTo>
                  <a:lnTo>
                    <a:pt x="334" y="92"/>
                  </a:lnTo>
                  <a:lnTo>
                    <a:pt x="334" y="96"/>
                  </a:lnTo>
                  <a:lnTo>
                    <a:pt x="334" y="96"/>
                  </a:lnTo>
                  <a:lnTo>
                    <a:pt x="334" y="106"/>
                  </a:lnTo>
                  <a:lnTo>
                    <a:pt x="339" y="106"/>
                  </a:lnTo>
                  <a:lnTo>
                    <a:pt x="343" y="106"/>
                  </a:lnTo>
                  <a:lnTo>
                    <a:pt x="343" y="110"/>
                  </a:lnTo>
                  <a:lnTo>
                    <a:pt x="348" y="110"/>
                  </a:lnTo>
                  <a:lnTo>
                    <a:pt x="348" y="110"/>
                  </a:lnTo>
                  <a:lnTo>
                    <a:pt x="352" y="115"/>
                  </a:lnTo>
                  <a:lnTo>
                    <a:pt x="357" y="115"/>
                  </a:lnTo>
                  <a:lnTo>
                    <a:pt x="361" y="115"/>
                  </a:lnTo>
                  <a:lnTo>
                    <a:pt x="366" y="119"/>
                  </a:lnTo>
                  <a:lnTo>
                    <a:pt x="371" y="119"/>
                  </a:lnTo>
                  <a:lnTo>
                    <a:pt x="371" y="119"/>
                  </a:lnTo>
                  <a:lnTo>
                    <a:pt x="371" y="119"/>
                  </a:lnTo>
                  <a:lnTo>
                    <a:pt x="375" y="124"/>
                  </a:lnTo>
                  <a:lnTo>
                    <a:pt x="380" y="128"/>
                  </a:lnTo>
                  <a:lnTo>
                    <a:pt x="384" y="133"/>
                  </a:lnTo>
                  <a:lnTo>
                    <a:pt x="389" y="133"/>
                  </a:lnTo>
                  <a:lnTo>
                    <a:pt x="389" y="138"/>
                  </a:lnTo>
                  <a:lnTo>
                    <a:pt x="393" y="142"/>
                  </a:lnTo>
                  <a:lnTo>
                    <a:pt x="398" y="142"/>
                  </a:lnTo>
                  <a:lnTo>
                    <a:pt x="403" y="142"/>
                  </a:lnTo>
                  <a:lnTo>
                    <a:pt x="412" y="142"/>
                  </a:lnTo>
                  <a:lnTo>
                    <a:pt x="412" y="138"/>
                  </a:lnTo>
                  <a:lnTo>
                    <a:pt x="416" y="138"/>
                  </a:lnTo>
                  <a:lnTo>
                    <a:pt x="416" y="133"/>
                  </a:lnTo>
                  <a:lnTo>
                    <a:pt x="416" y="128"/>
                  </a:lnTo>
                  <a:lnTo>
                    <a:pt x="416" y="119"/>
                  </a:lnTo>
                  <a:lnTo>
                    <a:pt x="416" y="119"/>
                  </a:lnTo>
                  <a:lnTo>
                    <a:pt x="416" y="106"/>
                  </a:lnTo>
                  <a:lnTo>
                    <a:pt x="416" y="96"/>
                  </a:lnTo>
                  <a:lnTo>
                    <a:pt x="416" y="96"/>
                  </a:lnTo>
                  <a:lnTo>
                    <a:pt x="416" y="92"/>
                  </a:lnTo>
                  <a:lnTo>
                    <a:pt x="416" y="92"/>
                  </a:lnTo>
                  <a:lnTo>
                    <a:pt x="425" y="87"/>
                  </a:lnTo>
                  <a:lnTo>
                    <a:pt x="430" y="87"/>
                  </a:lnTo>
                  <a:lnTo>
                    <a:pt x="435" y="87"/>
                  </a:lnTo>
                  <a:lnTo>
                    <a:pt x="448" y="87"/>
                  </a:lnTo>
                  <a:lnTo>
                    <a:pt x="453" y="92"/>
                  </a:lnTo>
                  <a:lnTo>
                    <a:pt x="457" y="92"/>
                  </a:lnTo>
                  <a:lnTo>
                    <a:pt x="457" y="92"/>
                  </a:lnTo>
                  <a:lnTo>
                    <a:pt x="462" y="92"/>
                  </a:lnTo>
                  <a:lnTo>
                    <a:pt x="471" y="92"/>
                  </a:lnTo>
                  <a:lnTo>
                    <a:pt x="471" y="87"/>
                  </a:lnTo>
                  <a:lnTo>
                    <a:pt x="476" y="87"/>
                  </a:lnTo>
                  <a:lnTo>
                    <a:pt x="476" y="83"/>
                  </a:lnTo>
                  <a:lnTo>
                    <a:pt x="480" y="69"/>
                  </a:lnTo>
                  <a:lnTo>
                    <a:pt x="480" y="60"/>
                  </a:lnTo>
                  <a:lnTo>
                    <a:pt x="480" y="55"/>
                  </a:lnTo>
                  <a:lnTo>
                    <a:pt x="485" y="55"/>
                  </a:lnTo>
                  <a:lnTo>
                    <a:pt x="489" y="55"/>
                  </a:lnTo>
                  <a:lnTo>
                    <a:pt x="494" y="55"/>
                  </a:lnTo>
                  <a:lnTo>
                    <a:pt x="503" y="51"/>
                  </a:lnTo>
                  <a:lnTo>
                    <a:pt x="503" y="51"/>
                  </a:lnTo>
                  <a:lnTo>
                    <a:pt x="508" y="51"/>
                  </a:lnTo>
                  <a:lnTo>
                    <a:pt x="517" y="51"/>
                  </a:lnTo>
                  <a:lnTo>
                    <a:pt x="521" y="51"/>
                  </a:lnTo>
                  <a:lnTo>
                    <a:pt x="521" y="51"/>
                  </a:lnTo>
                  <a:lnTo>
                    <a:pt x="526" y="55"/>
                  </a:lnTo>
                  <a:lnTo>
                    <a:pt x="531" y="55"/>
                  </a:lnTo>
                  <a:lnTo>
                    <a:pt x="535" y="55"/>
                  </a:lnTo>
                  <a:lnTo>
                    <a:pt x="540" y="55"/>
                  </a:lnTo>
                  <a:lnTo>
                    <a:pt x="540" y="60"/>
                  </a:lnTo>
                  <a:lnTo>
                    <a:pt x="544" y="64"/>
                  </a:lnTo>
                  <a:lnTo>
                    <a:pt x="544" y="64"/>
                  </a:lnTo>
                  <a:lnTo>
                    <a:pt x="549" y="69"/>
                  </a:lnTo>
                  <a:lnTo>
                    <a:pt x="553" y="74"/>
                  </a:lnTo>
                  <a:lnTo>
                    <a:pt x="558" y="74"/>
                  </a:lnTo>
                  <a:lnTo>
                    <a:pt x="563" y="74"/>
                  </a:lnTo>
                  <a:lnTo>
                    <a:pt x="567" y="83"/>
                  </a:lnTo>
                  <a:lnTo>
                    <a:pt x="567" y="87"/>
                  </a:lnTo>
                  <a:lnTo>
                    <a:pt x="567" y="87"/>
                  </a:lnTo>
                  <a:lnTo>
                    <a:pt x="567" y="92"/>
                  </a:lnTo>
                  <a:lnTo>
                    <a:pt x="567" y="96"/>
                  </a:lnTo>
                  <a:lnTo>
                    <a:pt x="567" y="110"/>
                  </a:lnTo>
                  <a:lnTo>
                    <a:pt x="567" y="115"/>
                  </a:lnTo>
                  <a:lnTo>
                    <a:pt x="572" y="119"/>
                  </a:lnTo>
                  <a:lnTo>
                    <a:pt x="576" y="119"/>
                  </a:lnTo>
                  <a:lnTo>
                    <a:pt x="581" y="119"/>
                  </a:lnTo>
                  <a:lnTo>
                    <a:pt x="585" y="119"/>
                  </a:lnTo>
                  <a:lnTo>
                    <a:pt x="585" y="115"/>
                  </a:lnTo>
                  <a:lnTo>
                    <a:pt x="590" y="115"/>
                  </a:lnTo>
                  <a:lnTo>
                    <a:pt x="590" y="115"/>
                  </a:lnTo>
                  <a:lnTo>
                    <a:pt x="595" y="110"/>
                  </a:lnTo>
                  <a:lnTo>
                    <a:pt x="599" y="106"/>
                  </a:lnTo>
                  <a:lnTo>
                    <a:pt x="608" y="96"/>
                  </a:lnTo>
                  <a:lnTo>
                    <a:pt x="613" y="96"/>
                  </a:lnTo>
                  <a:lnTo>
                    <a:pt x="613" y="96"/>
                  </a:lnTo>
                  <a:lnTo>
                    <a:pt x="613" y="96"/>
                  </a:lnTo>
                  <a:lnTo>
                    <a:pt x="613" y="92"/>
                  </a:lnTo>
                  <a:lnTo>
                    <a:pt x="617" y="92"/>
                  </a:lnTo>
                  <a:lnTo>
                    <a:pt x="622" y="87"/>
                  </a:lnTo>
                  <a:lnTo>
                    <a:pt x="627" y="87"/>
                  </a:lnTo>
                  <a:lnTo>
                    <a:pt x="627" y="83"/>
                  </a:lnTo>
                  <a:lnTo>
                    <a:pt x="631" y="83"/>
                  </a:lnTo>
                  <a:lnTo>
                    <a:pt x="631" y="78"/>
                  </a:lnTo>
                  <a:lnTo>
                    <a:pt x="631" y="78"/>
                  </a:lnTo>
                  <a:lnTo>
                    <a:pt x="636" y="74"/>
                  </a:lnTo>
                  <a:lnTo>
                    <a:pt x="640" y="74"/>
                  </a:lnTo>
                  <a:lnTo>
                    <a:pt x="645" y="74"/>
                  </a:lnTo>
                  <a:lnTo>
                    <a:pt x="654" y="64"/>
                  </a:lnTo>
                  <a:lnTo>
                    <a:pt x="659" y="60"/>
                  </a:lnTo>
                  <a:lnTo>
                    <a:pt x="663" y="55"/>
                  </a:lnTo>
                  <a:lnTo>
                    <a:pt x="668" y="55"/>
                  </a:lnTo>
                  <a:lnTo>
                    <a:pt x="668" y="55"/>
                  </a:lnTo>
                  <a:lnTo>
                    <a:pt x="672" y="55"/>
                  </a:lnTo>
                  <a:lnTo>
                    <a:pt x="677" y="51"/>
                  </a:lnTo>
                  <a:lnTo>
                    <a:pt x="677" y="46"/>
                  </a:lnTo>
                  <a:lnTo>
                    <a:pt x="686" y="37"/>
                  </a:lnTo>
                  <a:lnTo>
                    <a:pt x="691" y="37"/>
                  </a:lnTo>
                  <a:lnTo>
                    <a:pt x="700" y="28"/>
                  </a:lnTo>
                  <a:lnTo>
                    <a:pt x="700" y="28"/>
                  </a:lnTo>
                  <a:lnTo>
                    <a:pt x="709" y="23"/>
                  </a:lnTo>
                  <a:lnTo>
                    <a:pt x="713" y="23"/>
                  </a:lnTo>
                  <a:lnTo>
                    <a:pt x="723" y="19"/>
                  </a:lnTo>
                  <a:lnTo>
                    <a:pt x="723" y="14"/>
                  </a:lnTo>
                  <a:lnTo>
                    <a:pt x="727" y="14"/>
                  </a:lnTo>
                  <a:lnTo>
                    <a:pt x="732" y="14"/>
                  </a:lnTo>
                  <a:lnTo>
                    <a:pt x="736" y="14"/>
                  </a:lnTo>
                  <a:lnTo>
                    <a:pt x="741" y="10"/>
                  </a:lnTo>
                  <a:lnTo>
                    <a:pt x="750" y="10"/>
                  </a:lnTo>
                  <a:lnTo>
                    <a:pt x="755" y="10"/>
                  </a:lnTo>
                  <a:lnTo>
                    <a:pt x="755" y="5"/>
                  </a:lnTo>
                  <a:lnTo>
                    <a:pt x="759" y="5"/>
                  </a:lnTo>
                  <a:lnTo>
                    <a:pt x="764" y="5"/>
                  </a:lnTo>
                  <a:lnTo>
                    <a:pt x="764" y="0"/>
                  </a:lnTo>
                  <a:lnTo>
                    <a:pt x="768" y="5"/>
                  </a:lnTo>
                  <a:lnTo>
                    <a:pt x="773" y="10"/>
                  </a:lnTo>
                  <a:lnTo>
                    <a:pt x="782" y="19"/>
                  </a:lnTo>
                  <a:lnTo>
                    <a:pt x="782" y="23"/>
                  </a:lnTo>
                  <a:lnTo>
                    <a:pt x="782" y="28"/>
                  </a:lnTo>
                  <a:lnTo>
                    <a:pt x="777" y="37"/>
                  </a:lnTo>
                  <a:lnTo>
                    <a:pt x="777" y="42"/>
                  </a:lnTo>
                  <a:lnTo>
                    <a:pt x="773" y="46"/>
                  </a:lnTo>
                  <a:lnTo>
                    <a:pt x="773" y="51"/>
                  </a:lnTo>
                  <a:lnTo>
                    <a:pt x="777" y="51"/>
                  </a:lnTo>
                  <a:lnTo>
                    <a:pt x="777" y="55"/>
                  </a:lnTo>
                  <a:lnTo>
                    <a:pt x="782" y="60"/>
                  </a:lnTo>
                  <a:lnTo>
                    <a:pt x="782" y="64"/>
                  </a:lnTo>
                  <a:lnTo>
                    <a:pt x="787" y="64"/>
                  </a:lnTo>
                  <a:lnTo>
                    <a:pt x="787" y="69"/>
                  </a:lnTo>
                  <a:lnTo>
                    <a:pt x="791" y="69"/>
                  </a:lnTo>
                  <a:lnTo>
                    <a:pt x="796" y="69"/>
                  </a:lnTo>
                  <a:lnTo>
                    <a:pt x="800" y="74"/>
                  </a:lnTo>
                  <a:lnTo>
                    <a:pt x="805" y="74"/>
                  </a:lnTo>
                  <a:lnTo>
                    <a:pt x="809" y="74"/>
                  </a:lnTo>
                  <a:lnTo>
                    <a:pt x="809" y="74"/>
                  </a:lnTo>
                  <a:lnTo>
                    <a:pt x="814" y="78"/>
                  </a:lnTo>
                  <a:lnTo>
                    <a:pt x="819" y="78"/>
                  </a:lnTo>
                  <a:lnTo>
                    <a:pt x="823" y="78"/>
                  </a:lnTo>
                  <a:lnTo>
                    <a:pt x="823" y="83"/>
                  </a:lnTo>
                  <a:lnTo>
                    <a:pt x="828" y="83"/>
                  </a:lnTo>
                  <a:lnTo>
                    <a:pt x="828" y="87"/>
                  </a:lnTo>
                  <a:lnTo>
                    <a:pt x="828" y="96"/>
                  </a:lnTo>
                  <a:lnTo>
                    <a:pt x="832" y="101"/>
                  </a:lnTo>
                  <a:lnTo>
                    <a:pt x="832" y="106"/>
                  </a:lnTo>
                  <a:lnTo>
                    <a:pt x="837" y="110"/>
                  </a:lnTo>
                  <a:lnTo>
                    <a:pt x="841" y="115"/>
                  </a:lnTo>
                  <a:lnTo>
                    <a:pt x="846" y="115"/>
                  </a:lnTo>
                  <a:lnTo>
                    <a:pt x="851" y="115"/>
                  </a:lnTo>
                  <a:lnTo>
                    <a:pt x="855" y="119"/>
                  </a:lnTo>
                  <a:lnTo>
                    <a:pt x="860" y="119"/>
                  </a:lnTo>
                  <a:lnTo>
                    <a:pt x="869" y="119"/>
                  </a:lnTo>
                  <a:lnTo>
                    <a:pt x="873" y="119"/>
                  </a:lnTo>
                  <a:lnTo>
                    <a:pt x="887" y="124"/>
                  </a:lnTo>
                  <a:lnTo>
                    <a:pt x="892" y="124"/>
                  </a:lnTo>
                  <a:lnTo>
                    <a:pt x="896" y="124"/>
                  </a:lnTo>
                  <a:lnTo>
                    <a:pt x="896" y="128"/>
                  </a:lnTo>
                  <a:lnTo>
                    <a:pt x="896" y="128"/>
                  </a:lnTo>
                  <a:lnTo>
                    <a:pt x="901" y="133"/>
                  </a:lnTo>
                  <a:lnTo>
                    <a:pt x="905" y="133"/>
                  </a:lnTo>
                  <a:lnTo>
                    <a:pt x="910" y="138"/>
                  </a:lnTo>
                  <a:lnTo>
                    <a:pt x="910" y="142"/>
                  </a:lnTo>
                  <a:lnTo>
                    <a:pt x="915" y="142"/>
                  </a:lnTo>
                  <a:lnTo>
                    <a:pt x="919" y="142"/>
                  </a:lnTo>
                  <a:lnTo>
                    <a:pt x="919" y="142"/>
                  </a:lnTo>
                  <a:lnTo>
                    <a:pt x="919" y="147"/>
                  </a:lnTo>
                  <a:lnTo>
                    <a:pt x="924" y="147"/>
                  </a:lnTo>
                  <a:lnTo>
                    <a:pt x="924" y="151"/>
                  </a:lnTo>
                  <a:lnTo>
                    <a:pt x="928" y="156"/>
                  </a:lnTo>
                  <a:lnTo>
                    <a:pt x="933" y="160"/>
                  </a:lnTo>
                  <a:lnTo>
                    <a:pt x="933" y="165"/>
                  </a:lnTo>
                  <a:lnTo>
                    <a:pt x="937" y="165"/>
                  </a:lnTo>
                  <a:lnTo>
                    <a:pt x="937" y="165"/>
                  </a:lnTo>
                  <a:lnTo>
                    <a:pt x="937" y="165"/>
                  </a:lnTo>
                  <a:lnTo>
                    <a:pt x="942" y="165"/>
                  </a:lnTo>
                  <a:lnTo>
                    <a:pt x="942" y="170"/>
                  </a:lnTo>
                  <a:lnTo>
                    <a:pt x="942" y="174"/>
                  </a:lnTo>
                  <a:lnTo>
                    <a:pt x="942" y="179"/>
                  </a:lnTo>
                  <a:lnTo>
                    <a:pt x="942" y="183"/>
                  </a:lnTo>
                  <a:lnTo>
                    <a:pt x="947" y="183"/>
                  </a:lnTo>
                  <a:lnTo>
                    <a:pt x="947" y="183"/>
                  </a:lnTo>
                  <a:lnTo>
                    <a:pt x="947" y="188"/>
                  </a:lnTo>
                  <a:lnTo>
                    <a:pt x="947" y="192"/>
                  </a:lnTo>
                  <a:lnTo>
                    <a:pt x="947" y="202"/>
                  </a:lnTo>
                  <a:lnTo>
                    <a:pt x="947" y="206"/>
                  </a:lnTo>
                  <a:lnTo>
                    <a:pt x="942" y="206"/>
                  </a:lnTo>
                  <a:lnTo>
                    <a:pt x="942" y="229"/>
                  </a:lnTo>
                  <a:lnTo>
                    <a:pt x="942" y="234"/>
                  </a:lnTo>
                  <a:lnTo>
                    <a:pt x="942" y="238"/>
                  </a:lnTo>
                  <a:lnTo>
                    <a:pt x="942" y="243"/>
                  </a:lnTo>
                  <a:lnTo>
                    <a:pt x="942" y="252"/>
                  </a:lnTo>
                  <a:lnTo>
                    <a:pt x="942" y="261"/>
                  </a:lnTo>
                  <a:lnTo>
                    <a:pt x="942" y="275"/>
                  </a:lnTo>
                  <a:lnTo>
                    <a:pt x="947" y="288"/>
                  </a:lnTo>
                  <a:lnTo>
                    <a:pt x="947" y="293"/>
                  </a:lnTo>
                  <a:lnTo>
                    <a:pt x="947" y="293"/>
                  </a:lnTo>
                  <a:lnTo>
                    <a:pt x="947" y="298"/>
                  </a:lnTo>
                  <a:lnTo>
                    <a:pt x="947" y="302"/>
                  </a:lnTo>
                  <a:lnTo>
                    <a:pt x="947" y="307"/>
                  </a:lnTo>
                  <a:lnTo>
                    <a:pt x="942" y="307"/>
                  </a:lnTo>
                  <a:lnTo>
                    <a:pt x="942" y="307"/>
                  </a:lnTo>
                  <a:lnTo>
                    <a:pt x="937" y="311"/>
                  </a:lnTo>
                  <a:lnTo>
                    <a:pt x="928" y="311"/>
                  </a:lnTo>
                  <a:lnTo>
                    <a:pt x="919" y="316"/>
                  </a:lnTo>
                  <a:lnTo>
                    <a:pt x="919" y="316"/>
                  </a:lnTo>
                  <a:lnTo>
                    <a:pt x="924" y="325"/>
                  </a:lnTo>
                  <a:lnTo>
                    <a:pt x="928" y="325"/>
                  </a:lnTo>
                  <a:lnTo>
                    <a:pt x="937" y="325"/>
                  </a:lnTo>
                  <a:lnTo>
                    <a:pt x="942" y="330"/>
                  </a:lnTo>
                  <a:lnTo>
                    <a:pt x="942" y="330"/>
                  </a:lnTo>
                  <a:lnTo>
                    <a:pt x="951" y="330"/>
                  </a:lnTo>
                  <a:lnTo>
                    <a:pt x="956" y="330"/>
                  </a:lnTo>
                  <a:lnTo>
                    <a:pt x="960" y="334"/>
                  </a:lnTo>
                  <a:lnTo>
                    <a:pt x="960" y="339"/>
                  </a:lnTo>
                  <a:lnTo>
                    <a:pt x="965" y="339"/>
                  </a:lnTo>
                  <a:lnTo>
                    <a:pt x="965" y="343"/>
                  </a:lnTo>
                  <a:lnTo>
                    <a:pt x="969" y="348"/>
                  </a:lnTo>
                  <a:lnTo>
                    <a:pt x="969" y="352"/>
                  </a:lnTo>
                  <a:lnTo>
                    <a:pt x="974" y="357"/>
                  </a:lnTo>
                  <a:lnTo>
                    <a:pt x="979" y="362"/>
                  </a:lnTo>
                  <a:lnTo>
                    <a:pt x="983" y="362"/>
                  </a:lnTo>
                  <a:lnTo>
                    <a:pt x="983" y="362"/>
                  </a:lnTo>
                  <a:lnTo>
                    <a:pt x="983" y="362"/>
                  </a:lnTo>
                  <a:lnTo>
                    <a:pt x="992" y="366"/>
                  </a:lnTo>
                  <a:lnTo>
                    <a:pt x="997" y="366"/>
                  </a:lnTo>
                  <a:lnTo>
                    <a:pt x="1001" y="366"/>
                  </a:lnTo>
                  <a:lnTo>
                    <a:pt x="1006" y="362"/>
                  </a:lnTo>
                  <a:lnTo>
                    <a:pt x="1006" y="362"/>
                  </a:lnTo>
                  <a:lnTo>
                    <a:pt x="1011" y="366"/>
                  </a:lnTo>
                  <a:lnTo>
                    <a:pt x="1011" y="371"/>
                  </a:lnTo>
                  <a:lnTo>
                    <a:pt x="1006" y="371"/>
                  </a:lnTo>
                  <a:lnTo>
                    <a:pt x="1006" y="375"/>
                  </a:lnTo>
                  <a:lnTo>
                    <a:pt x="1006" y="380"/>
                  </a:lnTo>
                  <a:lnTo>
                    <a:pt x="1006" y="384"/>
                  </a:lnTo>
                  <a:lnTo>
                    <a:pt x="1006" y="389"/>
                  </a:lnTo>
                  <a:lnTo>
                    <a:pt x="1006" y="403"/>
                  </a:lnTo>
                  <a:lnTo>
                    <a:pt x="1006" y="407"/>
                  </a:lnTo>
                  <a:lnTo>
                    <a:pt x="1006" y="412"/>
                  </a:lnTo>
                  <a:lnTo>
                    <a:pt x="1011" y="426"/>
                  </a:lnTo>
                  <a:lnTo>
                    <a:pt x="1015" y="426"/>
                  </a:lnTo>
                  <a:lnTo>
                    <a:pt x="1020" y="426"/>
                  </a:lnTo>
                  <a:lnTo>
                    <a:pt x="1020" y="430"/>
                  </a:lnTo>
                  <a:lnTo>
                    <a:pt x="1024" y="435"/>
                  </a:lnTo>
                  <a:lnTo>
                    <a:pt x="1024" y="444"/>
                  </a:lnTo>
                  <a:lnTo>
                    <a:pt x="1024" y="448"/>
                  </a:lnTo>
                  <a:lnTo>
                    <a:pt x="1024" y="462"/>
                  </a:lnTo>
                  <a:lnTo>
                    <a:pt x="1024" y="467"/>
                  </a:lnTo>
                  <a:lnTo>
                    <a:pt x="1020" y="471"/>
                  </a:lnTo>
                  <a:lnTo>
                    <a:pt x="1015" y="476"/>
                  </a:lnTo>
                  <a:lnTo>
                    <a:pt x="1015" y="480"/>
                  </a:lnTo>
                  <a:lnTo>
                    <a:pt x="1011" y="485"/>
                  </a:lnTo>
                  <a:lnTo>
                    <a:pt x="1006" y="490"/>
                  </a:lnTo>
                  <a:lnTo>
                    <a:pt x="1006" y="494"/>
                  </a:lnTo>
                  <a:lnTo>
                    <a:pt x="1001" y="494"/>
                  </a:lnTo>
                  <a:lnTo>
                    <a:pt x="1001" y="494"/>
                  </a:lnTo>
                  <a:lnTo>
                    <a:pt x="997" y="494"/>
                  </a:lnTo>
                  <a:lnTo>
                    <a:pt x="992" y="499"/>
                  </a:lnTo>
                  <a:lnTo>
                    <a:pt x="988" y="503"/>
                  </a:lnTo>
                  <a:lnTo>
                    <a:pt x="983" y="508"/>
                  </a:lnTo>
                  <a:lnTo>
                    <a:pt x="983" y="512"/>
                  </a:lnTo>
                  <a:lnTo>
                    <a:pt x="983" y="517"/>
                  </a:lnTo>
                  <a:lnTo>
                    <a:pt x="983" y="526"/>
                  </a:lnTo>
                  <a:lnTo>
                    <a:pt x="983" y="535"/>
                  </a:lnTo>
                  <a:lnTo>
                    <a:pt x="983" y="554"/>
                  </a:lnTo>
                  <a:lnTo>
                    <a:pt x="983" y="558"/>
                  </a:lnTo>
                  <a:lnTo>
                    <a:pt x="983" y="563"/>
                  </a:lnTo>
                  <a:lnTo>
                    <a:pt x="983" y="567"/>
                  </a:lnTo>
                  <a:lnTo>
                    <a:pt x="983" y="572"/>
                  </a:lnTo>
                  <a:lnTo>
                    <a:pt x="983" y="576"/>
                  </a:lnTo>
                  <a:lnTo>
                    <a:pt x="983" y="581"/>
                  </a:lnTo>
                  <a:lnTo>
                    <a:pt x="979" y="581"/>
                  </a:lnTo>
                  <a:lnTo>
                    <a:pt x="979" y="590"/>
                  </a:lnTo>
                  <a:lnTo>
                    <a:pt x="974" y="590"/>
                  </a:lnTo>
                  <a:lnTo>
                    <a:pt x="974" y="595"/>
                  </a:lnTo>
                  <a:lnTo>
                    <a:pt x="974" y="599"/>
                  </a:lnTo>
                  <a:lnTo>
                    <a:pt x="974" y="604"/>
                  </a:lnTo>
                  <a:lnTo>
                    <a:pt x="965" y="608"/>
                  </a:lnTo>
                  <a:lnTo>
                    <a:pt x="965" y="613"/>
                  </a:lnTo>
                  <a:lnTo>
                    <a:pt x="965" y="618"/>
                  </a:lnTo>
                  <a:lnTo>
                    <a:pt x="960" y="622"/>
                  </a:lnTo>
                  <a:lnTo>
                    <a:pt x="960" y="631"/>
                  </a:lnTo>
                  <a:lnTo>
                    <a:pt x="960" y="636"/>
                  </a:lnTo>
                  <a:lnTo>
                    <a:pt x="960" y="659"/>
                  </a:lnTo>
                  <a:lnTo>
                    <a:pt x="960" y="663"/>
                  </a:lnTo>
                  <a:lnTo>
                    <a:pt x="960" y="668"/>
                  </a:lnTo>
                  <a:lnTo>
                    <a:pt x="960" y="672"/>
                  </a:lnTo>
                  <a:lnTo>
                    <a:pt x="960" y="677"/>
                  </a:lnTo>
                  <a:lnTo>
                    <a:pt x="960" y="686"/>
                  </a:lnTo>
                  <a:lnTo>
                    <a:pt x="960" y="691"/>
                  </a:lnTo>
                  <a:lnTo>
                    <a:pt x="960" y="691"/>
                  </a:lnTo>
                  <a:lnTo>
                    <a:pt x="960" y="695"/>
                  </a:lnTo>
                  <a:lnTo>
                    <a:pt x="956" y="700"/>
                  </a:lnTo>
                  <a:lnTo>
                    <a:pt x="956" y="704"/>
                  </a:lnTo>
                  <a:lnTo>
                    <a:pt x="956" y="709"/>
                  </a:lnTo>
                  <a:lnTo>
                    <a:pt x="951" y="714"/>
                  </a:lnTo>
                  <a:lnTo>
                    <a:pt x="947" y="727"/>
                  </a:lnTo>
                  <a:lnTo>
                    <a:pt x="942" y="732"/>
                  </a:lnTo>
                  <a:lnTo>
                    <a:pt x="942" y="736"/>
                  </a:lnTo>
                  <a:lnTo>
                    <a:pt x="942" y="741"/>
                  </a:lnTo>
                  <a:lnTo>
                    <a:pt x="942" y="750"/>
                  </a:lnTo>
                  <a:lnTo>
                    <a:pt x="942" y="759"/>
                  </a:lnTo>
                  <a:lnTo>
                    <a:pt x="942" y="768"/>
                  </a:lnTo>
                  <a:lnTo>
                    <a:pt x="942" y="773"/>
                  </a:lnTo>
                  <a:lnTo>
                    <a:pt x="942" y="778"/>
                  </a:lnTo>
                  <a:lnTo>
                    <a:pt x="947" y="778"/>
                  </a:lnTo>
                  <a:lnTo>
                    <a:pt x="947" y="782"/>
                  </a:lnTo>
                  <a:lnTo>
                    <a:pt x="951" y="787"/>
                  </a:lnTo>
                  <a:lnTo>
                    <a:pt x="951" y="791"/>
                  </a:lnTo>
                  <a:lnTo>
                    <a:pt x="956" y="791"/>
                  </a:lnTo>
                  <a:lnTo>
                    <a:pt x="956" y="791"/>
                  </a:lnTo>
                  <a:lnTo>
                    <a:pt x="960" y="800"/>
                  </a:lnTo>
                  <a:lnTo>
                    <a:pt x="969" y="810"/>
                  </a:lnTo>
                  <a:lnTo>
                    <a:pt x="974" y="810"/>
                  </a:lnTo>
                  <a:lnTo>
                    <a:pt x="974" y="814"/>
                  </a:lnTo>
                  <a:lnTo>
                    <a:pt x="979" y="814"/>
                  </a:lnTo>
                  <a:lnTo>
                    <a:pt x="983" y="814"/>
                  </a:lnTo>
                  <a:lnTo>
                    <a:pt x="983" y="819"/>
                  </a:lnTo>
                  <a:lnTo>
                    <a:pt x="983" y="819"/>
                  </a:lnTo>
                  <a:lnTo>
                    <a:pt x="988" y="819"/>
                  </a:lnTo>
                  <a:lnTo>
                    <a:pt x="988" y="823"/>
                  </a:lnTo>
                  <a:lnTo>
                    <a:pt x="992" y="823"/>
                  </a:lnTo>
                  <a:lnTo>
                    <a:pt x="997" y="828"/>
                  </a:lnTo>
                  <a:lnTo>
                    <a:pt x="997" y="832"/>
                  </a:lnTo>
                  <a:lnTo>
                    <a:pt x="997" y="837"/>
                  </a:lnTo>
                  <a:lnTo>
                    <a:pt x="992" y="842"/>
                  </a:lnTo>
                  <a:lnTo>
                    <a:pt x="992" y="842"/>
                  </a:lnTo>
                  <a:lnTo>
                    <a:pt x="988" y="846"/>
                  </a:lnTo>
                  <a:lnTo>
                    <a:pt x="988" y="851"/>
                  </a:lnTo>
                  <a:lnTo>
                    <a:pt x="983" y="855"/>
                  </a:lnTo>
                  <a:lnTo>
                    <a:pt x="983" y="860"/>
                  </a:lnTo>
                  <a:lnTo>
                    <a:pt x="983" y="864"/>
                  </a:lnTo>
                  <a:lnTo>
                    <a:pt x="983" y="864"/>
                  </a:lnTo>
                  <a:lnTo>
                    <a:pt x="979" y="869"/>
                  </a:lnTo>
                  <a:lnTo>
                    <a:pt x="979" y="874"/>
                  </a:lnTo>
                  <a:lnTo>
                    <a:pt x="974" y="878"/>
                  </a:lnTo>
                  <a:lnTo>
                    <a:pt x="974" y="883"/>
                  </a:lnTo>
                  <a:lnTo>
                    <a:pt x="969" y="887"/>
                  </a:lnTo>
                  <a:lnTo>
                    <a:pt x="969" y="887"/>
                  </a:lnTo>
                  <a:lnTo>
                    <a:pt x="969" y="892"/>
                  </a:lnTo>
                  <a:lnTo>
                    <a:pt x="965" y="896"/>
                  </a:lnTo>
                  <a:lnTo>
                    <a:pt x="965" y="901"/>
                  </a:lnTo>
                  <a:lnTo>
                    <a:pt x="960" y="906"/>
                  </a:lnTo>
                  <a:lnTo>
                    <a:pt x="960" y="910"/>
                  </a:lnTo>
                  <a:lnTo>
                    <a:pt x="960" y="915"/>
                  </a:lnTo>
                  <a:lnTo>
                    <a:pt x="960" y="919"/>
                  </a:lnTo>
                  <a:lnTo>
                    <a:pt x="956" y="924"/>
                  </a:lnTo>
                  <a:lnTo>
                    <a:pt x="956" y="929"/>
                  </a:lnTo>
                  <a:lnTo>
                    <a:pt x="956" y="933"/>
                  </a:lnTo>
                  <a:lnTo>
                    <a:pt x="956" y="938"/>
                  </a:lnTo>
                  <a:lnTo>
                    <a:pt x="951" y="942"/>
                  </a:lnTo>
                  <a:lnTo>
                    <a:pt x="947" y="942"/>
                  </a:lnTo>
                  <a:lnTo>
                    <a:pt x="942" y="947"/>
                  </a:lnTo>
                  <a:lnTo>
                    <a:pt x="942" y="951"/>
                  </a:lnTo>
                  <a:lnTo>
                    <a:pt x="937" y="951"/>
                  </a:lnTo>
                  <a:lnTo>
                    <a:pt x="933" y="951"/>
                  </a:lnTo>
                  <a:lnTo>
                    <a:pt x="928" y="951"/>
                  </a:lnTo>
                  <a:lnTo>
                    <a:pt x="924" y="951"/>
                  </a:lnTo>
                  <a:lnTo>
                    <a:pt x="915" y="951"/>
                  </a:lnTo>
                  <a:lnTo>
                    <a:pt x="910" y="951"/>
                  </a:lnTo>
                  <a:lnTo>
                    <a:pt x="901" y="951"/>
                  </a:lnTo>
                  <a:lnTo>
                    <a:pt x="896" y="947"/>
                  </a:lnTo>
                  <a:lnTo>
                    <a:pt x="896" y="942"/>
                  </a:lnTo>
                  <a:lnTo>
                    <a:pt x="892" y="942"/>
                  </a:lnTo>
                  <a:lnTo>
                    <a:pt x="892" y="938"/>
                  </a:lnTo>
                  <a:lnTo>
                    <a:pt x="887" y="938"/>
                  </a:lnTo>
                  <a:lnTo>
                    <a:pt x="887" y="933"/>
                  </a:lnTo>
                  <a:lnTo>
                    <a:pt x="883" y="933"/>
                  </a:lnTo>
                  <a:lnTo>
                    <a:pt x="883" y="929"/>
                  </a:lnTo>
                  <a:lnTo>
                    <a:pt x="878" y="924"/>
                  </a:lnTo>
                  <a:lnTo>
                    <a:pt x="873" y="919"/>
                  </a:lnTo>
                  <a:lnTo>
                    <a:pt x="873" y="915"/>
                  </a:lnTo>
                  <a:lnTo>
                    <a:pt x="869" y="910"/>
                  </a:lnTo>
                  <a:lnTo>
                    <a:pt x="869" y="910"/>
                  </a:lnTo>
                  <a:lnTo>
                    <a:pt x="864" y="906"/>
                  </a:lnTo>
                  <a:lnTo>
                    <a:pt x="860" y="906"/>
                  </a:lnTo>
                  <a:lnTo>
                    <a:pt x="855" y="906"/>
                  </a:lnTo>
                  <a:lnTo>
                    <a:pt x="846" y="906"/>
                  </a:lnTo>
                  <a:lnTo>
                    <a:pt x="841" y="901"/>
                  </a:lnTo>
                  <a:lnTo>
                    <a:pt x="832" y="906"/>
                  </a:lnTo>
                  <a:lnTo>
                    <a:pt x="828" y="906"/>
                  </a:lnTo>
                  <a:lnTo>
                    <a:pt x="823" y="906"/>
                  </a:lnTo>
                  <a:lnTo>
                    <a:pt x="819" y="910"/>
                  </a:lnTo>
                  <a:lnTo>
                    <a:pt x="814" y="910"/>
                  </a:lnTo>
                  <a:lnTo>
                    <a:pt x="814" y="910"/>
                  </a:lnTo>
                  <a:lnTo>
                    <a:pt x="809" y="915"/>
                  </a:lnTo>
                  <a:lnTo>
                    <a:pt x="809" y="919"/>
                  </a:lnTo>
                  <a:lnTo>
                    <a:pt x="809" y="924"/>
                  </a:lnTo>
                  <a:lnTo>
                    <a:pt x="805" y="924"/>
                  </a:lnTo>
                  <a:lnTo>
                    <a:pt x="805" y="929"/>
                  </a:lnTo>
                  <a:lnTo>
                    <a:pt x="800" y="933"/>
                  </a:lnTo>
                  <a:lnTo>
                    <a:pt x="796" y="933"/>
                  </a:lnTo>
                  <a:lnTo>
                    <a:pt x="791" y="933"/>
                  </a:lnTo>
                  <a:lnTo>
                    <a:pt x="791" y="938"/>
                  </a:lnTo>
                  <a:lnTo>
                    <a:pt x="791" y="938"/>
                  </a:lnTo>
                  <a:lnTo>
                    <a:pt x="787" y="942"/>
                  </a:lnTo>
                  <a:lnTo>
                    <a:pt x="787" y="947"/>
                  </a:lnTo>
                  <a:lnTo>
                    <a:pt x="782" y="951"/>
                  </a:lnTo>
                  <a:lnTo>
                    <a:pt x="777" y="951"/>
                  </a:lnTo>
                  <a:lnTo>
                    <a:pt x="773" y="951"/>
                  </a:lnTo>
                  <a:lnTo>
                    <a:pt x="768" y="951"/>
                  </a:lnTo>
                  <a:lnTo>
                    <a:pt x="768" y="951"/>
                  </a:lnTo>
                  <a:lnTo>
                    <a:pt x="764" y="938"/>
                  </a:lnTo>
                  <a:lnTo>
                    <a:pt x="764" y="933"/>
                  </a:lnTo>
                  <a:lnTo>
                    <a:pt x="768" y="915"/>
                  </a:lnTo>
                  <a:lnTo>
                    <a:pt x="768" y="910"/>
                  </a:lnTo>
                  <a:lnTo>
                    <a:pt x="768" y="906"/>
                  </a:lnTo>
                  <a:lnTo>
                    <a:pt x="768" y="896"/>
                  </a:lnTo>
                  <a:lnTo>
                    <a:pt x="768" y="892"/>
                  </a:lnTo>
                  <a:lnTo>
                    <a:pt x="764" y="887"/>
                  </a:lnTo>
                  <a:lnTo>
                    <a:pt x="764" y="887"/>
                  </a:lnTo>
                  <a:lnTo>
                    <a:pt x="764" y="883"/>
                  </a:lnTo>
                  <a:lnTo>
                    <a:pt x="764" y="878"/>
                  </a:lnTo>
                  <a:lnTo>
                    <a:pt x="759" y="878"/>
                  </a:lnTo>
                  <a:lnTo>
                    <a:pt x="759" y="874"/>
                  </a:lnTo>
                  <a:lnTo>
                    <a:pt x="755" y="869"/>
                  </a:lnTo>
                  <a:lnTo>
                    <a:pt x="755" y="864"/>
                  </a:lnTo>
                  <a:lnTo>
                    <a:pt x="750" y="864"/>
                  </a:lnTo>
                  <a:lnTo>
                    <a:pt x="750" y="864"/>
                  </a:lnTo>
                  <a:lnTo>
                    <a:pt x="745" y="860"/>
                  </a:lnTo>
                  <a:lnTo>
                    <a:pt x="745" y="855"/>
                  </a:lnTo>
                  <a:lnTo>
                    <a:pt x="741" y="846"/>
                  </a:lnTo>
                  <a:lnTo>
                    <a:pt x="741" y="842"/>
                  </a:lnTo>
                  <a:lnTo>
                    <a:pt x="741" y="837"/>
                  </a:lnTo>
                  <a:lnTo>
                    <a:pt x="741" y="832"/>
                  </a:lnTo>
                  <a:lnTo>
                    <a:pt x="736" y="832"/>
                  </a:lnTo>
                  <a:lnTo>
                    <a:pt x="736" y="823"/>
                  </a:lnTo>
                  <a:lnTo>
                    <a:pt x="732" y="823"/>
                  </a:lnTo>
                  <a:lnTo>
                    <a:pt x="732" y="819"/>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8" name="Freeform 25">
              <a:extLst>
                <a:ext uri="{FF2B5EF4-FFF2-40B4-BE49-F238E27FC236}">
                  <a16:creationId xmlns:a16="http://schemas.microsoft.com/office/drawing/2014/main" id="{DDD8BD7F-0678-47C7-8E2A-8196B29C8191}"/>
                </a:ext>
              </a:extLst>
            </p:cNvPr>
            <p:cNvSpPr>
              <a:spLocks/>
            </p:cNvSpPr>
            <p:nvPr>
              <p:custDataLst>
                <p:tags r:id="rId20"/>
              </p:custDataLst>
            </p:nvPr>
          </p:nvSpPr>
          <p:spPr bwMode="auto">
            <a:xfrm>
              <a:off x="1787146" y="1310804"/>
              <a:ext cx="575527" cy="785665"/>
            </a:xfrm>
            <a:custGeom>
              <a:avLst/>
              <a:gdLst/>
              <a:ahLst/>
              <a:cxnLst>
                <a:cxn ang="0">
                  <a:pos x="430" y="594"/>
                </a:cxn>
                <a:cxn ang="0">
                  <a:pos x="430" y="667"/>
                </a:cxn>
                <a:cxn ang="0">
                  <a:pos x="453" y="709"/>
                </a:cxn>
                <a:cxn ang="0">
                  <a:pos x="439" y="750"/>
                </a:cxn>
                <a:cxn ang="0">
                  <a:pos x="411" y="777"/>
                </a:cxn>
                <a:cxn ang="0">
                  <a:pos x="375" y="754"/>
                </a:cxn>
                <a:cxn ang="0">
                  <a:pos x="334" y="736"/>
                </a:cxn>
                <a:cxn ang="0">
                  <a:pos x="357" y="704"/>
                </a:cxn>
                <a:cxn ang="0">
                  <a:pos x="352" y="617"/>
                </a:cxn>
                <a:cxn ang="0">
                  <a:pos x="352" y="581"/>
                </a:cxn>
                <a:cxn ang="0">
                  <a:pos x="329" y="553"/>
                </a:cxn>
                <a:cxn ang="0">
                  <a:pos x="306" y="535"/>
                </a:cxn>
                <a:cxn ang="0">
                  <a:pos x="247" y="521"/>
                </a:cxn>
                <a:cxn ang="0">
                  <a:pos x="219" y="485"/>
                </a:cxn>
                <a:cxn ang="0">
                  <a:pos x="187" y="466"/>
                </a:cxn>
                <a:cxn ang="0">
                  <a:pos x="178" y="416"/>
                </a:cxn>
                <a:cxn ang="0">
                  <a:pos x="142" y="425"/>
                </a:cxn>
                <a:cxn ang="0">
                  <a:pos x="87" y="457"/>
                </a:cxn>
                <a:cxn ang="0">
                  <a:pos x="46" y="471"/>
                </a:cxn>
                <a:cxn ang="0">
                  <a:pos x="14" y="439"/>
                </a:cxn>
                <a:cxn ang="0">
                  <a:pos x="18" y="407"/>
                </a:cxn>
                <a:cxn ang="0">
                  <a:pos x="41" y="379"/>
                </a:cxn>
                <a:cxn ang="0">
                  <a:pos x="91" y="357"/>
                </a:cxn>
                <a:cxn ang="0">
                  <a:pos x="78" y="311"/>
                </a:cxn>
                <a:cxn ang="0">
                  <a:pos x="64" y="270"/>
                </a:cxn>
                <a:cxn ang="0">
                  <a:pos x="64" y="206"/>
                </a:cxn>
                <a:cxn ang="0">
                  <a:pos x="55" y="137"/>
                </a:cxn>
                <a:cxn ang="0">
                  <a:pos x="101" y="101"/>
                </a:cxn>
                <a:cxn ang="0">
                  <a:pos x="151" y="91"/>
                </a:cxn>
                <a:cxn ang="0">
                  <a:pos x="183" y="64"/>
                </a:cxn>
                <a:cxn ang="0">
                  <a:pos x="206" y="23"/>
                </a:cxn>
                <a:cxn ang="0">
                  <a:pos x="242" y="18"/>
                </a:cxn>
                <a:cxn ang="0">
                  <a:pos x="261" y="50"/>
                </a:cxn>
                <a:cxn ang="0">
                  <a:pos x="274" y="46"/>
                </a:cxn>
                <a:cxn ang="0">
                  <a:pos x="302" y="9"/>
                </a:cxn>
                <a:cxn ang="0">
                  <a:pos x="347" y="0"/>
                </a:cxn>
                <a:cxn ang="0">
                  <a:pos x="384" y="9"/>
                </a:cxn>
                <a:cxn ang="0">
                  <a:pos x="393" y="46"/>
                </a:cxn>
                <a:cxn ang="0">
                  <a:pos x="425" y="69"/>
                </a:cxn>
                <a:cxn ang="0">
                  <a:pos x="425" y="96"/>
                </a:cxn>
                <a:cxn ang="0">
                  <a:pos x="471" y="114"/>
                </a:cxn>
                <a:cxn ang="0">
                  <a:pos x="494" y="146"/>
                </a:cxn>
                <a:cxn ang="0">
                  <a:pos x="494" y="178"/>
                </a:cxn>
                <a:cxn ang="0">
                  <a:pos x="512" y="201"/>
                </a:cxn>
                <a:cxn ang="0">
                  <a:pos x="544" y="206"/>
                </a:cxn>
                <a:cxn ang="0">
                  <a:pos x="571" y="201"/>
                </a:cxn>
                <a:cxn ang="0">
                  <a:pos x="594" y="224"/>
                </a:cxn>
                <a:cxn ang="0">
                  <a:pos x="590" y="283"/>
                </a:cxn>
                <a:cxn ang="0">
                  <a:pos x="571" y="311"/>
                </a:cxn>
                <a:cxn ang="0">
                  <a:pos x="603" y="329"/>
                </a:cxn>
                <a:cxn ang="0">
                  <a:pos x="608" y="357"/>
                </a:cxn>
                <a:cxn ang="0">
                  <a:pos x="640" y="389"/>
                </a:cxn>
                <a:cxn ang="0">
                  <a:pos x="645" y="416"/>
                </a:cxn>
                <a:cxn ang="0">
                  <a:pos x="613" y="439"/>
                </a:cxn>
                <a:cxn ang="0">
                  <a:pos x="590" y="475"/>
                </a:cxn>
                <a:cxn ang="0">
                  <a:pos x="553" y="485"/>
                </a:cxn>
                <a:cxn ang="0">
                  <a:pos x="526" y="503"/>
                </a:cxn>
                <a:cxn ang="0">
                  <a:pos x="489" y="535"/>
                </a:cxn>
                <a:cxn ang="0">
                  <a:pos x="466" y="567"/>
                </a:cxn>
              </a:cxnLst>
              <a:rect l="0" t="0" r="r" b="b"/>
              <a:pathLst>
                <a:path w="658" h="777">
                  <a:moveTo>
                    <a:pt x="439" y="576"/>
                  </a:moveTo>
                  <a:lnTo>
                    <a:pt x="439" y="576"/>
                  </a:lnTo>
                  <a:lnTo>
                    <a:pt x="439" y="576"/>
                  </a:lnTo>
                  <a:lnTo>
                    <a:pt x="434" y="576"/>
                  </a:lnTo>
                  <a:lnTo>
                    <a:pt x="434" y="581"/>
                  </a:lnTo>
                  <a:lnTo>
                    <a:pt x="434" y="585"/>
                  </a:lnTo>
                  <a:lnTo>
                    <a:pt x="430" y="585"/>
                  </a:lnTo>
                  <a:lnTo>
                    <a:pt x="430" y="590"/>
                  </a:lnTo>
                  <a:lnTo>
                    <a:pt x="430" y="594"/>
                  </a:lnTo>
                  <a:lnTo>
                    <a:pt x="430" y="594"/>
                  </a:lnTo>
                  <a:lnTo>
                    <a:pt x="430" y="599"/>
                  </a:lnTo>
                  <a:lnTo>
                    <a:pt x="430" y="613"/>
                  </a:lnTo>
                  <a:lnTo>
                    <a:pt x="430" y="617"/>
                  </a:lnTo>
                  <a:lnTo>
                    <a:pt x="425" y="631"/>
                  </a:lnTo>
                  <a:lnTo>
                    <a:pt x="425" y="645"/>
                  </a:lnTo>
                  <a:lnTo>
                    <a:pt x="425" y="649"/>
                  </a:lnTo>
                  <a:lnTo>
                    <a:pt x="425" y="654"/>
                  </a:lnTo>
                  <a:lnTo>
                    <a:pt x="430" y="663"/>
                  </a:lnTo>
                  <a:lnTo>
                    <a:pt x="430" y="663"/>
                  </a:lnTo>
                  <a:lnTo>
                    <a:pt x="430" y="667"/>
                  </a:lnTo>
                  <a:lnTo>
                    <a:pt x="434" y="672"/>
                  </a:lnTo>
                  <a:lnTo>
                    <a:pt x="439" y="677"/>
                  </a:lnTo>
                  <a:lnTo>
                    <a:pt x="439" y="681"/>
                  </a:lnTo>
                  <a:lnTo>
                    <a:pt x="439" y="686"/>
                  </a:lnTo>
                  <a:lnTo>
                    <a:pt x="443" y="686"/>
                  </a:lnTo>
                  <a:lnTo>
                    <a:pt x="443" y="690"/>
                  </a:lnTo>
                  <a:lnTo>
                    <a:pt x="448" y="690"/>
                  </a:lnTo>
                  <a:lnTo>
                    <a:pt x="453" y="695"/>
                  </a:lnTo>
                  <a:lnTo>
                    <a:pt x="453" y="704"/>
                  </a:lnTo>
                  <a:lnTo>
                    <a:pt x="453" y="709"/>
                  </a:lnTo>
                  <a:lnTo>
                    <a:pt x="453" y="718"/>
                  </a:lnTo>
                  <a:lnTo>
                    <a:pt x="453" y="722"/>
                  </a:lnTo>
                  <a:lnTo>
                    <a:pt x="453" y="727"/>
                  </a:lnTo>
                  <a:lnTo>
                    <a:pt x="453" y="727"/>
                  </a:lnTo>
                  <a:lnTo>
                    <a:pt x="453" y="736"/>
                  </a:lnTo>
                  <a:lnTo>
                    <a:pt x="448" y="741"/>
                  </a:lnTo>
                  <a:lnTo>
                    <a:pt x="448" y="745"/>
                  </a:lnTo>
                  <a:lnTo>
                    <a:pt x="443" y="745"/>
                  </a:lnTo>
                  <a:lnTo>
                    <a:pt x="443" y="750"/>
                  </a:lnTo>
                  <a:lnTo>
                    <a:pt x="439" y="750"/>
                  </a:lnTo>
                  <a:lnTo>
                    <a:pt x="439" y="754"/>
                  </a:lnTo>
                  <a:lnTo>
                    <a:pt x="434" y="759"/>
                  </a:lnTo>
                  <a:lnTo>
                    <a:pt x="434" y="763"/>
                  </a:lnTo>
                  <a:lnTo>
                    <a:pt x="430" y="768"/>
                  </a:lnTo>
                  <a:lnTo>
                    <a:pt x="430" y="773"/>
                  </a:lnTo>
                  <a:lnTo>
                    <a:pt x="425" y="773"/>
                  </a:lnTo>
                  <a:lnTo>
                    <a:pt x="421" y="777"/>
                  </a:lnTo>
                  <a:lnTo>
                    <a:pt x="416" y="773"/>
                  </a:lnTo>
                  <a:lnTo>
                    <a:pt x="416" y="773"/>
                  </a:lnTo>
                  <a:lnTo>
                    <a:pt x="411" y="777"/>
                  </a:lnTo>
                  <a:lnTo>
                    <a:pt x="407" y="777"/>
                  </a:lnTo>
                  <a:lnTo>
                    <a:pt x="402" y="777"/>
                  </a:lnTo>
                  <a:lnTo>
                    <a:pt x="393" y="773"/>
                  </a:lnTo>
                  <a:lnTo>
                    <a:pt x="393" y="773"/>
                  </a:lnTo>
                  <a:lnTo>
                    <a:pt x="393" y="773"/>
                  </a:lnTo>
                  <a:lnTo>
                    <a:pt x="389" y="773"/>
                  </a:lnTo>
                  <a:lnTo>
                    <a:pt x="384" y="768"/>
                  </a:lnTo>
                  <a:lnTo>
                    <a:pt x="379" y="763"/>
                  </a:lnTo>
                  <a:lnTo>
                    <a:pt x="379" y="759"/>
                  </a:lnTo>
                  <a:lnTo>
                    <a:pt x="375" y="754"/>
                  </a:lnTo>
                  <a:lnTo>
                    <a:pt x="375" y="750"/>
                  </a:lnTo>
                  <a:lnTo>
                    <a:pt x="370" y="750"/>
                  </a:lnTo>
                  <a:lnTo>
                    <a:pt x="370" y="745"/>
                  </a:lnTo>
                  <a:lnTo>
                    <a:pt x="366" y="741"/>
                  </a:lnTo>
                  <a:lnTo>
                    <a:pt x="361" y="741"/>
                  </a:lnTo>
                  <a:lnTo>
                    <a:pt x="352" y="741"/>
                  </a:lnTo>
                  <a:lnTo>
                    <a:pt x="352" y="741"/>
                  </a:lnTo>
                  <a:lnTo>
                    <a:pt x="347" y="736"/>
                  </a:lnTo>
                  <a:lnTo>
                    <a:pt x="338" y="736"/>
                  </a:lnTo>
                  <a:lnTo>
                    <a:pt x="334" y="736"/>
                  </a:lnTo>
                  <a:lnTo>
                    <a:pt x="329" y="727"/>
                  </a:lnTo>
                  <a:lnTo>
                    <a:pt x="329" y="727"/>
                  </a:lnTo>
                  <a:lnTo>
                    <a:pt x="338" y="722"/>
                  </a:lnTo>
                  <a:lnTo>
                    <a:pt x="347" y="722"/>
                  </a:lnTo>
                  <a:lnTo>
                    <a:pt x="352" y="718"/>
                  </a:lnTo>
                  <a:lnTo>
                    <a:pt x="352" y="718"/>
                  </a:lnTo>
                  <a:lnTo>
                    <a:pt x="357" y="718"/>
                  </a:lnTo>
                  <a:lnTo>
                    <a:pt x="357" y="713"/>
                  </a:lnTo>
                  <a:lnTo>
                    <a:pt x="357" y="709"/>
                  </a:lnTo>
                  <a:lnTo>
                    <a:pt x="357" y="704"/>
                  </a:lnTo>
                  <a:lnTo>
                    <a:pt x="357" y="704"/>
                  </a:lnTo>
                  <a:lnTo>
                    <a:pt x="357" y="699"/>
                  </a:lnTo>
                  <a:lnTo>
                    <a:pt x="352" y="686"/>
                  </a:lnTo>
                  <a:lnTo>
                    <a:pt x="352" y="672"/>
                  </a:lnTo>
                  <a:lnTo>
                    <a:pt x="352" y="663"/>
                  </a:lnTo>
                  <a:lnTo>
                    <a:pt x="352" y="654"/>
                  </a:lnTo>
                  <a:lnTo>
                    <a:pt x="352" y="649"/>
                  </a:lnTo>
                  <a:lnTo>
                    <a:pt x="352" y="645"/>
                  </a:lnTo>
                  <a:lnTo>
                    <a:pt x="352" y="640"/>
                  </a:lnTo>
                  <a:lnTo>
                    <a:pt x="352" y="617"/>
                  </a:lnTo>
                  <a:lnTo>
                    <a:pt x="357" y="617"/>
                  </a:lnTo>
                  <a:lnTo>
                    <a:pt x="357" y="613"/>
                  </a:lnTo>
                  <a:lnTo>
                    <a:pt x="357" y="603"/>
                  </a:lnTo>
                  <a:lnTo>
                    <a:pt x="357" y="599"/>
                  </a:lnTo>
                  <a:lnTo>
                    <a:pt x="357" y="594"/>
                  </a:lnTo>
                  <a:lnTo>
                    <a:pt x="357" y="594"/>
                  </a:lnTo>
                  <a:lnTo>
                    <a:pt x="352" y="594"/>
                  </a:lnTo>
                  <a:lnTo>
                    <a:pt x="352" y="590"/>
                  </a:lnTo>
                  <a:lnTo>
                    <a:pt x="352" y="585"/>
                  </a:lnTo>
                  <a:lnTo>
                    <a:pt x="352" y="581"/>
                  </a:lnTo>
                  <a:lnTo>
                    <a:pt x="352" y="576"/>
                  </a:lnTo>
                  <a:lnTo>
                    <a:pt x="347" y="576"/>
                  </a:lnTo>
                  <a:lnTo>
                    <a:pt x="347" y="576"/>
                  </a:lnTo>
                  <a:lnTo>
                    <a:pt x="343" y="576"/>
                  </a:lnTo>
                  <a:lnTo>
                    <a:pt x="343" y="571"/>
                  </a:lnTo>
                  <a:lnTo>
                    <a:pt x="338" y="567"/>
                  </a:lnTo>
                  <a:lnTo>
                    <a:pt x="334" y="562"/>
                  </a:lnTo>
                  <a:lnTo>
                    <a:pt x="334" y="558"/>
                  </a:lnTo>
                  <a:lnTo>
                    <a:pt x="329" y="558"/>
                  </a:lnTo>
                  <a:lnTo>
                    <a:pt x="329" y="553"/>
                  </a:lnTo>
                  <a:lnTo>
                    <a:pt x="329" y="553"/>
                  </a:lnTo>
                  <a:lnTo>
                    <a:pt x="325" y="553"/>
                  </a:lnTo>
                  <a:lnTo>
                    <a:pt x="320" y="553"/>
                  </a:lnTo>
                  <a:lnTo>
                    <a:pt x="320" y="549"/>
                  </a:lnTo>
                  <a:lnTo>
                    <a:pt x="315" y="544"/>
                  </a:lnTo>
                  <a:lnTo>
                    <a:pt x="311" y="544"/>
                  </a:lnTo>
                  <a:lnTo>
                    <a:pt x="311" y="544"/>
                  </a:lnTo>
                  <a:lnTo>
                    <a:pt x="306" y="539"/>
                  </a:lnTo>
                  <a:lnTo>
                    <a:pt x="306" y="539"/>
                  </a:lnTo>
                  <a:lnTo>
                    <a:pt x="306" y="535"/>
                  </a:lnTo>
                  <a:lnTo>
                    <a:pt x="302" y="535"/>
                  </a:lnTo>
                  <a:lnTo>
                    <a:pt x="297" y="535"/>
                  </a:lnTo>
                  <a:lnTo>
                    <a:pt x="283" y="530"/>
                  </a:lnTo>
                  <a:lnTo>
                    <a:pt x="279" y="530"/>
                  </a:lnTo>
                  <a:lnTo>
                    <a:pt x="270" y="530"/>
                  </a:lnTo>
                  <a:lnTo>
                    <a:pt x="265" y="530"/>
                  </a:lnTo>
                  <a:lnTo>
                    <a:pt x="261" y="526"/>
                  </a:lnTo>
                  <a:lnTo>
                    <a:pt x="256" y="526"/>
                  </a:lnTo>
                  <a:lnTo>
                    <a:pt x="251" y="526"/>
                  </a:lnTo>
                  <a:lnTo>
                    <a:pt x="247" y="521"/>
                  </a:lnTo>
                  <a:lnTo>
                    <a:pt x="242" y="517"/>
                  </a:lnTo>
                  <a:lnTo>
                    <a:pt x="242" y="512"/>
                  </a:lnTo>
                  <a:lnTo>
                    <a:pt x="238" y="507"/>
                  </a:lnTo>
                  <a:lnTo>
                    <a:pt x="238" y="498"/>
                  </a:lnTo>
                  <a:lnTo>
                    <a:pt x="238" y="494"/>
                  </a:lnTo>
                  <a:lnTo>
                    <a:pt x="233" y="494"/>
                  </a:lnTo>
                  <a:lnTo>
                    <a:pt x="233" y="489"/>
                  </a:lnTo>
                  <a:lnTo>
                    <a:pt x="229" y="489"/>
                  </a:lnTo>
                  <a:lnTo>
                    <a:pt x="224" y="489"/>
                  </a:lnTo>
                  <a:lnTo>
                    <a:pt x="219" y="485"/>
                  </a:lnTo>
                  <a:lnTo>
                    <a:pt x="219" y="485"/>
                  </a:lnTo>
                  <a:lnTo>
                    <a:pt x="215" y="485"/>
                  </a:lnTo>
                  <a:lnTo>
                    <a:pt x="210" y="485"/>
                  </a:lnTo>
                  <a:lnTo>
                    <a:pt x="206" y="480"/>
                  </a:lnTo>
                  <a:lnTo>
                    <a:pt x="201" y="480"/>
                  </a:lnTo>
                  <a:lnTo>
                    <a:pt x="197" y="480"/>
                  </a:lnTo>
                  <a:lnTo>
                    <a:pt x="197" y="475"/>
                  </a:lnTo>
                  <a:lnTo>
                    <a:pt x="192" y="475"/>
                  </a:lnTo>
                  <a:lnTo>
                    <a:pt x="192" y="471"/>
                  </a:lnTo>
                  <a:lnTo>
                    <a:pt x="187" y="466"/>
                  </a:lnTo>
                  <a:lnTo>
                    <a:pt x="187" y="462"/>
                  </a:lnTo>
                  <a:lnTo>
                    <a:pt x="183" y="462"/>
                  </a:lnTo>
                  <a:lnTo>
                    <a:pt x="183" y="457"/>
                  </a:lnTo>
                  <a:lnTo>
                    <a:pt x="187" y="453"/>
                  </a:lnTo>
                  <a:lnTo>
                    <a:pt x="187" y="448"/>
                  </a:lnTo>
                  <a:lnTo>
                    <a:pt x="192" y="439"/>
                  </a:lnTo>
                  <a:lnTo>
                    <a:pt x="192" y="434"/>
                  </a:lnTo>
                  <a:lnTo>
                    <a:pt x="192" y="430"/>
                  </a:lnTo>
                  <a:lnTo>
                    <a:pt x="183" y="421"/>
                  </a:lnTo>
                  <a:lnTo>
                    <a:pt x="178" y="416"/>
                  </a:lnTo>
                  <a:lnTo>
                    <a:pt x="174" y="411"/>
                  </a:lnTo>
                  <a:lnTo>
                    <a:pt x="174" y="411"/>
                  </a:lnTo>
                  <a:lnTo>
                    <a:pt x="174" y="416"/>
                  </a:lnTo>
                  <a:lnTo>
                    <a:pt x="169" y="416"/>
                  </a:lnTo>
                  <a:lnTo>
                    <a:pt x="165" y="416"/>
                  </a:lnTo>
                  <a:lnTo>
                    <a:pt x="165" y="421"/>
                  </a:lnTo>
                  <a:lnTo>
                    <a:pt x="160" y="421"/>
                  </a:lnTo>
                  <a:lnTo>
                    <a:pt x="151" y="421"/>
                  </a:lnTo>
                  <a:lnTo>
                    <a:pt x="146" y="425"/>
                  </a:lnTo>
                  <a:lnTo>
                    <a:pt x="142" y="425"/>
                  </a:lnTo>
                  <a:lnTo>
                    <a:pt x="137" y="425"/>
                  </a:lnTo>
                  <a:lnTo>
                    <a:pt x="133" y="425"/>
                  </a:lnTo>
                  <a:lnTo>
                    <a:pt x="133" y="430"/>
                  </a:lnTo>
                  <a:lnTo>
                    <a:pt x="123" y="434"/>
                  </a:lnTo>
                  <a:lnTo>
                    <a:pt x="119" y="434"/>
                  </a:lnTo>
                  <a:lnTo>
                    <a:pt x="110" y="439"/>
                  </a:lnTo>
                  <a:lnTo>
                    <a:pt x="110" y="439"/>
                  </a:lnTo>
                  <a:lnTo>
                    <a:pt x="101" y="448"/>
                  </a:lnTo>
                  <a:lnTo>
                    <a:pt x="96" y="448"/>
                  </a:lnTo>
                  <a:lnTo>
                    <a:pt x="87" y="457"/>
                  </a:lnTo>
                  <a:lnTo>
                    <a:pt x="87" y="462"/>
                  </a:lnTo>
                  <a:lnTo>
                    <a:pt x="82" y="466"/>
                  </a:lnTo>
                  <a:lnTo>
                    <a:pt x="78" y="466"/>
                  </a:lnTo>
                  <a:lnTo>
                    <a:pt x="78" y="466"/>
                  </a:lnTo>
                  <a:lnTo>
                    <a:pt x="73" y="466"/>
                  </a:lnTo>
                  <a:lnTo>
                    <a:pt x="69" y="471"/>
                  </a:lnTo>
                  <a:lnTo>
                    <a:pt x="64" y="471"/>
                  </a:lnTo>
                  <a:lnTo>
                    <a:pt x="64" y="471"/>
                  </a:lnTo>
                  <a:lnTo>
                    <a:pt x="55" y="471"/>
                  </a:lnTo>
                  <a:lnTo>
                    <a:pt x="46" y="471"/>
                  </a:lnTo>
                  <a:lnTo>
                    <a:pt x="41" y="471"/>
                  </a:lnTo>
                  <a:lnTo>
                    <a:pt x="41" y="471"/>
                  </a:lnTo>
                  <a:lnTo>
                    <a:pt x="27" y="466"/>
                  </a:lnTo>
                  <a:lnTo>
                    <a:pt x="27" y="462"/>
                  </a:lnTo>
                  <a:lnTo>
                    <a:pt x="27" y="457"/>
                  </a:lnTo>
                  <a:lnTo>
                    <a:pt x="23" y="453"/>
                  </a:lnTo>
                  <a:lnTo>
                    <a:pt x="18" y="443"/>
                  </a:lnTo>
                  <a:lnTo>
                    <a:pt x="18" y="443"/>
                  </a:lnTo>
                  <a:lnTo>
                    <a:pt x="14" y="443"/>
                  </a:lnTo>
                  <a:lnTo>
                    <a:pt x="14" y="439"/>
                  </a:lnTo>
                  <a:lnTo>
                    <a:pt x="9" y="434"/>
                  </a:lnTo>
                  <a:lnTo>
                    <a:pt x="5" y="430"/>
                  </a:lnTo>
                  <a:lnTo>
                    <a:pt x="5" y="425"/>
                  </a:lnTo>
                  <a:lnTo>
                    <a:pt x="0" y="421"/>
                  </a:lnTo>
                  <a:lnTo>
                    <a:pt x="0" y="421"/>
                  </a:lnTo>
                  <a:lnTo>
                    <a:pt x="5" y="421"/>
                  </a:lnTo>
                  <a:lnTo>
                    <a:pt x="9" y="411"/>
                  </a:lnTo>
                  <a:lnTo>
                    <a:pt x="14" y="411"/>
                  </a:lnTo>
                  <a:lnTo>
                    <a:pt x="14" y="407"/>
                  </a:lnTo>
                  <a:lnTo>
                    <a:pt x="18" y="407"/>
                  </a:lnTo>
                  <a:lnTo>
                    <a:pt x="23" y="407"/>
                  </a:lnTo>
                  <a:lnTo>
                    <a:pt x="23" y="402"/>
                  </a:lnTo>
                  <a:lnTo>
                    <a:pt x="23" y="398"/>
                  </a:lnTo>
                  <a:lnTo>
                    <a:pt x="23" y="393"/>
                  </a:lnTo>
                  <a:lnTo>
                    <a:pt x="27" y="389"/>
                  </a:lnTo>
                  <a:lnTo>
                    <a:pt x="27" y="384"/>
                  </a:lnTo>
                  <a:lnTo>
                    <a:pt x="32" y="384"/>
                  </a:lnTo>
                  <a:lnTo>
                    <a:pt x="37" y="384"/>
                  </a:lnTo>
                  <a:lnTo>
                    <a:pt x="41" y="379"/>
                  </a:lnTo>
                  <a:lnTo>
                    <a:pt x="41" y="379"/>
                  </a:lnTo>
                  <a:lnTo>
                    <a:pt x="50" y="375"/>
                  </a:lnTo>
                  <a:lnTo>
                    <a:pt x="55" y="375"/>
                  </a:lnTo>
                  <a:lnTo>
                    <a:pt x="59" y="375"/>
                  </a:lnTo>
                  <a:lnTo>
                    <a:pt x="73" y="375"/>
                  </a:lnTo>
                  <a:lnTo>
                    <a:pt x="78" y="375"/>
                  </a:lnTo>
                  <a:lnTo>
                    <a:pt x="87" y="370"/>
                  </a:lnTo>
                  <a:lnTo>
                    <a:pt x="91" y="366"/>
                  </a:lnTo>
                  <a:lnTo>
                    <a:pt x="91" y="366"/>
                  </a:lnTo>
                  <a:lnTo>
                    <a:pt x="91" y="361"/>
                  </a:lnTo>
                  <a:lnTo>
                    <a:pt x="91" y="357"/>
                  </a:lnTo>
                  <a:lnTo>
                    <a:pt x="91" y="357"/>
                  </a:lnTo>
                  <a:lnTo>
                    <a:pt x="87" y="347"/>
                  </a:lnTo>
                  <a:lnTo>
                    <a:pt x="87" y="343"/>
                  </a:lnTo>
                  <a:lnTo>
                    <a:pt x="87" y="338"/>
                  </a:lnTo>
                  <a:lnTo>
                    <a:pt x="82" y="334"/>
                  </a:lnTo>
                  <a:lnTo>
                    <a:pt x="82" y="334"/>
                  </a:lnTo>
                  <a:lnTo>
                    <a:pt x="82" y="329"/>
                  </a:lnTo>
                  <a:lnTo>
                    <a:pt x="78" y="315"/>
                  </a:lnTo>
                  <a:lnTo>
                    <a:pt x="78" y="311"/>
                  </a:lnTo>
                  <a:lnTo>
                    <a:pt x="78" y="311"/>
                  </a:lnTo>
                  <a:lnTo>
                    <a:pt x="78" y="306"/>
                  </a:lnTo>
                  <a:lnTo>
                    <a:pt x="78" y="302"/>
                  </a:lnTo>
                  <a:lnTo>
                    <a:pt x="78" y="297"/>
                  </a:lnTo>
                  <a:lnTo>
                    <a:pt x="78" y="288"/>
                  </a:lnTo>
                  <a:lnTo>
                    <a:pt x="73" y="288"/>
                  </a:lnTo>
                  <a:lnTo>
                    <a:pt x="73" y="283"/>
                  </a:lnTo>
                  <a:lnTo>
                    <a:pt x="73" y="279"/>
                  </a:lnTo>
                  <a:lnTo>
                    <a:pt x="69" y="279"/>
                  </a:lnTo>
                  <a:lnTo>
                    <a:pt x="64" y="274"/>
                  </a:lnTo>
                  <a:lnTo>
                    <a:pt x="64" y="270"/>
                  </a:lnTo>
                  <a:lnTo>
                    <a:pt x="64" y="265"/>
                  </a:lnTo>
                  <a:lnTo>
                    <a:pt x="64" y="265"/>
                  </a:lnTo>
                  <a:lnTo>
                    <a:pt x="64" y="261"/>
                  </a:lnTo>
                  <a:lnTo>
                    <a:pt x="64" y="251"/>
                  </a:lnTo>
                  <a:lnTo>
                    <a:pt x="64" y="247"/>
                  </a:lnTo>
                  <a:lnTo>
                    <a:pt x="64" y="238"/>
                  </a:lnTo>
                  <a:lnTo>
                    <a:pt x="64" y="233"/>
                  </a:lnTo>
                  <a:lnTo>
                    <a:pt x="64" y="219"/>
                  </a:lnTo>
                  <a:lnTo>
                    <a:pt x="64" y="215"/>
                  </a:lnTo>
                  <a:lnTo>
                    <a:pt x="64" y="206"/>
                  </a:lnTo>
                  <a:lnTo>
                    <a:pt x="64" y="197"/>
                  </a:lnTo>
                  <a:lnTo>
                    <a:pt x="64" y="192"/>
                  </a:lnTo>
                  <a:lnTo>
                    <a:pt x="64" y="183"/>
                  </a:lnTo>
                  <a:lnTo>
                    <a:pt x="59" y="169"/>
                  </a:lnTo>
                  <a:lnTo>
                    <a:pt x="55" y="165"/>
                  </a:lnTo>
                  <a:lnTo>
                    <a:pt x="55" y="160"/>
                  </a:lnTo>
                  <a:lnTo>
                    <a:pt x="55" y="155"/>
                  </a:lnTo>
                  <a:lnTo>
                    <a:pt x="55" y="155"/>
                  </a:lnTo>
                  <a:lnTo>
                    <a:pt x="55" y="146"/>
                  </a:lnTo>
                  <a:lnTo>
                    <a:pt x="55" y="137"/>
                  </a:lnTo>
                  <a:lnTo>
                    <a:pt x="59" y="133"/>
                  </a:lnTo>
                  <a:lnTo>
                    <a:pt x="64" y="128"/>
                  </a:lnTo>
                  <a:lnTo>
                    <a:pt x="64" y="123"/>
                  </a:lnTo>
                  <a:lnTo>
                    <a:pt x="69" y="119"/>
                  </a:lnTo>
                  <a:lnTo>
                    <a:pt x="73" y="114"/>
                  </a:lnTo>
                  <a:lnTo>
                    <a:pt x="78" y="114"/>
                  </a:lnTo>
                  <a:lnTo>
                    <a:pt x="82" y="114"/>
                  </a:lnTo>
                  <a:lnTo>
                    <a:pt x="87" y="110"/>
                  </a:lnTo>
                  <a:lnTo>
                    <a:pt x="101" y="105"/>
                  </a:lnTo>
                  <a:lnTo>
                    <a:pt x="101" y="101"/>
                  </a:lnTo>
                  <a:lnTo>
                    <a:pt x="105" y="101"/>
                  </a:lnTo>
                  <a:lnTo>
                    <a:pt x="110" y="96"/>
                  </a:lnTo>
                  <a:lnTo>
                    <a:pt x="114" y="96"/>
                  </a:lnTo>
                  <a:lnTo>
                    <a:pt x="119" y="96"/>
                  </a:lnTo>
                  <a:lnTo>
                    <a:pt x="123" y="96"/>
                  </a:lnTo>
                  <a:lnTo>
                    <a:pt x="133" y="91"/>
                  </a:lnTo>
                  <a:lnTo>
                    <a:pt x="133" y="91"/>
                  </a:lnTo>
                  <a:lnTo>
                    <a:pt x="137" y="91"/>
                  </a:lnTo>
                  <a:lnTo>
                    <a:pt x="142" y="91"/>
                  </a:lnTo>
                  <a:lnTo>
                    <a:pt x="151" y="91"/>
                  </a:lnTo>
                  <a:lnTo>
                    <a:pt x="151" y="87"/>
                  </a:lnTo>
                  <a:lnTo>
                    <a:pt x="155" y="87"/>
                  </a:lnTo>
                  <a:lnTo>
                    <a:pt x="165" y="82"/>
                  </a:lnTo>
                  <a:lnTo>
                    <a:pt x="169" y="78"/>
                  </a:lnTo>
                  <a:lnTo>
                    <a:pt x="174" y="78"/>
                  </a:lnTo>
                  <a:lnTo>
                    <a:pt x="174" y="73"/>
                  </a:lnTo>
                  <a:lnTo>
                    <a:pt x="178" y="69"/>
                  </a:lnTo>
                  <a:lnTo>
                    <a:pt x="178" y="69"/>
                  </a:lnTo>
                  <a:lnTo>
                    <a:pt x="183" y="69"/>
                  </a:lnTo>
                  <a:lnTo>
                    <a:pt x="183" y="64"/>
                  </a:lnTo>
                  <a:lnTo>
                    <a:pt x="187" y="59"/>
                  </a:lnTo>
                  <a:lnTo>
                    <a:pt x="187" y="55"/>
                  </a:lnTo>
                  <a:lnTo>
                    <a:pt x="187" y="50"/>
                  </a:lnTo>
                  <a:lnTo>
                    <a:pt x="192" y="46"/>
                  </a:lnTo>
                  <a:lnTo>
                    <a:pt x="197" y="37"/>
                  </a:lnTo>
                  <a:lnTo>
                    <a:pt x="197" y="37"/>
                  </a:lnTo>
                  <a:lnTo>
                    <a:pt x="197" y="32"/>
                  </a:lnTo>
                  <a:lnTo>
                    <a:pt x="197" y="27"/>
                  </a:lnTo>
                  <a:lnTo>
                    <a:pt x="201" y="27"/>
                  </a:lnTo>
                  <a:lnTo>
                    <a:pt x="206" y="23"/>
                  </a:lnTo>
                  <a:lnTo>
                    <a:pt x="210" y="18"/>
                  </a:lnTo>
                  <a:lnTo>
                    <a:pt x="215" y="18"/>
                  </a:lnTo>
                  <a:lnTo>
                    <a:pt x="219" y="14"/>
                  </a:lnTo>
                  <a:lnTo>
                    <a:pt x="219" y="9"/>
                  </a:lnTo>
                  <a:lnTo>
                    <a:pt x="229" y="5"/>
                  </a:lnTo>
                  <a:lnTo>
                    <a:pt x="229" y="5"/>
                  </a:lnTo>
                  <a:lnTo>
                    <a:pt x="233" y="5"/>
                  </a:lnTo>
                  <a:lnTo>
                    <a:pt x="238" y="5"/>
                  </a:lnTo>
                  <a:lnTo>
                    <a:pt x="242" y="14"/>
                  </a:lnTo>
                  <a:lnTo>
                    <a:pt x="242" y="18"/>
                  </a:lnTo>
                  <a:lnTo>
                    <a:pt x="247" y="23"/>
                  </a:lnTo>
                  <a:lnTo>
                    <a:pt x="251" y="27"/>
                  </a:lnTo>
                  <a:lnTo>
                    <a:pt x="256" y="27"/>
                  </a:lnTo>
                  <a:lnTo>
                    <a:pt x="256" y="32"/>
                  </a:lnTo>
                  <a:lnTo>
                    <a:pt x="261" y="32"/>
                  </a:lnTo>
                  <a:lnTo>
                    <a:pt x="261" y="37"/>
                  </a:lnTo>
                  <a:lnTo>
                    <a:pt x="261" y="41"/>
                  </a:lnTo>
                  <a:lnTo>
                    <a:pt x="261" y="46"/>
                  </a:lnTo>
                  <a:lnTo>
                    <a:pt x="261" y="50"/>
                  </a:lnTo>
                  <a:lnTo>
                    <a:pt x="261" y="50"/>
                  </a:lnTo>
                  <a:lnTo>
                    <a:pt x="261" y="59"/>
                  </a:lnTo>
                  <a:lnTo>
                    <a:pt x="261" y="64"/>
                  </a:lnTo>
                  <a:lnTo>
                    <a:pt x="265" y="64"/>
                  </a:lnTo>
                  <a:lnTo>
                    <a:pt x="265" y="69"/>
                  </a:lnTo>
                  <a:lnTo>
                    <a:pt x="270" y="64"/>
                  </a:lnTo>
                  <a:lnTo>
                    <a:pt x="270" y="59"/>
                  </a:lnTo>
                  <a:lnTo>
                    <a:pt x="274" y="59"/>
                  </a:lnTo>
                  <a:lnTo>
                    <a:pt x="274" y="55"/>
                  </a:lnTo>
                  <a:lnTo>
                    <a:pt x="274" y="50"/>
                  </a:lnTo>
                  <a:lnTo>
                    <a:pt x="274" y="46"/>
                  </a:lnTo>
                  <a:lnTo>
                    <a:pt x="279" y="46"/>
                  </a:lnTo>
                  <a:lnTo>
                    <a:pt x="279" y="37"/>
                  </a:lnTo>
                  <a:lnTo>
                    <a:pt x="283" y="27"/>
                  </a:lnTo>
                  <a:lnTo>
                    <a:pt x="283" y="27"/>
                  </a:lnTo>
                  <a:lnTo>
                    <a:pt x="283" y="27"/>
                  </a:lnTo>
                  <a:lnTo>
                    <a:pt x="283" y="23"/>
                  </a:lnTo>
                  <a:lnTo>
                    <a:pt x="288" y="18"/>
                  </a:lnTo>
                  <a:lnTo>
                    <a:pt x="293" y="14"/>
                  </a:lnTo>
                  <a:lnTo>
                    <a:pt x="297" y="14"/>
                  </a:lnTo>
                  <a:lnTo>
                    <a:pt x="302" y="9"/>
                  </a:lnTo>
                  <a:lnTo>
                    <a:pt x="306" y="5"/>
                  </a:lnTo>
                  <a:lnTo>
                    <a:pt x="306" y="5"/>
                  </a:lnTo>
                  <a:lnTo>
                    <a:pt x="315" y="5"/>
                  </a:lnTo>
                  <a:lnTo>
                    <a:pt x="329" y="5"/>
                  </a:lnTo>
                  <a:lnTo>
                    <a:pt x="329" y="5"/>
                  </a:lnTo>
                  <a:lnTo>
                    <a:pt x="329" y="5"/>
                  </a:lnTo>
                  <a:lnTo>
                    <a:pt x="334" y="5"/>
                  </a:lnTo>
                  <a:lnTo>
                    <a:pt x="338" y="5"/>
                  </a:lnTo>
                  <a:lnTo>
                    <a:pt x="343" y="0"/>
                  </a:lnTo>
                  <a:lnTo>
                    <a:pt x="347" y="0"/>
                  </a:lnTo>
                  <a:lnTo>
                    <a:pt x="352" y="0"/>
                  </a:lnTo>
                  <a:lnTo>
                    <a:pt x="352" y="5"/>
                  </a:lnTo>
                  <a:lnTo>
                    <a:pt x="352" y="5"/>
                  </a:lnTo>
                  <a:lnTo>
                    <a:pt x="357" y="5"/>
                  </a:lnTo>
                  <a:lnTo>
                    <a:pt x="361" y="5"/>
                  </a:lnTo>
                  <a:lnTo>
                    <a:pt x="366" y="5"/>
                  </a:lnTo>
                  <a:lnTo>
                    <a:pt x="370" y="9"/>
                  </a:lnTo>
                  <a:lnTo>
                    <a:pt x="370" y="9"/>
                  </a:lnTo>
                  <a:lnTo>
                    <a:pt x="375" y="9"/>
                  </a:lnTo>
                  <a:lnTo>
                    <a:pt x="384" y="9"/>
                  </a:lnTo>
                  <a:lnTo>
                    <a:pt x="393" y="5"/>
                  </a:lnTo>
                  <a:lnTo>
                    <a:pt x="393" y="5"/>
                  </a:lnTo>
                  <a:lnTo>
                    <a:pt x="398" y="9"/>
                  </a:lnTo>
                  <a:lnTo>
                    <a:pt x="398" y="14"/>
                  </a:lnTo>
                  <a:lnTo>
                    <a:pt x="402" y="18"/>
                  </a:lnTo>
                  <a:lnTo>
                    <a:pt x="398" y="18"/>
                  </a:lnTo>
                  <a:lnTo>
                    <a:pt x="398" y="27"/>
                  </a:lnTo>
                  <a:lnTo>
                    <a:pt x="393" y="32"/>
                  </a:lnTo>
                  <a:lnTo>
                    <a:pt x="393" y="41"/>
                  </a:lnTo>
                  <a:lnTo>
                    <a:pt x="393" y="46"/>
                  </a:lnTo>
                  <a:lnTo>
                    <a:pt x="393" y="50"/>
                  </a:lnTo>
                  <a:lnTo>
                    <a:pt x="393" y="50"/>
                  </a:lnTo>
                  <a:lnTo>
                    <a:pt x="393" y="50"/>
                  </a:lnTo>
                  <a:lnTo>
                    <a:pt x="393" y="55"/>
                  </a:lnTo>
                  <a:lnTo>
                    <a:pt x="398" y="59"/>
                  </a:lnTo>
                  <a:lnTo>
                    <a:pt x="402" y="59"/>
                  </a:lnTo>
                  <a:lnTo>
                    <a:pt x="416" y="59"/>
                  </a:lnTo>
                  <a:lnTo>
                    <a:pt x="416" y="64"/>
                  </a:lnTo>
                  <a:lnTo>
                    <a:pt x="425" y="64"/>
                  </a:lnTo>
                  <a:lnTo>
                    <a:pt x="425" y="69"/>
                  </a:lnTo>
                  <a:lnTo>
                    <a:pt x="430" y="69"/>
                  </a:lnTo>
                  <a:lnTo>
                    <a:pt x="430" y="69"/>
                  </a:lnTo>
                  <a:lnTo>
                    <a:pt x="434" y="73"/>
                  </a:lnTo>
                  <a:lnTo>
                    <a:pt x="434" y="78"/>
                  </a:lnTo>
                  <a:lnTo>
                    <a:pt x="434" y="82"/>
                  </a:lnTo>
                  <a:lnTo>
                    <a:pt x="434" y="87"/>
                  </a:lnTo>
                  <a:lnTo>
                    <a:pt x="430" y="87"/>
                  </a:lnTo>
                  <a:lnTo>
                    <a:pt x="425" y="91"/>
                  </a:lnTo>
                  <a:lnTo>
                    <a:pt x="425" y="91"/>
                  </a:lnTo>
                  <a:lnTo>
                    <a:pt x="425" y="96"/>
                  </a:lnTo>
                  <a:lnTo>
                    <a:pt x="421" y="96"/>
                  </a:lnTo>
                  <a:lnTo>
                    <a:pt x="421" y="101"/>
                  </a:lnTo>
                  <a:lnTo>
                    <a:pt x="425" y="110"/>
                  </a:lnTo>
                  <a:lnTo>
                    <a:pt x="430" y="114"/>
                  </a:lnTo>
                  <a:lnTo>
                    <a:pt x="439" y="114"/>
                  </a:lnTo>
                  <a:lnTo>
                    <a:pt x="439" y="114"/>
                  </a:lnTo>
                  <a:lnTo>
                    <a:pt x="443" y="114"/>
                  </a:lnTo>
                  <a:lnTo>
                    <a:pt x="457" y="114"/>
                  </a:lnTo>
                  <a:lnTo>
                    <a:pt x="462" y="114"/>
                  </a:lnTo>
                  <a:lnTo>
                    <a:pt x="471" y="114"/>
                  </a:lnTo>
                  <a:lnTo>
                    <a:pt x="475" y="114"/>
                  </a:lnTo>
                  <a:lnTo>
                    <a:pt x="480" y="114"/>
                  </a:lnTo>
                  <a:lnTo>
                    <a:pt x="480" y="114"/>
                  </a:lnTo>
                  <a:lnTo>
                    <a:pt x="480" y="114"/>
                  </a:lnTo>
                  <a:lnTo>
                    <a:pt x="480" y="119"/>
                  </a:lnTo>
                  <a:lnTo>
                    <a:pt x="485" y="123"/>
                  </a:lnTo>
                  <a:lnTo>
                    <a:pt x="485" y="128"/>
                  </a:lnTo>
                  <a:lnTo>
                    <a:pt x="489" y="133"/>
                  </a:lnTo>
                  <a:lnTo>
                    <a:pt x="494" y="142"/>
                  </a:lnTo>
                  <a:lnTo>
                    <a:pt x="494" y="146"/>
                  </a:lnTo>
                  <a:lnTo>
                    <a:pt x="498" y="146"/>
                  </a:lnTo>
                  <a:lnTo>
                    <a:pt x="498" y="151"/>
                  </a:lnTo>
                  <a:lnTo>
                    <a:pt x="503" y="155"/>
                  </a:lnTo>
                  <a:lnTo>
                    <a:pt x="503" y="155"/>
                  </a:lnTo>
                  <a:lnTo>
                    <a:pt x="498" y="160"/>
                  </a:lnTo>
                  <a:lnTo>
                    <a:pt x="498" y="165"/>
                  </a:lnTo>
                  <a:lnTo>
                    <a:pt x="498" y="169"/>
                  </a:lnTo>
                  <a:lnTo>
                    <a:pt x="498" y="174"/>
                  </a:lnTo>
                  <a:lnTo>
                    <a:pt x="494" y="174"/>
                  </a:lnTo>
                  <a:lnTo>
                    <a:pt x="494" y="178"/>
                  </a:lnTo>
                  <a:lnTo>
                    <a:pt x="489" y="178"/>
                  </a:lnTo>
                  <a:lnTo>
                    <a:pt x="489" y="178"/>
                  </a:lnTo>
                  <a:lnTo>
                    <a:pt x="485" y="178"/>
                  </a:lnTo>
                  <a:lnTo>
                    <a:pt x="485" y="183"/>
                  </a:lnTo>
                  <a:lnTo>
                    <a:pt x="485" y="187"/>
                  </a:lnTo>
                  <a:lnTo>
                    <a:pt x="489" y="192"/>
                  </a:lnTo>
                  <a:lnTo>
                    <a:pt x="494" y="197"/>
                  </a:lnTo>
                  <a:lnTo>
                    <a:pt x="498" y="197"/>
                  </a:lnTo>
                  <a:lnTo>
                    <a:pt x="507" y="201"/>
                  </a:lnTo>
                  <a:lnTo>
                    <a:pt x="512" y="201"/>
                  </a:lnTo>
                  <a:lnTo>
                    <a:pt x="512" y="201"/>
                  </a:lnTo>
                  <a:lnTo>
                    <a:pt x="521" y="197"/>
                  </a:lnTo>
                  <a:lnTo>
                    <a:pt x="526" y="197"/>
                  </a:lnTo>
                  <a:lnTo>
                    <a:pt x="526" y="197"/>
                  </a:lnTo>
                  <a:lnTo>
                    <a:pt x="539" y="192"/>
                  </a:lnTo>
                  <a:lnTo>
                    <a:pt x="544" y="197"/>
                  </a:lnTo>
                  <a:lnTo>
                    <a:pt x="549" y="197"/>
                  </a:lnTo>
                  <a:lnTo>
                    <a:pt x="549" y="201"/>
                  </a:lnTo>
                  <a:lnTo>
                    <a:pt x="549" y="206"/>
                  </a:lnTo>
                  <a:lnTo>
                    <a:pt x="544" y="206"/>
                  </a:lnTo>
                  <a:lnTo>
                    <a:pt x="544" y="210"/>
                  </a:lnTo>
                  <a:lnTo>
                    <a:pt x="544" y="215"/>
                  </a:lnTo>
                  <a:lnTo>
                    <a:pt x="549" y="215"/>
                  </a:lnTo>
                  <a:lnTo>
                    <a:pt x="553" y="215"/>
                  </a:lnTo>
                  <a:lnTo>
                    <a:pt x="558" y="219"/>
                  </a:lnTo>
                  <a:lnTo>
                    <a:pt x="567" y="219"/>
                  </a:lnTo>
                  <a:lnTo>
                    <a:pt x="571" y="219"/>
                  </a:lnTo>
                  <a:lnTo>
                    <a:pt x="571" y="215"/>
                  </a:lnTo>
                  <a:lnTo>
                    <a:pt x="571" y="206"/>
                  </a:lnTo>
                  <a:lnTo>
                    <a:pt x="571" y="201"/>
                  </a:lnTo>
                  <a:lnTo>
                    <a:pt x="571" y="201"/>
                  </a:lnTo>
                  <a:lnTo>
                    <a:pt x="571" y="197"/>
                  </a:lnTo>
                  <a:lnTo>
                    <a:pt x="576" y="197"/>
                  </a:lnTo>
                  <a:lnTo>
                    <a:pt x="581" y="192"/>
                  </a:lnTo>
                  <a:lnTo>
                    <a:pt x="585" y="197"/>
                  </a:lnTo>
                  <a:lnTo>
                    <a:pt x="590" y="197"/>
                  </a:lnTo>
                  <a:lnTo>
                    <a:pt x="590" y="201"/>
                  </a:lnTo>
                  <a:lnTo>
                    <a:pt x="590" y="201"/>
                  </a:lnTo>
                  <a:lnTo>
                    <a:pt x="594" y="210"/>
                  </a:lnTo>
                  <a:lnTo>
                    <a:pt x="594" y="224"/>
                  </a:lnTo>
                  <a:lnTo>
                    <a:pt x="594" y="224"/>
                  </a:lnTo>
                  <a:lnTo>
                    <a:pt x="599" y="229"/>
                  </a:lnTo>
                  <a:lnTo>
                    <a:pt x="599" y="233"/>
                  </a:lnTo>
                  <a:lnTo>
                    <a:pt x="599" y="238"/>
                  </a:lnTo>
                  <a:lnTo>
                    <a:pt x="599" y="247"/>
                  </a:lnTo>
                  <a:lnTo>
                    <a:pt x="599" y="256"/>
                  </a:lnTo>
                  <a:lnTo>
                    <a:pt x="599" y="274"/>
                  </a:lnTo>
                  <a:lnTo>
                    <a:pt x="594" y="279"/>
                  </a:lnTo>
                  <a:lnTo>
                    <a:pt x="594" y="283"/>
                  </a:lnTo>
                  <a:lnTo>
                    <a:pt x="590" y="283"/>
                  </a:lnTo>
                  <a:lnTo>
                    <a:pt x="590" y="288"/>
                  </a:lnTo>
                  <a:lnTo>
                    <a:pt x="585" y="288"/>
                  </a:lnTo>
                  <a:lnTo>
                    <a:pt x="581" y="288"/>
                  </a:lnTo>
                  <a:lnTo>
                    <a:pt x="576" y="293"/>
                  </a:lnTo>
                  <a:lnTo>
                    <a:pt x="576" y="297"/>
                  </a:lnTo>
                  <a:lnTo>
                    <a:pt x="576" y="302"/>
                  </a:lnTo>
                  <a:lnTo>
                    <a:pt x="571" y="302"/>
                  </a:lnTo>
                  <a:lnTo>
                    <a:pt x="571" y="302"/>
                  </a:lnTo>
                  <a:lnTo>
                    <a:pt x="571" y="306"/>
                  </a:lnTo>
                  <a:lnTo>
                    <a:pt x="571" y="311"/>
                  </a:lnTo>
                  <a:lnTo>
                    <a:pt x="571" y="315"/>
                  </a:lnTo>
                  <a:lnTo>
                    <a:pt x="571" y="320"/>
                  </a:lnTo>
                  <a:lnTo>
                    <a:pt x="571" y="325"/>
                  </a:lnTo>
                  <a:lnTo>
                    <a:pt x="571" y="329"/>
                  </a:lnTo>
                  <a:lnTo>
                    <a:pt x="576" y="334"/>
                  </a:lnTo>
                  <a:lnTo>
                    <a:pt x="581" y="334"/>
                  </a:lnTo>
                  <a:lnTo>
                    <a:pt x="585" y="334"/>
                  </a:lnTo>
                  <a:lnTo>
                    <a:pt x="590" y="334"/>
                  </a:lnTo>
                  <a:lnTo>
                    <a:pt x="594" y="334"/>
                  </a:lnTo>
                  <a:lnTo>
                    <a:pt x="603" y="329"/>
                  </a:lnTo>
                  <a:lnTo>
                    <a:pt x="608" y="329"/>
                  </a:lnTo>
                  <a:lnTo>
                    <a:pt x="613" y="329"/>
                  </a:lnTo>
                  <a:lnTo>
                    <a:pt x="613" y="334"/>
                  </a:lnTo>
                  <a:lnTo>
                    <a:pt x="613" y="338"/>
                  </a:lnTo>
                  <a:lnTo>
                    <a:pt x="608" y="338"/>
                  </a:lnTo>
                  <a:lnTo>
                    <a:pt x="608" y="343"/>
                  </a:lnTo>
                  <a:lnTo>
                    <a:pt x="608" y="347"/>
                  </a:lnTo>
                  <a:lnTo>
                    <a:pt x="603" y="347"/>
                  </a:lnTo>
                  <a:lnTo>
                    <a:pt x="608" y="357"/>
                  </a:lnTo>
                  <a:lnTo>
                    <a:pt x="608" y="357"/>
                  </a:lnTo>
                  <a:lnTo>
                    <a:pt x="613" y="361"/>
                  </a:lnTo>
                  <a:lnTo>
                    <a:pt x="613" y="366"/>
                  </a:lnTo>
                  <a:lnTo>
                    <a:pt x="617" y="366"/>
                  </a:lnTo>
                  <a:lnTo>
                    <a:pt x="622" y="370"/>
                  </a:lnTo>
                  <a:lnTo>
                    <a:pt x="631" y="375"/>
                  </a:lnTo>
                  <a:lnTo>
                    <a:pt x="635" y="375"/>
                  </a:lnTo>
                  <a:lnTo>
                    <a:pt x="635" y="379"/>
                  </a:lnTo>
                  <a:lnTo>
                    <a:pt x="635" y="384"/>
                  </a:lnTo>
                  <a:lnTo>
                    <a:pt x="635" y="389"/>
                  </a:lnTo>
                  <a:lnTo>
                    <a:pt x="640" y="389"/>
                  </a:lnTo>
                  <a:lnTo>
                    <a:pt x="649" y="389"/>
                  </a:lnTo>
                  <a:lnTo>
                    <a:pt x="654" y="389"/>
                  </a:lnTo>
                  <a:lnTo>
                    <a:pt x="658" y="389"/>
                  </a:lnTo>
                  <a:lnTo>
                    <a:pt x="658" y="393"/>
                  </a:lnTo>
                  <a:lnTo>
                    <a:pt x="658" y="398"/>
                  </a:lnTo>
                  <a:lnTo>
                    <a:pt x="654" y="398"/>
                  </a:lnTo>
                  <a:lnTo>
                    <a:pt x="649" y="402"/>
                  </a:lnTo>
                  <a:lnTo>
                    <a:pt x="649" y="407"/>
                  </a:lnTo>
                  <a:lnTo>
                    <a:pt x="645" y="411"/>
                  </a:lnTo>
                  <a:lnTo>
                    <a:pt x="645" y="416"/>
                  </a:lnTo>
                  <a:lnTo>
                    <a:pt x="640" y="421"/>
                  </a:lnTo>
                  <a:lnTo>
                    <a:pt x="635" y="421"/>
                  </a:lnTo>
                  <a:lnTo>
                    <a:pt x="631" y="421"/>
                  </a:lnTo>
                  <a:lnTo>
                    <a:pt x="626" y="421"/>
                  </a:lnTo>
                  <a:lnTo>
                    <a:pt x="622" y="421"/>
                  </a:lnTo>
                  <a:lnTo>
                    <a:pt x="617" y="421"/>
                  </a:lnTo>
                  <a:lnTo>
                    <a:pt x="617" y="425"/>
                  </a:lnTo>
                  <a:lnTo>
                    <a:pt x="613" y="434"/>
                  </a:lnTo>
                  <a:lnTo>
                    <a:pt x="613" y="434"/>
                  </a:lnTo>
                  <a:lnTo>
                    <a:pt x="613" y="439"/>
                  </a:lnTo>
                  <a:lnTo>
                    <a:pt x="613" y="443"/>
                  </a:lnTo>
                  <a:lnTo>
                    <a:pt x="608" y="448"/>
                  </a:lnTo>
                  <a:lnTo>
                    <a:pt x="613" y="457"/>
                  </a:lnTo>
                  <a:lnTo>
                    <a:pt x="613" y="462"/>
                  </a:lnTo>
                  <a:lnTo>
                    <a:pt x="613" y="466"/>
                  </a:lnTo>
                  <a:lnTo>
                    <a:pt x="608" y="471"/>
                  </a:lnTo>
                  <a:lnTo>
                    <a:pt x="603" y="471"/>
                  </a:lnTo>
                  <a:lnTo>
                    <a:pt x="594" y="471"/>
                  </a:lnTo>
                  <a:lnTo>
                    <a:pt x="590" y="475"/>
                  </a:lnTo>
                  <a:lnTo>
                    <a:pt x="590" y="475"/>
                  </a:lnTo>
                  <a:lnTo>
                    <a:pt x="585" y="480"/>
                  </a:lnTo>
                  <a:lnTo>
                    <a:pt x="581" y="480"/>
                  </a:lnTo>
                  <a:lnTo>
                    <a:pt x="581" y="485"/>
                  </a:lnTo>
                  <a:lnTo>
                    <a:pt x="576" y="485"/>
                  </a:lnTo>
                  <a:lnTo>
                    <a:pt x="576" y="485"/>
                  </a:lnTo>
                  <a:lnTo>
                    <a:pt x="571" y="485"/>
                  </a:lnTo>
                  <a:lnTo>
                    <a:pt x="567" y="485"/>
                  </a:lnTo>
                  <a:lnTo>
                    <a:pt x="562" y="485"/>
                  </a:lnTo>
                  <a:lnTo>
                    <a:pt x="558" y="485"/>
                  </a:lnTo>
                  <a:lnTo>
                    <a:pt x="553" y="485"/>
                  </a:lnTo>
                  <a:lnTo>
                    <a:pt x="549" y="485"/>
                  </a:lnTo>
                  <a:lnTo>
                    <a:pt x="549" y="485"/>
                  </a:lnTo>
                  <a:lnTo>
                    <a:pt x="544" y="485"/>
                  </a:lnTo>
                  <a:lnTo>
                    <a:pt x="535" y="489"/>
                  </a:lnTo>
                  <a:lnTo>
                    <a:pt x="530" y="489"/>
                  </a:lnTo>
                  <a:lnTo>
                    <a:pt x="530" y="494"/>
                  </a:lnTo>
                  <a:lnTo>
                    <a:pt x="526" y="494"/>
                  </a:lnTo>
                  <a:lnTo>
                    <a:pt x="526" y="498"/>
                  </a:lnTo>
                  <a:lnTo>
                    <a:pt x="526" y="498"/>
                  </a:lnTo>
                  <a:lnTo>
                    <a:pt x="526" y="503"/>
                  </a:lnTo>
                  <a:lnTo>
                    <a:pt x="521" y="503"/>
                  </a:lnTo>
                  <a:lnTo>
                    <a:pt x="521" y="507"/>
                  </a:lnTo>
                  <a:lnTo>
                    <a:pt x="517" y="507"/>
                  </a:lnTo>
                  <a:lnTo>
                    <a:pt x="512" y="507"/>
                  </a:lnTo>
                  <a:lnTo>
                    <a:pt x="512" y="512"/>
                  </a:lnTo>
                  <a:lnTo>
                    <a:pt x="507" y="512"/>
                  </a:lnTo>
                  <a:lnTo>
                    <a:pt x="498" y="526"/>
                  </a:lnTo>
                  <a:lnTo>
                    <a:pt x="498" y="530"/>
                  </a:lnTo>
                  <a:lnTo>
                    <a:pt x="494" y="530"/>
                  </a:lnTo>
                  <a:lnTo>
                    <a:pt x="489" y="535"/>
                  </a:lnTo>
                  <a:lnTo>
                    <a:pt x="489" y="539"/>
                  </a:lnTo>
                  <a:lnTo>
                    <a:pt x="485" y="539"/>
                  </a:lnTo>
                  <a:lnTo>
                    <a:pt x="485" y="544"/>
                  </a:lnTo>
                  <a:lnTo>
                    <a:pt x="485" y="549"/>
                  </a:lnTo>
                  <a:lnTo>
                    <a:pt x="480" y="553"/>
                  </a:lnTo>
                  <a:lnTo>
                    <a:pt x="480" y="553"/>
                  </a:lnTo>
                  <a:lnTo>
                    <a:pt x="475" y="558"/>
                  </a:lnTo>
                  <a:lnTo>
                    <a:pt x="475" y="562"/>
                  </a:lnTo>
                  <a:lnTo>
                    <a:pt x="471" y="562"/>
                  </a:lnTo>
                  <a:lnTo>
                    <a:pt x="466" y="567"/>
                  </a:lnTo>
                  <a:lnTo>
                    <a:pt x="462" y="567"/>
                  </a:lnTo>
                  <a:lnTo>
                    <a:pt x="453" y="571"/>
                  </a:lnTo>
                  <a:lnTo>
                    <a:pt x="448" y="571"/>
                  </a:lnTo>
                  <a:lnTo>
                    <a:pt x="443" y="571"/>
                  </a:lnTo>
                  <a:lnTo>
                    <a:pt x="439" y="571"/>
                  </a:lnTo>
                  <a:lnTo>
                    <a:pt x="439" y="576"/>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09" name="Freeform 26">
              <a:extLst>
                <a:ext uri="{FF2B5EF4-FFF2-40B4-BE49-F238E27FC236}">
                  <a16:creationId xmlns:a16="http://schemas.microsoft.com/office/drawing/2014/main" id="{5B9347FC-66A3-4AA3-B372-D0480C0B26DF}"/>
                </a:ext>
              </a:extLst>
            </p:cNvPr>
            <p:cNvSpPr>
              <a:spLocks/>
            </p:cNvSpPr>
            <p:nvPr>
              <p:custDataLst>
                <p:tags r:id="rId21"/>
              </p:custDataLst>
            </p:nvPr>
          </p:nvSpPr>
          <p:spPr bwMode="auto">
            <a:xfrm>
              <a:off x="1528371" y="1019706"/>
              <a:ext cx="694310" cy="849527"/>
            </a:xfrm>
            <a:custGeom>
              <a:avLst/>
              <a:gdLst/>
              <a:ahLst/>
              <a:cxnLst>
                <a:cxn ang="0">
                  <a:pos x="0" y="663"/>
                </a:cxn>
                <a:cxn ang="0">
                  <a:pos x="14" y="622"/>
                </a:cxn>
                <a:cxn ang="0">
                  <a:pos x="27" y="594"/>
                </a:cxn>
                <a:cxn ang="0">
                  <a:pos x="82" y="590"/>
                </a:cxn>
                <a:cxn ang="0">
                  <a:pos x="123" y="553"/>
                </a:cxn>
                <a:cxn ang="0">
                  <a:pos x="123" y="521"/>
                </a:cxn>
                <a:cxn ang="0">
                  <a:pos x="91" y="498"/>
                </a:cxn>
                <a:cxn ang="0">
                  <a:pos x="110" y="466"/>
                </a:cxn>
                <a:cxn ang="0">
                  <a:pos x="96" y="411"/>
                </a:cxn>
                <a:cxn ang="0">
                  <a:pos x="82" y="361"/>
                </a:cxn>
                <a:cxn ang="0">
                  <a:pos x="73" y="283"/>
                </a:cxn>
                <a:cxn ang="0">
                  <a:pos x="68" y="187"/>
                </a:cxn>
                <a:cxn ang="0">
                  <a:pos x="114" y="105"/>
                </a:cxn>
                <a:cxn ang="0">
                  <a:pos x="146" y="87"/>
                </a:cxn>
                <a:cxn ang="0">
                  <a:pos x="224" y="78"/>
                </a:cxn>
                <a:cxn ang="0">
                  <a:pos x="270" y="50"/>
                </a:cxn>
                <a:cxn ang="0">
                  <a:pos x="292" y="37"/>
                </a:cxn>
                <a:cxn ang="0">
                  <a:pos x="343" y="5"/>
                </a:cxn>
                <a:cxn ang="0">
                  <a:pos x="388" y="5"/>
                </a:cxn>
                <a:cxn ang="0">
                  <a:pos x="439" y="14"/>
                </a:cxn>
                <a:cxn ang="0">
                  <a:pos x="484" y="32"/>
                </a:cxn>
                <a:cxn ang="0">
                  <a:pos x="530" y="64"/>
                </a:cxn>
                <a:cxn ang="0">
                  <a:pos x="567" y="96"/>
                </a:cxn>
                <a:cxn ang="0">
                  <a:pos x="617" y="105"/>
                </a:cxn>
                <a:cxn ang="0">
                  <a:pos x="667" y="146"/>
                </a:cxn>
                <a:cxn ang="0">
                  <a:pos x="690" y="160"/>
                </a:cxn>
                <a:cxn ang="0">
                  <a:pos x="750" y="178"/>
                </a:cxn>
                <a:cxn ang="0">
                  <a:pos x="786" y="224"/>
                </a:cxn>
                <a:cxn ang="0">
                  <a:pos x="763" y="247"/>
                </a:cxn>
                <a:cxn ang="0">
                  <a:pos x="681" y="251"/>
                </a:cxn>
                <a:cxn ang="0">
                  <a:pos x="649" y="224"/>
                </a:cxn>
                <a:cxn ang="0">
                  <a:pos x="590" y="201"/>
                </a:cxn>
                <a:cxn ang="0">
                  <a:pos x="530" y="197"/>
                </a:cxn>
                <a:cxn ang="0">
                  <a:pos x="484" y="206"/>
                </a:cxn>
                <a:cxn ang="0">
                  <a:pos x="494" y="279"/>
                </a:cxn>
                <a:cxn ang="0">
                  <a:pos x="503" y="311"/>
                </a:cxn>
                <a:cxn ang="0">
                  <a:pos x="475" y="357"/>
                </a:cxn>
                <a:cxn ang="0">
                  <a:pos x="430" y="379"/>
                </a:cxn>
                <a:cxn ang="0">
                  <a:pos x="375" y="402"/>
                </a:cxn>
                <a:cxn ang="0">
                  <a:pos x="352" y="448"/>
                </a:cxn>
                <a:cxn ang="0">
                  <a:pos x="361" y="526"/>
                </a:cxn>
                <a:cxn ang="0">
                  <a:pos x="370" y="576"/>
                </a:cxn>
                <a:cxn ang="0">
                  <a:pos x="379" y="622"/>
                </a:cxn>
                <a:cxn ang="0">
                  <a:pos x="356" y="663"/>
                </a:cxn>
                <a:cxn ang="0">
                  <a:pos x="320" y="690"/>
                </a:cxn>
                <a:cxn ang="0">
                  <a:pos x="306" y="722"/>
                </a:cxn>
                <a:cxn ang="0">
                  <a:pos x="343" y="759"/>
                </a:cxn>
                <a:cxn ang="0">
                  <a:pos x="334" y="782"/>
                </a:cxn>
                <a:cxn ang="0">
                  <a:pos x="297" y="814"/>
                </a:cxn>
                <a:cxn ang="0">
                  <a:pos x="274" y="786"/>
                </a:cxn>
                <a:cxn ang="0">
                  <a:pos x="242" y="754"/>
                </a:cxn>
                <a:cxn ang="0">
                  <a:pos x="192" y="754"/>
                </a:cxn>
                <a:cxn ang="0">
                  <a:pos x="160" y="791"/>
                </a:cxn>
                <a:cxn ang="0">
                  <a:pos x="123" y="818"/>
                </a:cxn>
                <a:cxn ang="0">
                  <a:pos x="91" y="832"/>
                </a:cxn>
                <a:cxn ang="0">
                  <a:pos x="55" y="809"/>
                </a:cxn>
                <a:cxn ang="0">
                  <a:pos x="50" y="782"/>
                </a:cxn>
                <a:cxn ang="0">
                  <a:pos x="9" y="750"/>
                </a:cxn>
                <a:cxn ang="0">
                  <a:pos x="18" y="709"/>
                </a:cxn>
              </a:cxnLst>
              <a:rect l="0" t="0" r="r" b="b"/>
              <a:pathLst>
                <a:path w="795" h="841">
                  <a:moveTo>
                    <a:pt x="18" y="699"/>
                  </a:moveTo>
                  <a:lnTo>
                    <a:pt x="14" y="690"/>
                  </a:lnTo>
                  <a:lnTo>
                    <a:pt x="14" y="690"/>
                  </a:lnTo>
                  <a:lnTo>
                    <a:pt x="14" y="686"/>
                  </a:lnTo>
                  <a:lnTo>
                    <a:pt x="9" y="686"/>
                  </a:lnTo>
                  <a:lnTo>
                    <a:pt x="9" y="681"/>
                  </a:lnTo>
                  <a:lnTo>
                    <a:pt x="4" y="677"/>
                  </a:lnTo>
                  <a:lnTo>
                    <a:pt x="4" y="672"/>
                  </a:lnTo>
                  <a:lnTo>
                    <a:pt x="0" y="667"/>
                  </a:lnTo>
                  <a:lnTo>
                    <a:pt x="0" y="663"/>
                  </a:lnTo>
                  <a:lnTo>
                    <a:pt x="0" y="663"/>
                  </a:lnTo>
                  <a:lnTo>
                    <a:pt x="0" y="658"/>
                  </a:lnTo>
                  <a:lnTo>
                    <a:pt x="0" y="654"/>
                  </a:lnTo>
                  <a:lnTo>
                    <a:pt x="4" y="649"/>
                  </a:lnTo>
                  <a:lnTo>
                    <a:pt x="4" y="645"/>
                  </a:lnTo>
                  <a:lnTo>
                    <a:pt x="4" y="645"/>
                  </a:lnTo>
                  <a:lnTo>
                    <a:pt x="9" y="640"/>
                  </a:lnTo>
                  <a:lnTo>
                    <a:pt x="9" y="635"/>
                  </a:lnTo>
                  <a:lnTo>
                    <a:pt x="9" y="631"/>
                  </a:lnTo>
                  <a:lnTo>
                    <a:pt x="9" y="626"/>
                  </a:lnTo>
                  <a:lnTo>
                    <a:pt x="9" y="622"/>
                  </a:lnTo>
                  <a:lnTo>
                    <a:pt x="14" y="622"/>
                  </a:lnTo>
                  <a:lnTo>
                    <a:pt x="14" y="622"/>
                  </a:lnTo>
                  <a:lnTo>
                    <a:pt x="14" y="613"/>
                  </a:lnTo>
                  <a:lnTo>
                    <a:pt x="14" y="608"/>
                  </a:lnTo>
                  <a:lnTo>
                    <a:pt x="14" y="608"/>
                  </a:lnTo>
                  <a:lnTo>
                    <a:pt x="14" y="603"/>
                  </a:lnTo>
                  <a:lnTo>
                    <a:pt x="14" y="599"/>
                  </a:lnTo>
                  <a:lnTo>
                    <a:pt x="18" y="599"/>
                  </a:lnTo>
                  <a:lnTo>
                    <a:pt x="18" y="599"/>
                  </a:lnTo>
                  <a:lnTo>
                    <a:pt x="23" y="599"/>
                  </a:lnTo>
                  <a:lnTo>
                    <a:pt x="23" y="594"/>
                  </a:lnTo>
                  <a:lnTo>
                    <a:pt x="27" y="594"/>
                  </a:lnTo>
                  <a:lnTo>
                    <a:pt x="36" y="590"/>
                  </a:lnTo>
                  <a:lnTo>
                    <a:pt x="41" y="590"/>
                  </a:lnTo>
                  <a:lnTo>
                    <a:pt x="50" y="590"/>
                  </a:lnTo>
                  <a:lnTo>
                    <a:pt x="55" y="590"/>
                  </a:lnTo>
                  <a:lnTo>
                    <a:pt x="64" y="599"/>
                  </a:lnTo>
                  <a:lnTo>
                    <a:pt x="68" y="599"/>
                  </a:lnTo>
                  <a:lnTo>
                    <a:pt x="73" y="599"/>
                  </a:lnTo>
                  <a:lnTo>
                    <a:pt x="78" y="599"/>
                  </a:lnTo>
                  <a:lnTo>
                    <a:pt x="78" y="594"/>
                  </a:lnTo>
                  <a:lnTo>
                    <a:pt x="78" y="594"/>
                  </a:lnTo>
                  <a:lnTo>
                    <a:pt x="82" y="590"/>
                  </a:lnTo>
                  <a:lnTo>
                    <a:pt x="91" y="581"/>
                  </a:lnTo>
                  <a:lnTo>
                    <a:pt x="96" y="576"/>
                  </a:lnTo>
                  <a:lnTo>
                    <a:pt x="100" y="576"/>
                  </a:lnTo>
                  <a:lnTo>
                    <a:pt x="100" y="576"/>
                  </a:lnTo>
                  <a:lnTo>
                    <a:pt x="100" y="571"/>
                  </a:lnTo>
                  <a:lnTo>
                    <a:pt x="100" y="567"/>
                  </a:lnTo>
                  <a:lnTo>
                    <a:pt x="105" y="562"/>
                  </a:lnTo>
                  <a:lnTo>
                    <a:pt x="105" y="558"/>
                  </a:lnTo>
                  <a:lnTo>
                    <a:pt x="110" y="553"/>
                  </a:lnTo>
                  <a:lnTo>
                    <a:pt x="119" y="553"/>
                  </a:lnTo>
                  <a:lnTo>
                    <a:pt x="123" y="553"/>
                  </a:lnTo>
                  <a:lnTo>
                    <a:pt x="128" y="558"/>
                  </a:lnTo>
                  <a:lnTo>
                    <a:pt x="128" y="553"/>
                  </a:lnTo>
                  <a:lnTo>
                    <a:pt x="132" y="553"/>
                  </a:lnTo>
                  <a:lnTo>
                    <a:pt x="137" y="553"/>
                  </a:lnTo>
                  <a:lnTo>
                    <a:pt x="142" y="549"/>
                  </a:lnTo>
                  <a:lnTo>
                    <a:pt x="142" y="544"/>
                  </a:lnTo>
                  <a:lnTo>
                    <a:pt x="142" y="539"/>
                  </a:lnTo>
                  <a:lnTo>
                    <a:pt x="137" y="535"/>
                  </a:lnTo>
                  <a:lnTo>
                    <a:pt x="132" y="535"/>
                  </a:lnTo>
                  <a:lnTo>
                    <a:pt x="128" y="530"/>
                  </a:lnTo>
                  <a:lnTo>
                    <a:pt x="123" y="521"/>
                  </a:lnTo>
                  <a:lnTo>
                    <a:pt x="119" y="521"/>
                  </a:lnTo>
                  <a:lnTo>
                    <a:pt x="119" y="517"/>
                  </a:lnTo>
                  <a:lnTo>
                    <a:pt x="114" y="517"/>
                  </a:lnTo>
                  <a:lnTo>
                    <a:pt x="114" y="512"/>
                  </a:lnTo>
                  <a:lnTo>
                    <a:pt x="110" y="512"/>
                  </a:lnTo>
                  <a:lnTo>
                    <a:pt x="100" y="512"/>
                  </a:lnTo>
                  <a:lnTo>
                    <a:pt x="100" y="512"/>
                  </a:lnTo>
                  <a:lnTo>
                    <a:pt x="100" y="507"/>
                  </a:lnTo>
                  <a:lnTo>
                    <a:pt x="96" y="507"/>
                  </a:lnTo>
                  <a:lnTo>
                    <a:pt x="91" y="503"/>
                  </a:lnTo>
                  <a:lnTo>
                    <a:pt x="91" y="498"/>
                  </a:lnTo>
                  <a:lnTo>
                    <a:pt x="96" y="494"/>
                  </a:lnTo>
                  <a:lnTo>
                    <a:pt x="96" y="489"/>
                  </a:lnTo>
                  <a:lnTo>
                    <a:pt x="100" y="489"/>
                  </a:lnTo>
                  <a:lnTo>
                    <a:pt x="100" y="485"/>
                  </a:lnTo>
                  <a:lnTo>
                    <a:pt x="100" y="485"/>
                  </a:lnTo>
                  <a:lnTo>
                    <a:pt x="100" y="480"/>
                  </a:lnTo>
                  <a:lnTo>
                    <a:pt x="105" y="480"/>
                  </a:lnTo>
                  <a:lnTo>
                    <a:pt x="105" y="475"/>
                  </a:lnTo>
                  <a:lnTo>
                    <a:pt x="105" y="471"/>
                  </a:lnTo>
                  <a:lnTo>
                    <a:pt x="110" y="466"/>
                  </a:lnTo>
                  <a:lnTo>
                    <a:pt x="110" y="466"/>
                  </a:lnTo>
                  <a:lnTo>
                    <a:pt x="110" y="457"/>
                  </a:lnTo>
                  <a:lnTo>
                    <a:pt x="110" y="453"/>
                  </a:lnTo>
                  <a:lnTo>
                    <a:pt x="110" y="443"/>
                  </a:lnTo>
                  <a:lnTo>
                    <a:pt x="105" y="443"/>
                  </a:lnTo>
                  <a:lnTo>
                    <a:pt x="105" y="434"/>
                  </a:lnTo>
                  <a:lnTo>
                    <a:pt x="100" y="430"/>
                  </a:lnTo>
                  <a:lnTo>
                    <a:pt x="100" y="425"/>
                  </a:lnTo>
                  <a:lnTo>
                    <a:pt x="100" y="425"/>
                  </a:lnTo>
                  <a:lnTo>
                    <a:pt x="100" y="421"/>
                  </a:lnTo>
                  <a:lnTo>
                    <a:pt x="100" y="416"/>
                  </a:lnTo>
                  <a:lnTo>
                    <a:pt x="96" y="411"/>
                  </a:lnTo>
                  <a:lnTo>
                    <a:pt x="96" y="402"/>
                  </a:lnTo>
                  <a:lnTo>
                    <a:pt x="91" y="393"/>
                  </a:lnTo>
                  <a:lnTo>
                    <a:pt x="91" y="393"/>
                  </a:lnTo>
                  <a:lnTo>
                    <a:pt x="91" y="389"/>
                  </a:lnTo>
                  <a:lnTo>
                    <a:pt x="91" y="384"/>
                  </a:lnTo>
                  <a:lnTo>
                    <a:pt x="87" y="384"/>
                  </a:lnTo>
                  <a:lnTo>
                    <a:pt x="87" y="379"/>
                  </a:lnTo>
                  <a:lnTo>
                    <a:pt x="82" y="375"/>
                  </a:lnTo>
                  <a:lnTo>
                    <a:pt x="82" y="370"/>
                  </a:lnTo>
                  <a:lnTo>
                    <a:pt x="82" y="366"/>
                  </a:lnTo>
                  <a:lnTo>
                    <a:pt x="82" y="361"/>
                  </a:lnTo>
                  <a:lnTo>
                    <a:pt x="78" y="361"/>
                  </a:lnTo>
                  <a:lnTo>
                    <a:pt x="78" y="357"/>
                  </a:lnTo>
                  <a:lnTo>
                    <a:pt x="78" y="357"/>
                  </a:lnTo>
                  <a:lnTo>
                    <a:pt x="78" y="347"/>
                  </a:lnTo>
                  <a:lnTo>
                    <a:pt x="78" y="334"/>
                  </a:lnTo>
                  <a:lnTo>
                    <a:pt x="78" y="325"/>
                  </a:lnTo>
                  <a:lnTo>
                    <a:pt x="78" y="320"/>
                  </a:lnTo>
                  <a:lnTo>
                    <a:pt x="73" y="315"/>
                  </a:lnTo>
                  <a:lnTo>
                    <a:pt x="73" y="311"/>
                  </a:lnTo>
                  <a:lnTo>
                    <a:pt x="73" y="306"/>
                  </a:lnTo>
                  <a:lnTo>
                    <a:pt x="73" y="283"/>
                  </a:lnTo>
                  <a:lnTo>
                    <a:pt x="68" y="279"/>
                  </a:lnTo>
                  <a:lnTo>
                    <a:pt x="68" y="270"/>
                  </a:lnTo>
                  <a:lnTo>
                    <a:pt x="68" y="270"/>
                  </a:lnTo>
                  <a:lnTo>
                    <a:pt x="68" y="261"/>
                  </a:lnTo>
                  <a:lnTo>
                    <a:pt x="64" y="251"/>
                  </a:lnTo>
                  <a:lnTo>
                    <a:pt x="64" y="247"/>
                  </a:lnTo>
                  <a:lnTo>
                    <a:pt x="64" y="247"/>
                  </a:lnTo>
                  <a:lnTo>
                    <a:pt x="64" y="215"/>
                  </a:lnTo>
                  <a:lnTo>
                    <a:pt x="64" y="206"/>
                  </a:lnTo>
                  <a:lnTo>
                    <a:pt x="68" y="197"/>
                  </a:lnTo>
                  <a:lnTo>
                    <a:pt x="68" y="187"/>
                  </a:lnTo>
                  <a:lnTo>
                    <a:pt x="68" y="178"/>
                  </a:lnTo>
                  <a:lnTo>
                    <a:pt x="68" y="165"/>
                  </a:lnTo>
                  <a:lnTo>
                    <a:pt x="68" y="146"/>
                  </a:lnTo>
                  <a:lnTo>
                    <a:pt x="73" y="128"/>
                  </a:lnTo>
                  <a:lnTo>
                    <a:pt x="78" y="123"/>
                  </a:lnTo>
                  <a:lnTo>
                    <a:pt x="82" y="123"/>
                  </a:lnTo>
                  <a:lnTo>
                    <a:pt x="91" y="119"/>
                  </a:lnTo>
                  <a:lnTo>
                    <a:pt x="96" y="119"/>
                  </a:lnTo>
                  <a:lnTo>
                    <a:pt x="100" y="119"/>
                  </a:lnTo>
                  <a:lnTo>
                    <a:pt x="100" y="114"/>
                  </a:lnTo>
                  <a:lnTo>
                    <a:pt x="114" y="105"/>
                  </a:lnTo>
                  <a:lnTo>
                    <a:pt x="114" y="101"/>
                  </a:lnTo>
                  <a:lnTo>
                    <a:pt x="119" y="101"/>
                  </a:lnTo>
                  <a:lnTo>
                    <a:pt x="119" y="96"/>
                  </a:lnTo>
                  <a:lnTo>
                    <a:pt x="123" y="91"/>
                  </a:lnTo>
                  <a:lnTo>
                    <a:pt x="123" y="91"/>
                  </a:lnTo>
                  <a:lnTo>
                    <a:pt x="128" y="91"/>
                  </a:lnTo>
                  <a:lnTo>
                    <a:pt x="128" y="91"/>
                  </a:lnTo>
                  <a:lnTo>
                    <a:pt x="128" y="87"/>
                  </a:lnTo>
                  <a:lnTo>
                    <a:pt x="132" y="87"/>
                  </a:lnTo>
                  <a:lnTo>
                    <a:pt x="137" y="87"/>
                  </a:lnTo>
                  <a:lnTo>
                    <a:pt x="146" y="87"/>
                  </a:lnTo>
                  <a:lnTo>
                    <a:pt x="164" y="87"/>
                  </a:lnTo>
                  <a:lnTo>
                    <a:pt x="169" y="91"/>
                  </a:lnTo>
                  <a:lnTo>
                    <a:pt x="183" y="91"/>
                  </a:lnTo>
                  <a:lnTo>
                    <a:pt x="187" y="91"/>
                  </a:lnTo>
                  <a:lnTo>
                    <a:pt x="192" y="91"/>
                  </a:lnTo>
                  <a:lnTo>
                    <a:pt x="196" y="91"/>
                  </a:lnTo>
                  <a:lnTo>
                    <a:pt x="206" y="87"/>
                  </a:lnTo>
                  <a:lnTo>
                    <a:pt x="215" y="82"/>
                  </a:lnTo>
                  <a:lnTo>
                    <a:pt x="215" y="82"/>
                  </a:lnTo>
                  <a:lnTo>
                    <a:pt x="219" y="82"/>
                  </a:lnTo>
                  <a:lnTo>
                    <a:pt x="224" y="78"/>
                  </a:lnTo>
                  <a:lnTo>
                    <a:pt x="228" y="73"/>
                  </a:lnTo>
                  <a:lnTo>
                    <a:pt x="233" y="73"/>
                  </a:lnTo>
                  <a:lnTo>
                    <a:pt x="238" y="69"/>
                  </a:lnTo>
                  <a:lnTo>
                    <a:pt x="238" y="69"/>
                  </a:lnTo>
                  <a:lnTo>
                    <a:pt x="242" y="64"/>
                  </a:lnTo>
                  <a:lnTo>
                    <a:pt x="251" y="59"/>
                  </a:lnTo>
                  <a:lnTo>
                    <a:pt x="256" y="55"/>
                  </a:lnTo>
                  <a:lnTo>
                    <a:pt x="265" y="55"/>
                  </a:lnTo>
                  <a:lnTo>
                    <a:pt x="265" y="50"/>
                  </a:lnTo>
                  <a:lnTo>
                    <a:pt x="270" y="50"/>
                  </a:lnTo>
                  <a:lnTo>
                    <a:pt x="270" y="50"/>
                  </a:lnTo>
                  <a:lnTo>
                    <a:pt x="274" y="50"/>
                  </a:lnTo>
                  <a:lnTo>
                    <a:pt x="279" y="46"/>
                  </a:lnTo>
                  <a:lnTo>
                    <a:pt x="279" y="46"/>
                  </a:lnTo>
                  <a:lnTo>
                    <a:pt x="279" y="46"/>
                  </a:lnTo>
                  <a:lnTo>
                    <a:pt x="283" y="41"/>
                  </a:lnTo>
                  <a:lnTo>
                    <a:pt x="283" y="41"/>
                  </a:lnTo>
                  <a:lnTo>
                    <a:pt x="288" y="41"/>
                  </a:lnTo>
                  <a:lnTo>
                    <a:pt x="288" y="37"/>
                  </a:lnTo>
                  <a:lnTo>
                    <a:pt x="292" y="37"/>
                  </a:lnTo>
                  <a:lnTo>
                    <a:pt x="292" y="37"/>
                  </a:lnTo>
                  <a:lnTo>
                    <a:pt x="292" y="37"/>
                  </a:lnTo>
                  <a:lnTo>
                    <a:pt x="297" y="37"/>
                  </a:lnTo>
                  <a:lnTo>
                    <a:pt x="315" y="23"/>
                  </a:lnTo>
                  <a:lnTo>
                    <a:pt x="320" y="23"/>
                  </a:lnTo>
                  <a:lnTo>
                    <a:pt x="324" y="14"/>
                  </a:lnTo>
                  <a:lnTo>
                    <a:pt x="329" y="14"/>
                  </a:lnTo>
                  <a:lnTo>
                    <a:pt x="329" y="14"/>
                  </a:lnTo>
                  <a:lnTo>
                    <a:pt x="329" y="14"/>
                  </a:lnTo>
                  <a:lnTo>
                    <a:pt x="329" y="14"/>
                  </a:lnTo>
                  <a:lnTo>
                    <a:pt x="334" y="14"/>
                  </a:lnTo>
                  <a:lnTo>
                    <a:pt x="338" y="9"/>
                  </a:lnTo>
                  <a:lnTo>
                    <a:pt x="343" y="5"/>
                  </a:lnTo>
                  <a:lnTo>
                    <a:pt x="347" y="0"/>
                  </a:lnTo>
                  <a:lnTo>
                    <a:pt x="352" y="0"/>
                  </a:lnTo>
                  <a:lnTo>
                    <a:pt x="356" y="0"/>
                  </a:lnTo>
                  <a:lnTo>
                    <a:pt x="361" y="0"/>
                  </a:lnTo>
                  <a:lnTo>
                    <a:pt x="366" y="0"/>
                  </a:lnTo>
                  <a:lnTo>
                    <a:pt x="366" y="0"/>
                  </a:lnTo>
                  <a:lnTo>
                    <a:pt x="370" y="0"/>
                  </a:lnTo>
                  <a:lnTo>
                    <a:pt x="375" y="0"/>
                  </a:lnTo>
                  <a:lnTo>
                    <a:pt x="379" y="5"/>
                  </a:lnTo>
                  <a:lnTo>
                    <a:pt x="384" y="5"/>
                  </a:lnTo>
                  <a:lnTo>
                    <a:pt x="388" y="5"/>
                  </a:lnTo>
                  <a:lnTo>
                    <a:pt x="388" y="5"/>
                  </a:lnTo>
                  <a:lnTo>
                    <a:pt x="393" y="5"/>
                  </a:lnTo>
                  <a:lnTo>
                    <a:pt x="402" y="5"/>
                  </a:lnTo>
                  <a:lnTo>
                    <a:pt x="420" y="9"/>
                  </a:lnTo>
                  <a:lnTo>
                    <a:pt x="425" y="9"/>
                  </a:lnTo>
                  <a:lnTo>
                    <a:pt x="425" y="9"/>
                  </a:lnTo>
                  <a:lnTo>
                    <a:pt x="434" y="9"/>
                  </a:lnTo>
                  <a:lnTo>
                    <a:pt x="434" y="9"/>
                  </a:lnTo>
                  <a:lnTo>
                    <a:pt x="434" y="9"/>
                  </a:lnTo>
                  <a:lnTo>
                    <a:pt x="439" y="14"/>
                  </a:lnTo>
                  <a:lnTo>
                    <a:pt x="439" y="14"/>
                  </a:lnTo>
                  <a:lnTo>
                    <a:pt x="443" y="14"/>
                  </a:lnTo>
                  <a:lnTo>
                    <a:pt x="448" y="14"/>
                  </a:lnTo>
                  <a:lnTo>
                    <a:pt x="448" y="14"/>
                  </a:lnTo>
                  <a:lnTo>
                    <a:pt x="452" y="14"/>
                  </a:lnTo>
                  <a:lnTo>
                    <a:pt x="457" y="14"/>
                  </a:lnTo>
                  <a:lnTo>
                    <a:pt x="466" y="18"/>
                  </a:lnTo>
                  <a:lnTo>
                    <a:pt x="471" y="23"/>
                  </a:lnTo>
                  <a:lnTo>
                    <a:pt x="480" y="27"/>
                  </a:lnTo>
                  <a:lnTo>
                    <a:pt x="484" y="27"/>
                  </a:lnTo>
                  <a:lnTo>
                    <a:pt x="484" y="27"/>
                  </a:lnTo>
                  <a:lnTo>
                    <a:pt x="484" y="32"/>
                  </a:lnTo>
                  <a:lnTo>
                    <a:pt x="489" y="37"/>
                  </a:lnTo>
                  <a:lnTo>
                    <a:pt x="494" y="37"/>
                  </a:lnTo>
                  <a:lnTo>
                    <a:pt x="498" y="41"/>
                  </a:lnTo>
                  <a:lnTo>
                    <a:pt x="498" y="41"/>
                  </a:lnTo>
                  <a:lnTo>
                    <a:pt x="498" y="41"/>
                  </a:lnTo>
                  <a:lnTo>
                    <a:pt x="503" y="46"/>
                  </a:lnTo>
                  <a:lnTo>
                    <a:pt x="521" y="50"/>
                  </a:lnTo>
                  <a:lnTo>
                    <a:pt x="521" y="50"/>
                  </a:lnTo>
                  <a:lnTo>
                    <a:pt x="526" y="55"/>
                  </a:lnTo>
                  <a:lnTo>
                    <a:pt x="526" y="55"/>
                  </a:lnTo>
                  <a:lnTo>
                    <a:pt x="530" y="64"/>
                  </a:lnTo>
                  <a:lnTo>
                    <a:pt x="535" y="64"/>
                  </a:lnTo>
                  <a:lnTo>
                    <a:pt x="539" y="69"/>
                  </a:lnTo>
                  <a:lnTo>
                    <a:pt x="539" y="69"/>
                  </a:lnTo>
                  <a:lnTo>
                    <a:pt x="544" y="73"/>
                  </a:lnTo>
                  <a:lnTo>
                    <a:pt x="544" y="73"/>
                  </a:lnTo>
                  <a:lnTo>
                    <a:pt x="548" y="78"/>
                  </a:lnTo>
                  <a:lnTo>
                    <a:pt x="553" y="82"/>
                  </a:lnTo>
                  <a:lnTo>
                    <a:pt x="558" y="87"/>
                  </a:lnTo>
                  <a:lnTo>
                    <a:pt x="562" y="91"/>
                  </a:lnTo>
                  <a:lnTo>
                    <a:pt x="567" y="96"/>
                  </a:lnTo>
                  <a:lnTo>
                    <a:pt x="567" y="96"/>
                  </a:lnTo>
                  <a:lnTo>
                    <a:pt x="567" y="96"/>
                  </a:lnTo>
                  <a:lnTo>
                    <a:pt x="571" y="96"/>
                  </a:lnTo>
                  <a:lnTo>
                    <a:pt x="571" y="96"/>
                  </a:lnTo>
                  <a:lnTo>
                    <a:pt x="576" y="101"/>
                  </a:lnTo>
                  <a:lnTo>
                    <a:pt x="580" y="105"/>
                  </a:lnTo>
                  <a:lnTo>
                    <a:pt x="585" y="105"/>
                  </a:lnTo>
                  <a:lnTo>
                    <a:pt x="590" y="105"/>
                  </a:lnTo>
                  <a:lnTo>
                    <a:pt x="603" y="101"/>
                  </a:lnTo>
                  <a:lnTo>
                    <a:pt x="608" y="101"/>
                  </a:lnTo>
                  <a:lnTo>
                    <a:pt x="612" y="101"/>
                  </a:lnTo>
                  <a:lnTo>
                    <a:pt x="617" y="105"/>
                  </a:lnTo>
                  <a:lnTo>
                    <a:pt x="626" y="105"/>
                  </a:lnTo>
                  <a:lnTo>
                    <a:pt x="631" y="110"/>
                  </a:lnTo>
                  <a:lnTo>
                    <a:pt x="635" y="114"/>
                  </a:lnTo>
                  <a:lnTo>
                    <a:pt x="644" y="119"/>
                  </a:lnTo>
                  <a:lnTo>
                    <a:pt x="649" y="123"/>
                  </a:lnTo>
                  <a:lnTo>
                    <a:pt x="649" y="123"/>
                  </a:lnTo>
                  <a:lnTo>
                    <a:pt x="654" y="123"/>
                  </a:lnTo>
                  <a:lnTo>
                    <a:pt x="658" y="133"/>
                  </a:lnTo>
                  <a:lnTo>
                    <a:pt x="663" y="137"/>
                  </a:lnTo>
                  <a:lnTo>
                    <a:pt x="667" y="142"/>
                  </a:lnTo>
                  <a:lnTo>
                    <a:pt x="667" y="146"/>
                  </a:lnTo>
                  <a:lnTo>
                    <a:pt x="667" y="146"/>
                  </a:lnTo>
                  <a:lnTo>
                    <a:pt x="667" y="151"/>
                  </a:lnTo>
                  <a:lnTo>
                    <a:pt x="672" y="155"/>
                  </a:lnTo>
                  <a:lnTo>
                    <a:pt x="676" y="155"/>
                  </a:lnTo>
                  <a:lnTo>
                    <a:pt x="676" y="155"/>
                  </a:lnTo>
                  <a:lnTo>
                    <a:pt x="681" y="155"/>
                  </a:lnTo>
                  <a:lnTo>
                    <a:pt x="681" y="155"/>
                  </a:lnTo>
                  <a:lnTo>
                    <a:pt x="686" y="160"/>
                  </a:lnTo>
                  <a:lnTo>
                    <a:pt x="686" y="160"/>
                  </a:lnTo>
                  <a:lnTo>
                    <a:pt x="690" y="160"/>
                  </a:lnTo>
                  <a:lnTo>
                    <a:pt x="690" y="160"/>
                  </a:lnTo>
                  <a:lnTo>
                    <a:pt x="695" y="160"/>
                  </a:lnTo>
                  <a:lnTo>
                    <a:pt x="699" y="160"/>
                  </a:lnTo>
                  <a:lnTo>
                    <a:pt x="713" y="165"/>
                  </a:lnTo>
                  <a:lnTo>
                    <a:pt x="718" y="169"/>
                  </a:lnTo>
                  <a:lnTo>
                    <a:pt x="718" y="169"/>
                  </a:lnTo>
                  <a:lnTo>
                    <a:pt x="722" y="169"/>
                  </a:lnTo>
                  <a:lnTo>
                    <a:pt x="731" y="169"/>
                  </a:lnTo>
                  <a:lnTo>
                    <a:pt x="736" y="174"/>
                  </a:lnTo>
                  <a:lnTo>
                    <a:pt x="736" y="174"/>
                  </a:lnTo>
                  <a:lnTo>
                    <a:pt x="745" y="174"/>
                  </a:lnTo>
                  <a:lnTo>
                    <a:pt x="750" y="178"/>
                  </a:lnTo>
                  <a:lnTo>
                    <a:pt x="754" y="178"/>
                  </a:lnTo>
                  <a:lnTo>
                    <a:pt x="759" y="178"/>
                  </a:lnTo>
                  <a:lnTo>
                    <a:pt x="772" y="183"/>
                  </a:lnTo>
                  <a:lnTo>
                    <a:pt x="777" y="187"/>
                  </a:lnTo>
                  <a:lnTo>
                    <a:pt x="777" y="187"/>
                  </a:lnTo>
                  <a:lnTo>
                    <a:pt x="782" y="187"/>
                  </a:lnTo>
                  <a:lnTo>
                    <a:pt x="782" y="187"/>
                  </a:lnTo>
                  <a:lnTo>
                    <a:pt x="795" y="210"/>
                  </a:lnTo>
                  <a:lnTo>
                    <a:pt x="791" y="219"/>
                  </a:lnTo>
                  <a:lnTo>
                    <a:pt x="786" y="219"/>
                  </a:lnTo>
                  <a:lnTo>
                    <a:pt x="786" y="224"/>
                  </a:lnTo>
                  <a:lnTo>
                    <a:pt x="782" y="229"/>
                  </a:lnTo>
                  <a:lnTo>
                    <a:pt x="782" y="229"/>
                  </a:lnTo>
                  <a:lnTo>
                    <a:pt x="777" y="229"/>
                  </a:lnTo>
                  <a:lnTo>
                    <a:pt x="777" y="233"/>
                  </a:lnTo>
                  <a:lnTo>
                    <a:pt x="777" y="233"/>
                  </a:lnTo>
                  <a:lnTo>
                    <a:pt x="777" y="238"/>
                  </a:lnTo>
                  <a:lnTo>
                    <a:pt x="777" y="242"/>
                  </a:lnTo>
                  <a:lnTo>
                    <a:pt x="772" y="242"/>
                  </a:lnTo>
                  <a:lnTo>
                    <a:pt x="772" y="247"/>
                  </a:lnTo>
                  <a:lnTo>
                    <a:pt x="768" y="247"/>
                  </a:lnTo>
                  <a:lnTo>
                    <a:pt x="763" y="247"/>
                  </a:lnTo>
                  <a:lnTo>
                    <a:pt x="759" y="251"/>
                  </a:lnTo>
                  <a:lnTo>
                    <a:pt x="754" y="256"/>
                  </a:lnTo>
                  <a:lnTo>
                    <a:pt x="745" y="261"/>
                  </a:lnTo>
                  <a:lnTo>
                    <a:pt x="736" y="261"/>
                  </a:lnTo>
                  <a:lnTo>
                    <a:pt x="736" y="261"/>
                  </a:lnTo>
                  <a:lnTo>
                    <a:pt x="718" y="261"/>
                  </a:lnTo>
                  <a:lnTo>
                    <a:pt x="713" y="265"/>
                  </a:lnTo>
                  <a:lnTo>
                    <a:pt x="708" y="261"/>
                  </a:lnTo>
                  <a:lnTo>
                    <a:pt x="695" y="261"/>
                  </a:lnTo>
                  <a:lnTo>
                    <a:pt x="686" y="256"/>
                  </a:lnTo>
                  <a:lnTo>
                    <a:pt x="681" y="251"/>
                  </a:lnTo>
                  <a:lnTo>
                    <a:pt x="676" y="251"/>
                  </a:lnTo>
                  <a:lnTo>
                    <a:pt x="672" y="247"/>
                  </a:lnTo>
                  <a:lnTo>
                    <a:pt x="667" y="247"/>
                  </a:lnTo>
                  <a:lnTo>
                    <a:pt x="667" y="242"/>
                  </a:lnTo>
                  <a:lnTo>
                    <a:pt x="663" y="242"/>
                  </a:lnTo>
                  <a:lnTo>
                    <a:pt x="658" y="233"/>
                  </a:lnTo>
                  <a:lnTo>
                    <a:pt x="654" y="233"/>
                  </a:lnTo>
                  <a:lnTo>
                    <a:pt x="654" y="229"/>
                  </a:lnTo>
                  <a:lnTo>
                    <a:pt x="649" y="229"/>
                  </a:lnTo>
                  <a:lnTo>
                    <a:pt x="649" y="229"/>
                  </a:lnTo>
                  <a:lnTo>
                    <a:pt x="649" y="224"/>
                  </a:lnTo>
                  <a:lnTo>
                    <a:pt x="644" y="219"/>
                  </a:lnTo>
                  <a:lnTo>
                    <a:pt x="644" y="215"/>
                  </a:lnTo>
                  <a:lnTo>
                    <a:pt x="640" y="215"/>
                  </a:lnTo>
                  <a:lnTo>
                    <a:pt x="640" y="206"/>
                  </a:lnTo>
                  <a:lnTo>
                    <a:pt x="635" y="206"/>
                  </a:lnTo>
                  <a:lnTo>
                    <a:pt x="626" y="201"/>
                  </a:lnTo>
                  <a:lnTo>
                    <a:pt x="626" y="197"/>
                  </a:lnTo>
                  <a:lnTo>
                    <a:pt x="617" y="192"/>
                  </a:lnTo>
                  <a:lnTo>
                    <a:pt x="608" y="192"/>
                  </a:lnTo>
                  <a:lnTo>
                    <a:pt x="594" y="197"/>
                  </a:lnTo>
                  <a:lnTo>
                    <a:pt x="590" y="201"/>
                  </a:lnTo>
                  <a:lnTo>
                    <a:pt x="580" y="201"/>
                  </a:lnTo>
                  <a:lnTo>
                    <a:pt x="580" y="201"/>
                  </a:lnTo>
                  <a:lnTo>
                    <a:pt x="576" y="201"/>
                  </a:lnTo>
                  <a:lnTo>
                    <a:pt x="571" y="201"/>
                  </a:lnTo>
                  <a:lnTo>
                    <a:pt x="567" y="206"/>
                  </a:lnTo>
                  <a:lnTo>
                    <a:pt x="558" y="206"/>
                  </a:lnTo>
                  <a:lnTo>
                    <a:pt x="553" y="201"/>
                  </a:lnTo>
                  <a:lnTo>
                    <a:pt x="548" y="201"/>
                  </a:lnTo>
                  <a:lnTo>
                    <a:pt x="539" y="201"/>
                  </a:lnTo>
                  <a:lnTo>
                    <a:pt x="539" y="197"/>
                  </a:lnTo>
                  <a:lnTo>
                    <a:pt x="530" y="197"/>
                  </a:lnTo>
                  <a:lnTo>
                    <a:pt x="526" y="197"/>
                  </a:lnTo>
                  <a:lnTo>
                    <a:pt x="526" y="192"/>
                  </a:lnTo>
                  <a:lnTo>
                    <a:pt x="521" y="192"/>
                  </a:lnTo>
                  <a:lnTo>
                    <a:pt x="516" y="192"/>
                  </a:lnTo>
                  <a:lnTo>
                    <a:pt x="516" y="192"/>
                  </a:lnTo>
                  <a:lnTo>
                    <a:pt x="512" y="192"/>
                  </a:lnTo>
                  <a:lnTo>
                    <a:pt x="498" y="197"/>
                  </a:lnTo>
                  <a:lnTo>
                    <a:pt x="494" y="201"/>
                  </a:lnTo>
                  <a:lnTo>
                    <a:pt x="489" y="206"/>
                  </a:lnTo>
                  <a:lnTo>
                    <a:pt x="489" y="206"/>
                  </a:lnTo>
                  <a:lnTo>
                    <a:pt x="484" y="206"/>
                  </a:lnTo>
                  <a:lnTo>
                    <a:pt x="484" y="210"/>
                  </a:lnTo>
                  <a:lnTo>
                    <a:pt x="484" y="215"/>
                  </a:lnTo>
                  <a:lnTo>
                    <a:pt x="484" y="219"/>
                  </a:lnTo>
                  <a:lnTo>
                    <a:pt x="484" y="233"/>
                  </a:lnTo>
                  <a:lnTo>
                    <a:pt x="484" y="238"/>
                  </a:lnTo>
                  <a:lnTo>
                    <a:pt x="484" y="247"/>
                  </a:lnTo>
                  <a:lnTo>
                    <a:pt x="484" y="251"/>
                  </a:lnTo>
                  <a:lnTo>
                    <a:pt x="484" y="261"/>
                  </a:lnTo>
                  <a:lnTo>
                    <a:pt x="489" y="265"/>
                  </a:lnTo>
                  <a:lnTo>
                    <a:pt x="489" y="270"/>
                  </a:lnTo>
                  <a:lnTo>
                    <a:pt x="494" y="279"/>
                  </a:lnTo>
                  <a:lnTo>
                    <a:pt x="498" y="283"/>
                  </a:lnTo>
                  <a:lnTo>
                    <a:pt x="503" y="288"/>
                  </a:lnTo>
                  <a:lnTo>
                    <a:pt x="516" y="288"/>
                  </a:lnTo>
                  <a:lnTo>
                    <a:pt x="516" y="293"/>
                  </a:lnTo>
                  <a:lnTo>
                    <a:pt x="521" y="293"/>
                  </a:lnTo>
                  <a:lnTo>
                    <a:pt x="526" y="293"/>
                  </a:lnTo>
                  <a:lnTo>
                    <a:pt x="516" y="297"/>
                  </a:lnTo>
                  <a:lnTo>
                    <a:pt x="516" y="302"/>
                  </a:lnTo>
                  <a:lnTo>
                    <a:pt x="512" y="306"/>
                  </a:lnTo>
                  <a:lnTo>
                    <a:pt x="507" y="306"/>
                  </a:lnTo>
                  <a:lnTo>
                    <a:pt x="503" y="311"/>
                  </a:lnTo>
                  <a:lnTo>
                    <a:pt x="498" y="315"/>
                  </a:lnTo>
                  <a:lnTo>
                    <a:pt x="494" y="315"/>
                  </a:lnTo>
                  <a:lnTo>
                    <a:pt x="494" y="320"/>
                  </a:lnTo>
                  <a:lnTo>
                    <a:pt x="494" y="325"/>
                  </a:lnTo>
                  <a:lnTo>
                    <a:pt x="494" y="325"/>
                  </a:lnTo>
                  <a:lnTo>
                    <a:pt x="489" y="334"/>
                  </a:lnTo>
                  <a:lnTo>
                    <a:pt x="484" y="343"/>
                  </a:lnTo>
                  <a:lnTo>
                    <a:pt x="484" y="347"/>
                  </a:lnTo>
                  <a:lnTo>
                    <a:pt x="480" y="352"/>
                  </a:lnTo>
                  <a:lnTo>
                    <a:pt x="480" y="357"/>
                  </a:lnTo>
                  <a:lnTo>
                    <a:pt x="475" y="357"/>
                  </a:lnTo>
                  <a:lnTo>
                    <a:pt x="475" y="357"/>
                  </a:lnTo>
                  <a:lnTo>
                    <a:pt x="471" y="361"/>
                  </a:lnTo>
                  <a:lnTo>
                    <a:pt x="471" y="366"/>
                  </a:lnTo>
                  <a:lnTo>
                    <a:pt x="466" y="366"/>
                  </a:lnTo>
                  <a:lnTo>
                    <a:pt x="462" y="370"/>
                  </a:lnTo>
                  <a:lnTo>
                    <a:pt x="452" y="375"/>
                  </a:lnTo>
                  <a:lnTo>
                    <a:pt x="448" y="375"/>
                  </a:lnTo>
                  <a:lnTo>
                    <a:pt x="448" y="379"/>
                  </a:lnTo>
                  <a:lnTo>
                    <a:pt x="439" y="379"/>
                  </a:lnTo>
                  <a:lnTo>
                    <a:pt x="434" y="379"/>
                  </a:lnTo>
                  <a:lnTo>
                    <a:pt x="430" y="379"/>
                  </a:lnTo>
                  <a:lnTo>
                    <a:pt x="430" y="379"/>
                  </a:lnTo>
                  <a:lnTo>
                    <a:pt x="420" y="384"/>
                  </a:lnTo>
                  <a:lnTo>
                    <a:pt x="416" y="384"/>
                  </a:lnTo>
                  <a:lnTo>
                    <a:pt x="411" y="384"/>
                  </a:lnTo>
                  <a:lnTo>
                    <a:pt x="407" y="384"/>
                  </a:lnTo>
                  <a:lnTo>
                    <a:pt x="402" y="389"/>
                  </a:lnTo>
                  <a:lnTo>
                    <a:pt x="398" y="389"/>
                  </a:lnTo>
                  <a:lnTo>
                    <a:pt x="398" y="393"/>
                  </a:lnTo>
                  <a:lnTo>
                    <a:pt x="384" y="398"/>
                  </a:lnTo>
                  <a:lnTo>
                    <a:pt x="379" y="402"/>
                  </a:lnTo>
                  <a:lnTo>
                    <a:pt x="375" y="402"/>
                  </a:lnTo>
                  <a:lnTo>
                    <a:pt x="370" y="402"/>
                  </a:lnTo>
                  <a:lnTo>
                    <a:pt x="370" y="402"/>
                  </a:lnTo>
                  <a:lnTo>
                    <a:pt x="366" y="407"/>
                  </a:lnTo>
                  <a:lnTo>
                    <a:pt x="361" y="411"/>
                  </a:lnTo>
                  <a:lnTo>
                    <a:pt x="361" y="416"/>
                  </a:lnTo>
                  <a:lnTo>
                    <a:pt x="356" y="421"/>
                  </a:lnTo>
                  <a:lnTo>
                    <a:pt x="352" y="425"/>
                  </a:lnTo>
                  <a:lnTo>
                    <a:pt x="352" y="434"/>
                  </a:lnTo>
                  <a:lnTo>
                    <a:pt x="352" y="443"/>
                  </a:lnTo>
                  <a:lnTo>
                    <a:pt x="352" y="443"/>
                  </a:lnTo>
                  <a:lnTo>
                    <a:pt x="352" y="448"/>
                  </a:lnTo>
                  <a:lnTo>
                    <a:pt x="352" y="453"/>
                  </a:lnTo>
                  <a:lnTo>
                    <a:pt x="352" y="453"/>
                  </a:lnTo>
                  <a:lnTo>
                    <a:pt x="356" y="457"/>
                  </a:lnTo>
                  <a:lnTo>
                    <a:pt x="361" y="471"/>
                  </a:lnTo>
                  <a:lnTo>
                    <a:pt x="361" y="480"/>
                  </a:lnTo>
                  <a:lnTo>
                    <a:pt x="361" y="485"/>
                  </a:lnTo>
                  <a:lnTo>
                    <a:pt x="361" y="494"/>
                  </a:lnTo>
                  <a:lnTo>
                    <a:pt x="361" y="503"/>
                  </a:lnTo>
                  <a:lnTo>
                    <a:pt x="361" y="507"/>
                  </a:lnTo>
                  <a:lnTo>
                    <a:pt x="361" y="521"/>
                  </a:lnTo>
                  <a:lnTo>
                    <a:pt x="361" y="526"/>
                  </a:lnTo>
                  <a:lnTo>
                    <a:pt x="361" y="535"/>
                  </a:lnTo>
                  <a:lnTo>
                    <a:pt x="361" y="539"/>
                  </a:lnTo>
                  <a:lnTo>
                    <a:pt x="361" y="549"/>
                  </a:lnTo>
                  <a:lnTo>
                    <a:pt x="361" y="553"/>
                  </a:lnTo>
                  <a:lnTo>
                    <a:pt x="361" y="553"/>
                  </a:lnTo>
                  <a:lnTo>
                    <a:pt x="361" y="558"/>
                  </a:lnTo>
                  <a:lnTo>
                    <a:pt x="361" y="562"/>
                  </a:lnTo>
                  <a:lnTo>
                    <a:pt x="366" y="567"/>
                  </a:lnTo>
                  <a:lnTo>
                    <a:pt x="370" y="567"/>
                  </a:lnTo>
                  <a:lnTo>
                    <a:pt x="370" y="571"/>
                  </a:lnTo>
                  <a:lnTo>
                    <a:pt x="370" y="576"/>
                  </a:lnTo>
                  <a:lnTo>
                    <a:pt x="375" y="576"/>
                  </a:lnTo>
                  <a:lnTo>
                    <a:pt x="375" y="585"/>
                  </a:lnTo>
                  <a:lnTo>
                    <a:pt x="375" y="590"/>
                  </a:lnTo>
                  <a:lnTo>
                    <a:pt x="375" y="594"/>
                  </a:lnTo>
                  <a:lnTo>
                    <a:pt x="375" y="599"/>
                  </a:lnTo>
                  <a:lnTo>
                    <a:pt x="375" y="599"/>
                  </a:lnTo>
                  <a:lnTo>
                    <a:pt x="375" y="603"/>
                  </a:lnTo>
                  <a:lnTo>
                    <a:pt x="375" y="608"/>
                  </a:lnTo>
                  <a:lnTo>
                    <a:pt x="379" y="617"/>
                  </a:lnTo>
                  <a:lnTo>
                    <a:pt x="379" y="622"/>
                  </a:lnTo>
                  <a:lnTo>
                    <a:pt x="379" y="622"/>
                  </a:lnTo>
                  <a:lnTo>
                    <a:pt x="384" y="626"/>
                  </a:lnTo>
                  <a:lnTo>
                    <a:pt x="384" y="631"/>
                  </a:lnTo>
                  <a:lnTo>
                    <a:pt x="384" y="635"/>
                  </a:lnTo>
                  <a:lnTo>
                    <a:pt x="388" y="645"/>
                  </a:lnTo>
                  <a:lnTo>
                    <a:pt x="388" y="645"/>
                  </a:lnTo>
                  <a:lnTo>
                    <a:pt x="388" y="649"/>
                  </a:lnTo>
                  <a:lnTo>
                    <a:pt x="388" y="654"/>
                  </a:lnTo>
                  <a:lnTo>
                    <a:pt x="384" y="658"/>
                  </a:lnTo>
                  <a:lnTo>
                    <a:pt x="375" y="663"/>
                  </a:lnTo>
                  <a:lnTo>
                    <a:pt x="370" y="663"/>
                  </a:lnTo>
                  <a:lnTo>
                    <a:pt x="356" y="663"/>
                  </a:lnTo>
                  <a:lnTo>
                    <a:pt x="352" y="663"/>
                  </a:lnTo>
                  <a:lnTo>
                    <a:pt x="347" y="663"/>
                  </a:lnTo>
                  <a:lnTo>
                    <a:pt x="338" y="667"/>
                  </a:lnTo>
                  <a:lnTo>
                    <a:pt x="338" y="667"/>
                  </a:lnTo>
                  <a:lnTo>
                    <a:pt x="334" y="672"/>
                  </a:lnTo>
                  <a:lnTo>
                    <a:pt x="329" y="672"/>
                  </a:lnTo>
                  <a:lnTo>
                    <a:pt x="324" y="672"/>
                  </a:lnTo>
                  <a:lnTo>
                    <a:pt x="324" y="677"/>
                  </a:lnTo>
                  <a:lnTo>
                    <a:pt x="320" y="681"/>
                  </a:lnTo>
                  <a:lnTo>
                    <a:pt x="320" y="686"/>
                  </a:lnTo>
                  <a:lnTo>
                    <a:pt x="320" y="690"/>
                  </a:lnTo>
                  <a:lnTo>
                    <a:pt x="320" y="695"/>
                  </a:lnTo>
                  <a:lnTo>
                    <a:pt x="315" y="695"/>
                  </a:lnTo>
                  <a:lnTo>
                    <a:pt x="311" y="695"/>
                  </a:lnTo>
                  <a:lnTo>
                    <a:pt x="311" y="699"/>
                  </a:lnTo>
                  <a:lnTo>
                    <a:pt x="306" y="699"/>
                  </a:lnTo>
                  <a:lnTo>
                    <a:pt x="302" y="709"/>
                  </a:lnTo>
                  <a:lnTo>
                    <a:pt x="297" y="709"/>
                  </a:lnTo>
                  <a:lnTo>
                    <a:pt x="297" y="709"/>
                  </a:lnTo>
                  <a:lnTo>
                    <a:pt x="302" y="713"/>
                  </a:lnTo>
                  <a:lnTo>
                    <a:pt x="302" y="718"/>
                  </a:lnTo>
                  <a:lnTo>
                    <a:pt x="306" y="722"/>
                  </a:lnTo>
                  <a:lnTo>
                    <a:pt x="311" y="727"/>
                  </a:lnTo>
                  <a:lnTo>
                    <a:pt x="311" y="731"/>
                  </a:lnTo>
                  <a:lnTo>
                    <a:pt x="315" y="731"/>
                  </a:lnTo>
                  <a:lnTo>
                    <a:pt x="315" y="731"/>
                  </a:lnTo>
                  <a:lnTo>
                    <a:pt x="320" y="741"/>
                  </a:lnTo>
                  <a:lnTo>
                    <a:pt x="324" y="745"/>
                  </a:lnTo>
                  <a:lnTo>
                    <a:pt x="324" y="750"/>
                  </a:lnTo>
                  <a:lnTo>
                    <a:pt x="324" y="754"/>
                  </a:lnTo>
                  <a:lnTo>
                    <a:pt x="338" y="759"/>
                  </a:lnTo>
                  <a:lnTo>
                    <a:pt x="338" y="759"/>
                  </a:lnTo>
                  <a:lnTo>
                    <a:pt x="343" y="759"/>
                  </a:lnTo>
                  <a:lnTo>
                    <a:pt x="352" y="759"/>
                  </a:lnTo>
                  <a:lnTo>
                    <a:pt x="361" y="759"/>
                  </a:lnTo>
                  <a:lnTo>
                    <a:pt x="361" y="759"/>
                  </a:lnTo>
                  <a:lnTo>
                    <a:pt x="366" y="759"/>
                  </a:lnTo>
                  <a:lnTo>
                    <a:pt x="361" y="763"/>
                  </a:lnTo>
                  <a:lnTo>
                    <a:pt x="352" y="773"/>
                  </a:lnTo>
                  <a:lnTo>
                    <a:pt x="343" y="773"/>
                  </a:lnTo>
                  <a:lnTo>
                    <a:pt x="338" y="777"/>
                  </a:lnTo>
                  <a:lnTo>
                    <a:pt x="338" y="777"/>
                  </a:lnTo>
                  <a:lnTo>
                    <a:pt x="338" y="782"/>
                  </a:lnTo>
                  <a:lnTo>
                    <a:pt x="334" y="782"/>
                  </a:lnTo>
                  <a:lnTo>
                    <a:pt x="334" y="786"/>
                  </a:lnTo>
                  <a:lnTo>
                    <a:pt x="329" y="786"/>
                  </a:lnTo>
                  <a:lnTo>
                    <a:pt x="324" y="791"/>
                  </a:lnTo>
                  <a:lnTo>
                    <a:pt x="320" y="791"/>
                  </a:lnTo>
                  <a:lnTo>
                    <a:pt x="320" y="795"/>
                  </a:lnTo>
                  <a:lnTo>
                    <a:pt x="320" y="795"/>
                  </a:lnTo>
                  <a:lnTo>
                    <a:pt x="320" y="795"/>
                  </a:lnTo>
                  <a:lnTo>
                    <a:pt x="315" y="795"/>
                  </a:lnTo>
                  <a:lnTo>
                    <a:pt x="306" y="805"/>
                  </a:lnTo>
                  <a:lnTo>
                    <a:pt x="302" y="809"/>
                  </a:lnTo>
                  <a:lnTo>
                    <a:pt x="297" y="814"/>
                  </a:lnTo>
                  <a:lnTo>
                    <a:pt x="297" y="814"/>
                  </a:lnTo>
                  <a:lnTo>
                    <a:pt x="292" y="814"/>
                  </a:lnTo>
                  <a:lnTo>
                    <a:pt x="292" y="818"/>
                  </a:lnTo>
                  <a:lnTo>
                    <a:pt x="288" y="818"/>
                  </a:lnTo>
                  <a:lnTo>
                    <a:pt x="283" y="818"/>
                  </a:lnTo>
                  <a:lnTo>
                    <a:pt x="279" y="818"/>
                  </a:lnTo>
                  <a:lnTo>
                    <a:pt x="274" y="814"/>
                  </a:lnTo>
                  <a:lnTo>
                    <a:pt x="274" y="809"/>
                  </a:lnTo>
                  <a:lnTo>
                    <a:pt x="274" y="795"/>
                  </a:lnTo>
                  <a:lnTo>
                    <a:pt x="274" y="791"/>
                  </a:lnTo>
                  <a:lnTo>
                    <a:pt x="274" y="786"/>
                  </a:lnTo>
                  <a:lnTo>
                    <a:pt x="274" y="786"/>
                  </a:lnTo>
                  <a:lnTo>
                    <a:pt x="274" y="782"/>
                  </a:lnTo>
                  <a:lnTo>
                    <a:pt x="270" y="773"/>
                  </a:lnTo>
                  <a:lnTo>
                    <a:pt x="265" y="773"/>
                  </a:lnTo>
                  <a:lnTo>
                    <a:pt x="260" y="773"/>
                  </a:lnTo>
                  <a:lnTo>
                    <a:pt x="256" y="768"/>
                  </a:lnTo>
                  <a:lnTo>
                    <a:pt x="251" y="763"/>
                  </a:lnTo>
                  <a:lnTo>
                    <a:pt x="251" y="763"/>
                  </a:lnTo>
                  <a:lnTo>
                    <a:pt x="247" y="759"/>
                  </a:lnTo>
                  <a:lnTo>
                    <a:pt x="247" y="754"/>
                  </a:lnTo>
                  <a:lnTo>
                    <a:pt x="242" y="754"/>
                  </a:lnTo>
                  <a:lnTo>
                    <a:pt x="238" y="754"/>
                  </a:lnTo>
                  <a:lnTo>
                    <a:pt x="233" y="754"/>
                  </a:lnTo>
                  <a:lnTo>
                    <a:pt x="228" y="750"/>
                  </a:lnTo>
                  <a:lnTo>
                    <a:pt x="228" y="750"/>
                  </a:lnTo>
                  <a:lnTo>
                    <a:pt x="224" y="750"/>
                  </a:lnTo>
                  <a:lnTo>
                    <a:pt x="215" y="750"/>
                  </a:lnTo>
                  <a:lnTo>
                    <a:pt x="210" y="750"/>
                  </a:lnTo>
                  <a:lnTo>
                    <a:pt x="210" y="750"/>
                  </a:lnTo>
                  <a:lnTo>
                    <a:pt x="201" y="754"/>
                  </a:lnTo>
                  <a:lnTo>
                    <a:pt x="196" y="754"/>
                  </a:lnTo>
                  <a:lnTo>
                    <a:pt x="192" y="754"/>
                  </a:lnTo>
                  <a:lnTo>
                    <a:pt x="187" y="754"/>
                  </a:lnTo>
                  <a:lnTo>
                    <a:pt x="187" y="759"/>
                  </a:lnTo>
                  <a:lnTo>
                    <a:pt x="187" y="768"/>
                  </a:lnTo>
                  <a:lnTo>
                    <a:pt x="183" y="782"/>
                  </a:lnTo>
                  <a:lnTo>
                    <a:pt x="183" y="786"/>
                  </a:lnTo>
                  <a:lnTo>
                    <a:pt x="178" y="786"/>
                  </a:lnTo>
                  <a:lnTo>
                    <a:pt x="178" y="791"/>
                  </a:lnTo>
                  <a:lnTo>
                    <a:pt x="169" y="791"/>
                  </a:lnTo>
                  <a:lnTo>
                    <a:pt x="164" y="791"/>
                  </a:lnTo>
                  <a:lnTo>
                    <a:pt x="164" y="791"/>
                  </a:lnTo>
                  <a:lnTo>
                    <a:pt x="160" y="791"/>
                  </a:lnTo>
                  <a:lnTo>
                    <a:pt x="155" y="786"/>
                  </a:lnTo>
                  <a:lnTo>
                    <a:pt x="142" y="786"/>
                  </a:lnTo>
                  <a:lnTo>
                    <a:pt x="137" y="786"/>
                  </a:lnTo>
                  <a:lnTo>
                    <a:pt x="132" y="786"/>
                  </a:lnTo>
                  <a:lnTo>
                    <a:pt x="123" y="791"/>
                  </a:lnTo>
                  <a:lnTo>
                    <a:pt x="123" y="791"/>
                  </a:lnTo>
                  <a:lnTo>
                    <a:pt x="123" y="795"/>
                  </a:lnTo>
                  <a:lnTo>
                    <a:pt x="123" y="795"/>
                  </a:lnTo>
                  <a:lnTo>
                    <a:pt x="123" y="805"/>
                  </a:lnTo>
                  <a:lnTo>
                    <a:pt x="123" y="818"/>
                  </a:lnTo>
                  <a:lnTo>
                    <a:pt x="123" y="818"/>
                  </a:lnTo>
                  <a:lnTo>
                    <a:pt x="123" y="827"/>
                  </a:lnTo>
                  <a:lnTo>
                    <a:pt x="123" y="832"/>
                  </a:lnTo>
                  <a:lnTo>
                    <a:pt x="123" y="837"/>
                  </a:lnTo>
                  <a:lnTo>
                    <a:pt x="119" y="837"/>
                  </a:lnTo>
                  <a:lnTo>
                    <a:pt x="119" y="841"/>
                  </a:lnTo>
                  <a:lnTo>
                    <a:pt x="110" y="841"/>
                  </a:lnTo>
                  <a:lnTo>
                    <a:pt x="105" y="841"/>
                  </a:lnTo>
                  <a:lnTo>
                    <a:pt x="100" y="841"/>
                  </a:lnTo>
                  <a:lnTo>
                    <a:pt x="96" y="837"/>
                  </a:lnTo>
                  <a:lnTo>
                    <a:pt x="96" y="832"/>
                  </a:lnTo>
                  <a:lnTo>
                    <a:pt x="91" y="832"/>
                  </a:lnTo>
                  <a:lnTo>
                    <a:pt x="87" y="827"/>
                  </a:lnTo>
                  <a:lnTo>
                    <a:pt x="82" y="823"/>
                  </a:lnTo>
                  <a:lnTo>
                    <a:pt x="78" y="818"/>
                  </a:lnTo>
                  <a:lnTo>
                    <a:pt x="78" y="818"/>
                  </a:lnTo>
                  <a:lnTo>
                    <a:pt x="78" y="818"/>
                  </a:lnTo>
                  <a:lnTo>
                    <a:pt x="73" y="818"/>
                  </a:lnTo>
                  <a:lnTo>
                    <a:pt x="68" y="814"/>
                  </a:lnTo>
                  <a:lnTo>
                    <a:pt x="64" y="814"/>
                  </a:lnTo>
                  <a:lnTo>
                    <a:pt x="59" y="814"/>
                  </a:lnTo>
                  <a:lnTo>
                    <a:pt x="55" y="809"/>
                  </a:lnTo>
                  <a:lnTo>
                    <a:pt x="55" y="809"/>
                  </a:lnTo>
                  <a:lnTo>
                    <a:pt x="50" y="809"/>
                  </a:lnTo>
                  <a:lnTo>
                    <a:pt x="50" y="805"/>
                  </a:lnTo>
                  <a:lnTo>
                    <a:pt x="46" y="805"/>
                  </a:lnTo>
                  <a:lnTo>
                    <a:pt x="41" y="805"/>
                  </a:lnTo>
                  <a:lnTo>
                    <a:pt x="41" y="800"/>
                  </a:lnTo>
                  <a:lnTo>
                    <a:pt x="41" y="795"/>
                  </a:lnTo>
                  <a:lnTo>
                    <a:pt x="41" y="795"/>
                  </a:lnTo>
                  <a:lnTo>
                    <a:pt x="41" y="791"/>
                  </a:lnTo>
                  <a:lnTo>
                    <a:pt x="46" y="786"/>
                  </a:lnTo>
                  <a:lnTo>
                    <a:pt x="46" y="782"/>
                  </a:lnTo>
                  <a:lnTo>
                    <a:pt x="50" y="782"/>
                  </a:lnTo>
                  <a:lnTo>
                    <a:pt x="55" y="773"/>
                  </a:lnTo>
                  <a:lnTo>
                    <a:pt x="55" y="773"/>
                  </a:lnTo>
                  <a:lnTo>
                    <a:pt x="55" y="768"/>
                  </a:lnTo>
                  <a:lnTo>
                    <a:pt x="50" y="763"/>
                  </a:lnTo>
                  <a:lnTo>
                    <a:pt x="50" y="759"/>
                  </a:lnTo>
                  <a:lnTo>
                    <a:pt x="46" y="759"/>
                  </a:lnTo>
                  <a:lnTo>
                    <a:pt x="36" y="754"/>
                  </a:lnTo>
                  <a:lnTo>
                    <a:pt x="27" y="754"/>
                  </a:lnTo>
                  <a:lnTo>
                    <a:pt x="23" y="754"/>
                  </a:lnTo>
                  <a:lnTo>
                    <a:pt x="14" y="754"/>
                  </a:lnTo>
                  <a:lnTo>
                    <a:pt x="9" y="750"/>
                  </a:lnTo>
                  <a:lnTo>
                    <a:pt x="9" y="745"/>
                  </a:lnTo>
                  <a:lnTo>
                    <a:pt x="9" y="736"/>
                  </a:lnTo>
                  <a:lnTo>
                    <a:pt x="9" y="731"/>
                  </a:lnTo>
                  <a:lnTo>
                    <a:pt x="14" y="731"/>
                  </a:lnTo>
                  <a:lnTo>
                    <a:pt x="14" y="727"/>
                  </a:lnTo>
                  <a:lnTo>
                    <a:pt x="14" y="722"/>
                  </a:lnTo>
                  <a:lnTo>
                    <a:pt x="14" y="722"/>
                  </a:lnTo>
                  <a:lnTo>
                    <a:pt x="14" y="718"/>
                  </a:lnTo>
                  <a:lnTo>
                    <a:pt x="14" y="713"/>
                  </a:lnTo>
                  <a:lnTo>
                    <a:pt x="18" y="709"/>
                  </a:lnTo>
                  <a:lnTo>
                    <a:pt x="18" y="709"/>
                  </a:lnTo>
                  <a:lnTo>
                    <a:pt x="18" y="699"/>
                  </a:lnTo>
                  <a:lnTo>
                    <a:pt x="18" y="699"/>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0" name="Freeform 27">
              <a:extLst>
                <a:ext uri="{FF2B5EF4-FFF2-40B4-BE49-F238E27FC236}">
                  <a16:creationId xmlns:a16="http://schemas.microsoft.com/office/drawing/2014/main" id="{CB08A264-72D3-4388-AEB6-A24C11F2AC6E}"/>
                </a:ext>
              </a:extLst>
            </p:cNvPr>
            <p:cNvSpPr>
              <a:spLocks/>
            </p:cNvSpPr>
            <p:nvPr>
              <p:custDataLst>
                <p:tags r:id="rId22"/>
              </p:custDataLst>
            </p:nvPr>
          </p:nvSpPr>
          <p:spPr bwMode="auto">
            <a:xfrm>
              <a:off x="411254" y="1046440"/>
              <a:ext cx="841373" cy="1197062"/>
            </a:xfrm>
            <a:custGeom>
              <a:avLst/>
              <a:gdLst/>
              <a:ahLst/>
              <a:cxnLst>
                <a:cxn ang="0">
                  <a:pos x="407" y="471"/>
                </a:cxn>
                <a:cxn ang="0">
                  <a:pos x="393" y="645"/>
                </a:cxn>
                <a:cxn ang="0">
                  <a:pos x="434" y="618"/>
                </a:cxn>
                <a:cxn ang="0">
                  <a:pos x="494" y="595"/>
                </a:cxn>
                <a:cxn ang="0">
                  <a:pos x="544" y="595"/>
                </a:cxn>
                <a:cxn ang="0">
                  <a:pos x="608" y="604"/>
                </a:cxn>
                <a:cxn ang="0">
                  <a:pos x="644" y="581"/>
                </a:cxn>
                <a:cxn ang="0">
                  <a:pos x="699" y="576"/>
                </a:cxn>
                <a:cxn ang="0">
                  <a:pos x="740" y="604"/>
                </a:cxn>
                <a:cxn ang="0">
                  <a:pos x="777" y="627"/>
                </a:cxn>
                <a:cxn ang="0">
                  <a:pos x="823" y="622"/>
                </a:cxn>
                <a:cxn ang="0">
                  <a:pos x="868" y="618"/>
                </a:cxn>
                <a:cxn ang="0">
                  <a:pos x="919" y="663"/>
                </a:cxn>
                <a:cxn ang="0">
                  <a:pos x="919" y="718"/>
                </a:cxn>
                <a:cxn ang="0">
                  <a:pos x="960" y="755"/>
                </a:cxn>
                <a:cxn ang="0">
                  <a:pos x="955" y="823"/>
                </a:cxn>
                <a:cxn ang="0">
                  <a:pos x="905" y="855"/>
                </a:cxn>
                <a:cxn ang="0">
                  <a:pos x="763" y="864"/>
                </a:cxn>
                <a:cxn ang="0">
                  <a:pos x="718" y="796"/>
                </a:cxn>
                <a:cxn ang="0">
                  <a:pos x="686" y="732"/>
                </a:cxn>
                <a:cxn ang="0">
                  <a:pos x="567" y="736"/>
                </a:cxn>
                <a:cxn ang="0">
                  <a:pos x="498" y="755"/>
                </a:cxn>
                <a:cxn ang="0">
                  <a:pos x="494" y="791"/>
                </a:cxn>
                <a:cxn ang="0">
                  <a:pos x="544" y="828"/>
                </a:cxn>
                <a:cxn ang="0">
                  <a:pos x="603" y="878"/>
                </a:cxn>
                <a:cxn ang="0">
                  <a:pos x="612" y="919"/>
                </a:cxn>
                <a:cxn ang="0">
                  <a:pos x="590" y="951"/>
                </a:cxn>
                <a:cxn ang="0">
                  <a:pos x="526" y="965"/>
                </a:cxn>
                <a:cxn ang="0">
                  <a:pos x="512" y="1020"/>
                </a:cxn>
                <a:cxn ang="0">
                  <a:pos x="535" y="1088"/>
                </a:cxn>
                <a:cxn ang="0">
                  <a:pos x="526" y="1139"/>
                </a:cxn>
                <a:cxn ang="0">
                  <a:pos x="457" y="1134"/>
                </a:cxn>
                <a:cxn ang="0">
                  <a:pos x="434" y="1184"/>
                </a:cxn>
                <a:cxn ang="0">
                  <a:pos x="402" y="1143"/>
                </a:cxn>
                <a:cxn ang="0">
                  <a:pos x="375" y="1075"/>
                </a:cxn>
                <a:cxn ang="0">
                  <a:pos x="402" y="1024"/>
                </a:cxn>
                <a:cxn ang="0">
                  <a:pos x="443" y="997"/>
                </a:cxn>
                <a:cxn ang="0">
                  <a:pos x="462" y="906"/>
                </a:cxn>
                <a:cxn ang="0">
                  <a:pos x="416" y="919"/>
                </a:cxn>
                <a:cxn ang="0">
                  <a:pos x="366" y="915"/>
                </a:cxn>
                <a:cxn ang="0">
                  <a:pos x="315" y="883"/>
                </a:cxn>
                <a:cxn ang="0">
                  <a:pos x="274" y="860"/>
                </a:cxn>
                <a:cxn ang="0">
                  <a:pos x="210" y="864"/>
                </a:cxn>
                <a:cxn ang="0">
                  <a:pos x="137" y="842"/>
                </a:cxn>
                <a:cxn ang="0">
                  <a:pos x="87" y="823"/>
                </a:cxn>
                <a:cxn ang="0">
                  <a:pos x="0" y="736"/>
                </a:cxn>
                <a:cxn ang="0">
                  <a:pos x="41" y="590"/>
                </a:cxn>
                <a:cxn ang="0">
                  <a:pos x="46" y="512"/>
                </a:cxn>
                <a:cxn ang="0">
                  <a:pos x="55" y="403"/>
                </a:cxn>
                <a:cxn ang="0">
                  <a:pos x="55" y="288"/>
                </a:cxn>
                <a:cxn ang="0">
                  <a:pos x="142" y="211"/>
                </a:cxn>
                <a:cxn ang="0">
                  <a:pos x="215" y="119"/>
                </a:cxn>
                <a:cxn ang="0">
                  <a:pos x="288" y="10"/>
                </a:cxn>
                <a:cxn ang="0">
                  <a:pos x="324" y="19"/>
                </a:cxn>
                <a:cxn ang="0">
                  <a:pos x="370" y="51"/>
                </a:cxn>
                <a:cxn ang="0">
                  <a:pos x="434" y="74"/>
                </a:cxn>
                <a:cxn ang="0">
                  <a:pos x="480" y="46"/>
                </a:cxn>
                <a:cxn ang="0">
                  <a:pos x="471" y="110"/>
                </a:cxn>
                <a:cxn ang="0">
                  <a:pos x="489" y="188"/>
                </a:cxn>
                <a:cxn ang="0">
                  <a:pos x="480" y="330"/>
                </a:cxn>
              </a:cxnLst>
              <a:rect l="0" t="0" r="r" b="b"/>
              <a:pathLst>
                <a:path w="964" h="1184">
                  <a:moveTo>
                    <a:pt x="434" y="320"/>
                  </a:moveTo>
                  <a:lnTo>
                    <a:pt x="425" y="325"/>
                  </a:lnTo>
                  <a:lnTo>
                    <a:pt x="416" y="330"/>
                  </a:lnTo>
                  <a:lnTo>
                    <a:pt x="411" y="339"/>
                  </a:lnTo>
                  <a:lnTo>
                    <a:pt x="407" y="343"/>
                  </a:lnTo>
                  <a:lnTo>
                    <a:pt x="402" y="352"/>
                  </a:lnTo>
                  <a:lnTo>
                    <a:pt x="407" y="371"/>
                  </a:lnTo>
                  <a:lnTo>
                    <a:pt x="402" y="384"/>
                  </a:lnTo>
                  <a:lnTo>
                    <a:pt x="402" y="403"/>
                  </a:lnTo>
                  <a:lnTo>
                    <a:pt x="402" y="412"/>
                  </a:lnTo>
                  <a:lnTo>
                    <a:pt x="402" y="421"/>
                  </a:lnTo>
                  <a:lnTo>
                    <a:pt x="402" y="439"/>
                  </a:lnTo>
                  <a:lnTo>
                    <a:pt x="407" y="453"/>
                  </a:lnTo>
                  <a:lnTo>
                    <a:pt x="407" y="471"/>
                  </a:lnTo>
                  <a:lnTo>
                    <a:pt x="407" y="476"/>
                  </a:lnTo>
                  <a:lnTo>
                    <a:pt x="407" y="494"/>
                  </a:lnTo>
                  <a:lnTo>
                    <a:pt x="398" y="512"/>
                  </a:lnTo>
                  <a:lnTo>
                    <a:pt x="393" y="526"/>
                  </a:lnTo>
                  <a:lnTo>
                    <a:pt x="388" y="549"/>
                  </a:lnTo>
                  <a:lnTo>
                    <a:pt x="384" y="572"/>
                  </a:lnTo>
                  <a:lnTo>
                    <a:pt x="379" y="590"/>
                  </a:lnTo>
                  <a:lnTo>
                    <a:pt x="375" y="599"/>
                  </a:lnTo>
                  <a:lnTo>
                    <a:pt x="370" y="604"/>
                  </a:lnTo>
                  <a:lnTo>
                    <a:pt x="370" y="618"/>
                  </a:lnTo>
                  <a:lnTo>
                    <a:pt x="370" y="631"/>
                  </a:lnTo>
                  <a:lnTo>
                    <a:pt x="375" y="636"/>
                  </a:lnTo>
                  <a:lnTo>
                    <a:pt x="388" y="640"/>
                  </a:lnTo>
                  <a:lnTo>
                    <a:pt x="393" y="645"/>
                  </a:lnTo>
                  <a:lnTo>
                    <a:pt x="398" y="645"/>
                  </a:lnTo>
                  <a:lnTo>
                    <a:pt x="402" y="645"/>
                  </a:lnTo>
                  <a:lnTo>
                    <a:pt x="407" y="650"/>
                  </a:lnTo>
                  <a:lnTo>
                    <a:pt x="407" y="645"/>
                  </a:lnTo>
                  <a:lnTo>
                    <a:pt x="411" y="645"/>
                  </a:lnTo>
                  <a:lnTo>
                    <a:pt x="411" y="640"/>
                  </a:lnTo>
                  <a:lnTo>
                    <a:pt x="416" y="640"/>
                  </a:lnTo>
                  <a:lnTo>
                    <a:pt x="416" y="636"/>
                  </a:lnTo>
                  <a:lnTo>
                    <a:pt x="416" y="636"/>
                  </a:lnTo>
                  <a:lnTo>
                    <a:pt x="416" y="631"/>
                  </a:lnTo>
                  <a:lnTo>
                    <a:pt x="420" y="627"/>
                  </a:lnTo>
                  <a:lnTo>
                    <a:pt x="425" y="622"/>
                  </a:lnTo>
                  <a:lnTo>
                    <a:pt x="430" y="618"/>
                  </a:lnTo>
                  <a:lnTo>
                    <a:pt x="434" y="618"/>
                  </a:lnTo>
                  <a:lnTo>
                    <a:pt x="434" y="618"/>
                  </a:lnTo>
                  <a:lnTo>
                    <a:pt x="443" y="613"/>
                  </a:lnTo>
                  <a:lnTo>
                    <a:pt x="448" y="613"/>
                  </a:lnTo>
                  <a:lnTo>
                    <a:pt x="452" y="608"/>
                  </a:lnTo>
                  <a:lnTo>
                    <a:pt x="457" y="608"/>
                  </a:lnTo>
                  <a:lnTo>
                    <a:pt x="462" y="604"/>
                  </a:lnTo>
                  <a:lnTo>
                    <a:pt x="466" y="604"/>
                  </a:lnTo>
                  <a:lnTo>
                    <a:pt x="475" y="604"/>
                  </a:lnTo>
                  <a:lnTo>
                    <a:pt x="480" y="604"/>
                  </a:lnTo>
                  <a:lnTo>
                    <a:pt x="480" y="599"/>
                  </a:lnTo>
                  <a:lnTo>
                    <a:pt x="480" y="599"/>
                  </a:lnTo>
                  <a:lnTo>
                    <a:pt x="484" y="595"/>
                  </a:lnTo>
                  <a:lnTo>
                    <a:pt x="489" y="595"/>
                  </a:lnTo>
                  <a:lnTo>
                    <a:pt x="494" y="595"/>
                  </a:lnTo>
                  <a:lnTo>
                    <a:pt x="498" y="590"/>
                  </a:lnTo>
                  <a:lnTo>
                    <a:pt x="503" y="590"/>
                  </a:lnTo>
                  <a:lnTo>
                    <a:pt x="507" y="586"/>
                  </a:lnTo>
                  <a:lnTo>
                    <a:pt x="516" y="581"/>
                  </a:lnTo>
                  <a:lnTo>
                    <a:pt x="521" y="581"/>
                  </a:lnTo>
                  <a:lnTo>
                    <a:pt x="526" y="590"/>
                  </a:lnTo>
                  <a:lnTo>
                    <a:pt x="526" y="590"/>
                  </a:lnTo>
                  <a:lnTo>
                    <a:pt x="535" y="590"/>
                  </a:lnTo>
                  <a:lnTo>
                    <a:pt x="535" y="586"/>
                  </a:lnTo>
                  <a:lnTo>
                    <a:pt x="539" y="586"/>
                  </a:lnTo>
                  <a:lnTo>
                    <a:pt x="544" y="586"/>
                  </a:lnTo>
                  <a:lnTo>
                    <a:pt x="544" y="586"/>
                  </a:lnTo>
                  <a:lnTo>
                    <a:pt x="544" y="590"/>
                  </a:lnTo>
                  <a:lnTo>
                    <a:pt x="544" y="595"/>
                  </a:lnTo>
                  <a:lnTo>
                    <a:pt x="548" y="595"/>
                  </a:lnTo>
                  <a:lnTo>
                    <a:pt x="553" y="595"/>
                  </a:lnTo>
                  <a:lnTo>
                    <a:pt x="558" y="595"/>
                  </a:lnTo>
                  <a:lnTo>
                    <a:pt x="562" y="595"/>
                  </a:lnTo>
                  <a:lnTo>
                    <a:pt x="567" y="595"/>
                  </a:lnTo>
                  <a:lnTo>
                    <a:pt x="567" y="590"/>
                  </a:lnTo>
                  <a:lnTo>
                    <a:pt x="590" y="590"/>
                  </a:lnTo>
                  <a:lnTo>
                    <a:pt x="590" y="590"/>
                  </a:lnTo>
                  <a:lnTo>
                    <a:pt x="590" y="595"/>
                  </a:lnTo>
                  <a:lnTo>
                    <a:pt x="594" y="595"/>
                  </a:lnTo>
                  <a:lnTo>
                    <a:pt x="599" y="599"/>
                  </a:lnTo>
                  <a:lnTo>
                    <a:pt x="599" y="604"/>
                  </a:lnTo>
                  <a:lnTo>
                    <a:pt x="603" y="604"/>
                  </a:lnTo>
                  <a:lnTo>
                    <a:pt x="608" y="604"/>
                  </a:lnTo>
                  <a:lnTo>
                    <a:pt x="612" y="604"/>
                  </a:lnTo>
                  <a:lnTo>
                    <a:pt x="612" y="599"/>
                  </a:lnTo>
                  <a:lnTo>
                    <a:pt x="612" y="604"/>
                  </a:lnTo>
                  <a:lnTo>
                    <a:pt x="617" y="604"/>
                  </a:lnTo>
                  <a:lnTo>
                    <a:pt x="631" y="599"/>
                  </a:lnTo>
                  <a:lnTo>
                    <a:pt x="635" y="595"/>
                  </a:lnTo>
                  <a:lnTo>
                    <a:pt x="635" y="595"/>
                  </a:lnTo>
                  <a:lnTo>
                    <a:pt x="640" y="595"/>
                  </a:lnTo>
                  <a:lnTo>
                    <a:pt x="644" y="595"/>
                  </a:lnTo>
                  <a:lnTo>
                    <a:pt x="649" y="595"/>
                  </a:lnTo>
                  <a:lnTo>
                    <a:pt x="649" y="590"/>
                  </a:lnTo>
                  <a:lnTo>
                    <a:pt x="649" y="586"/>
                  </a:lnTo>
                  <a:lnTo>
                    <a:pt x="644" y="586"/>
                  </a:lnTo>
                  <a:lnTo>
                    <a:pt x="644" y="581"/>
                  </a:lnTo>
                  <a:lnTo>
                    <a:pt x="649" y="576"/>
                  </a:lnTo>
                  <a:lnTo>
                    <a:pt x="654" y="576"/>
                  </a:lnTo>
                  <a:lnTo>
                    <a:pt x="654" y="576"/>
                  </a:lnTo>
                  <a:lnTo>
                    <a:pt x="658" y="576"/>
                  </a:lnTo>
                  <a:lnTo>
                    <a:pt x="667" y="576"/>
                  </a:lnTo>
                  <a:lnTo>
                    <a:pt x="667" y="581"/>
                  </a:lnTo>
                  <a:lnTo>
                    <a:pt x="672" y="581"/>
                  </a:lnTo>
                  <a:lnTo>
                    <a:pt x="676" y="586"/>
                  </a:lnTo>
                  <a:lnTo>
                    <a:pt x="676" y="586"/>
                  </a:lnTo>
                  <a:lnTo>
                    <a:pt x="681" y="581"/>
                  </a:lnTo>
                  <a:lnTo>
                    <a:pt x="686" y="581"/>
                  </a:lnTo>
                  <a:lnTo>
                    <a:pt x="690" y="576"/>
                  </a:lnTo>
                  <a:lnTo>
                    <a:pt x="699" y="576"/>
                  </a:lnTo>
                  <a:lnTo>
                    <a:pt x="699" y="576"/>
                  </a:lnTo>
                  <a:lnTo>
                    <a:pt x="704" y="576"/>
                  </a:lnTo>
                  <a:lnTo>
                    <a:pt x="704" y="581"/>
                  </a:lnTo>
                  <a:lnTo>
                    <a:pt x="708" y="581"/>
                  </a:lnTo>
                  <a:lnTo>
                    <a:pt x="713" y="590"/>
                  </a:lnTo>
                  <a:lnTo>
                    <a:pt x="718" y="595"/>
                  </a:lnTo>
                  <a:lnTo>
                    <a:pt x="718" y="595"/>
                  </a:lnTo>
                  <a:lnTo>
                    <a:pt x="718" y="599"/>
                  </a:lnTo>
                  <a:lnTo>
                    <a:pt x="722" y="604"/>
                  </a:lnTo>
                  <a:lnTo>
                    <a:pt x="722" y="608"/>
                  </a:lnTo>
                  <a:lnTo>
                    <a:pt x="727" y="613"/>
                  </a:lnTo>
                  <a:lnTo>
                    <a:pt x="727" y="608"/>
                  </a:lnTo>
                  <a:lnTo>
                    <a:pt x="731" y="604"/>
                  </a:lnTo>
                  <a:lnTo>
                    <a:pt x="736" y="604"/>
                  </a:lnTo>
                  <a:lnTo>
                    <a:pt x="740" y="604"/>
                  </a:lnTo>
                  <a:lnTo>
                    <a:pt x="745" y="604"/>
                  </a:lnTo>
                  <a:lnTo>
                    <a:pt x="745" y="608"/>
                  </a:lnTo>
                  <a:lnTo>
                    <a:pt x="750" y="608"/>
                  </a:lnTo>
                  <a:lnTo>
                    <a:pt x="750" y="613"/>
                  </a:lnTo>
                  <a:lnTo>
                    <a:pt x="754" y="613"/>
                  </a:lnTo>
                  <a:lnTo>
                    <a:pt x="759" y="618"/>
                  </a:lnTo>
                  <a:lnTo>
                    <a:pt x="763" y="618"/>
                  </a:lnTo>
                  <a:lnTo>
                    <a:pt x="763" y="622"/>
                  </a:lnTo>
                  <a:lnTo>
                    <a:pt x="763" y="622"/>
                  </a:lnTo>
                  <a:lnTo>
                    <a:pt x="763" y="627"/>
                  </a:lnTo>
                  <a:lnTo>
                    <a:pt x="768" y="627"/>
                  </a:lnTo>
                  <a:lnTo>
                    <a:pt x="768" y="631"/>
                  </a:lnTo>
                  <a:lnTo>
                    <a:pt x="772" y="631"/>
                  </a:lnTo>
                  <a:lnTo>
                    <a:pt x="777" y="627"/>
                  </a:lnTo>
                  <a:lnTo>
                    <a:pt x="782" y="627"/>
                  </a:lnTo>
                  <a:lnTo>
                    <a:pt x="782" y="622"/>
                  </a:lnTo>
                  <a:lnTo>
                    <a:pt x="786" y="622"/>
                  </a:lnTo>
                  <a:lnTo>
                    <a:pt x="791" y="622"/>
                  </a:lnTo>
                  <a:lnTo>
                    <a:pt x="795" y="618"/>
                  </a:lnTo>
                  <a:lnTo>
                    <a:pt x="800" y="618"/>
                  </a:lnTo>
                  <a:lnTo>
                    <a:pt x="804" y="618"/>
                  </a:lnTo>
                  <a:lnTo>
                    <a:pt x="804" y="622"/>
                  </a:lnTo>
                  <a:lnTo>
                    <a:pt x="809" y="622"/>
                  </a:lnTo>
                  <a:lnTo>
                    <a:pt x="809" y="618"/>
                  </a:lnTo>
                  <a:lnTo>
                    <a:pt x="809" y="618"/>
                  </a:lnTo>
                  <a:lnTo>
                    <a:pt x="814" y="618"/>
                  </a:lnTo>
                  <a:lnTo>
                    <a:pt x="818" y="622"/>
                  </a:lnTo>
                  <a:lnTo>
                    <a:pt x="823" y="622"/>
                  </a:lnTo>
                  <a:lnTo>
                    <a:pt x="827" y="622"/>
                  </a:lnTo>
                  <a:lnTo>
                    <a:pt x="832" y="622"/>
                  </a:lnTo>
                  <a:lnTo>
                    <a:pt x="832" y="618"/>
                  </a:lnTo>
                  <a:lnTo>
                    <a:pt x="836" y="622"/>
                  </a:lnTo>
                  <a:lnTo>
                    <a:pt x="841" y="622"/>
                  </a:lnTo>
                  <a:lnTo>
                    <a:pt x="846" y="622"/>
                  </a:lnTo>
                  <a:lnTo>
                    <a:pt x="846" y="618"/>
                  </a:lnTo>
                  <a:lnTo>
                    <a:pt x="850" y="618"/>
                  </a:lnTo>
                  <a:lnTo>
                    <a:pt x="855" y="618"/>
                  </a:lnTo>
                  <a:lnTo>
                    <a:pt x="855" y="613"/>
                  </a:lnTo>
                  <a:lnTo>
                    <a:pt x="855" y="613"/>
                  </a:lnTo>
                  <a:lnTo>
                    <a:pt x="859" y="613"/>
                  </a:lnTo>
                  <a:lnTo>
                    <a:pt x="864" y="618"/>
                  </a:lnTo>
                  <a:lnTo>
                    <a:pt x="868" y="618"/>
                  </a:lnTo>
                  <a:lnTo>
                    <a:pt x="873" y="618"/>
                  </a:lnTo>
                  <a:lnTo>
                    <a:pt x="873" y="618"/>
                  </a:lnTo>
                  <a:lnTo>
                    <a:pt x="878" y="618"/>
                  </a:lnTo>
                  <a:lnTo>
                    <a:pt x="882" y="618"/>
                  </a:lnTo>
                  <a:lnTo>
                    <a:pt x="887" y="618"/>
                  </a:lnTo>
                  <a:lnTo>
                    <a:pt x="891" y="622"/>
                  </a:lnTo>
                  <a:lnTo>
                    <a:pt x="896" y="622"/>
                  </a:lnTo>
                  <a:lnTo>
                    <a:pt x="896" y="627"/>
                  </a:lnTo>
                  <a:lnTo>
                    <a:pt x="900" y="627"/>
                  </a:lnTo>
                  <a:lnTo>
                    <a:pt x="900" y="631"/>
                  </a:lnTo>
                  <a:lnTo>
                    <a:pt x="905" y="636"/>
                  </a:lnTo>
                  <a:lnTo>
                    <a:pt x="910" y="636"/>
                  </a:lnTo>
                  <a:lnTo>
                    <a:pt x="914" y="640"/>
                  </a:lnTo>
                  <a:lnTo>
                    <a:pt x="919" y="663"/>
                  </a:lnTo>
                  <a:lnTo>
                    <a:pt x="919" y="672"/>
                  </a:lnTo>
                  <a:lnTo>
                    <a:pt x="914" y="682"/>
                  </a:lnTo>
                  <a:lnTo>
                    <a:pt x="914" y="686"/>
                  </a:lnTo>
                  <a:lnTo>
                    <a:pt x="905" y="695"/>
                  </a:lnTo>
                  <a:lnTo>
                    <a:pt x="905" y="700"/>
                  </a:lnTo>
                  <a:lnTo>
                    <a:pt x="905" y="704"/>
                  </a:lnTo>
                  <a:lnTo>
                    <a:pt x="900" y="704"/>
                  </a:lnTo>
                  <a:lnTo>
                    <a:pt x="900" y="704"/>
                  </a:lnTo>
                  <a:lnTo>
                    <a:pt x="905" y="704"/>
                  </a:lnTo>
                  <a:lnTo>
                    <a:pt x="905" y="709"/>
                  </a:lnTo>
                  <a:lnTo>
                    <a:pt x="910" y="709"/>
                  </a:lnTo>
                  <a:lnTo>
                    <a:pt x="914" y="714"/>
                  </a:lnTo>
                  <a:lnTo>
                    <a:pt x="919" y="714"/>
                  </a:lnTo>
                  <a:lnTo>
                    <a:pt x="919" y="718"/>
                  </a:lnTo>
                  <a:lnTo>
                    <a:pt x="923" y="718"/>
                  </a:lnTo>
                  <a:lnTo>
                    <a:pt x="928" y="718"/>
                  </a:lnTo>
                  <a:lnTo>
                    <a:pt x="937" y="723"/>
                  </a:lnTo>
                  <a:lnTo>
                    <a:pt x="942" y="727"/>
                  </a:lnTo>
                  <a:lnTo>
                    <a:pt x="942" y="727"/>
                  </a:lnTo>
                  <a:lnTo>
                    <a:pt x="942" y="727"/>
                  </a:lnTo>
                  <a:lnTo>
                    <a:pt x="946" y="727"/>
                  </a:lnTo>
                  <a:lnTo>
                    <a:pt x="946" y="732"/>
                  </a:lnTo>
                  <a:lnTo>
                    <a:pt x="951" y="736"/>
                  </a:lnTo>
                  <a:lnTo>
                    <a:pt x="951" y="741"/>
                  </a:lnTo>
                  <a:lnTo>
                    <a:pt x="951" y="746"/>
                  </a:lnTo>
                  <a:lnTo>
                    <a:pt x="955" y="746"/>
                  </a:lnTo>
                  <a:lnTo>
                    <a:pt x="955" y="750"/>
                  </a:lnTo>
                  <a:lnTo>
                    <a:pt x="960" y="755"/>
                  </a:lnTo>
                  <a:lnTo>
                    <a:pt x="960" y="759"/>
                  </a:lnTo>
                  <a:lnTo>
                    <a:pt x="964" y="768"/>
                  </a:lnTo>
                  <a:lnTo>
                    <a:pt x="964" y="773"/>
                  </a:lnTo>
                  <a:lnTo>
                    <a:pt x="964" y="778"/>
                  </a:lnTo>
                  <a:lnTo>
                    <a:pt x="964" y="787"/>
                  </a:lnTo>
                  <a:lnTo>
                    <a:pt x="964" y="791"/>
                  </a:lnTo>
                  <a:lnTo>
                    <a:pt x="960" y="800"/>
                  </a:lnTo>
                  <a:lnTo>
                    <a:pt x="960" y="805"/>
                  </a:lnTo>
                  <a:lnTo>
                    <a:pt x="960" y="810"/>
                  </a:lnTo>
                  <a:lnTo>
                    <a:pt x="964" y="814"/>
                  </a:lnTo>
                  <a:lnTo>
                    <a:pt x="964" y="823"/>
                  </a:lnTo>
                  <a:lnTo>
                    <a:pt x="964" y="823"/>
                  </a:lnTo>
                  <a:lnTo>
                    <a:pt x="960" y="823"/>
                  </a:lnTo>
                  <a:lnTo>
                    <a:pt x="955" y="823"/>
                  </a:lnTo>
                  <a:lnTo>
                    <a:pt x="955" y="828"/>
                  </a:lnTo>
                  <a:lnTo>
                    <a:pt x="946" y="832"/>
                  </a:lnTo>
                  <a:lnTo>
                    <a:pt x="942" y="837"/>
                  </a:lnTo>
                  <a:lnTo>
                    <a:pt x="942" y="837"/>
                  </a:lnTo>
                  <a:lnTo>
                    <a:pt x="937" y="842"/>
                  </a:lnTo>
                  <a:lnTo>
                    <a:pt x="932" y="842"/>
                  </a:lnTo>
                  <a:lnTo>
                    <a:pt x="932" y="846"/>
                  </a:lnTo>
                  <a:lnTo>
                    <a:pt x="928" y="846"/>
                  </a:lnTo>
                  <a:lnTo>
                    <a:pt x="923" y="851"/>
                  </a:lnTo>
                  <a:lnTo>
                    <a:pt x="919" y="851"/>
                  </a:lnTo>
                  <a:lnTo>
                    <a:pt x="919" y="855"/>
                  </a:lnTo>
                  <a:lnTo>
                    <a:pt x="914" y="855"/>
                  </a:lnTo>
                  <a:lnTo>
                    <a:pt x="910" y="855"/>
                  </a:lnTo>
                  <a:lnTo>
                    <a:pt x="905" y="855"/>
                  </a:lnTo>
                  <a:lnTo>
                    <a:pt x="900" y="855"/>
                  </a:lnTo>
                  <a:lnTo>
                    <a:pt x="882" y="864"/>
                  </a:lnTo>
                  <a:lnTo>
                    <a:pt x="864" y="869"/>
                  </a:lnTo>
                  <a:lnTo>
                    <a:pt x="855" y="869"/>
                  </a:lnTo>
                  <a:lnTo>
                    <a:pt x="850" y="869"/>
                  </a:lnTo>
                  <a:lnTo>
                    <a:pt x="841" y="869"/>
                  </a:lnTo>
                  <a:lnTo>
                    <a:pt x="823" y="869"/>
                  </a:lnTo>
                  <a:lnTo>
                    <a:pt x="804" y="869"/>
                  </a:lnTo>
                  <a:lnTo>
                    <a:pt x="791" y="869"/>
                  </a:lnTo>
                  <a:lnTo>
                    <a:pt x="782" y="869"/>
                  </a:lnTo>
                  <a:lnTo>
                    <a:pt x="777" y="869"/>
                  </a:lnTo>
                  <a:lnTo>
                    <a:pt x="768" y="864"/>
                  </a:lnTo>
                  <a:lnTo>
                    <a:pt x="763" y="864"/>
                  </a:lnTo>
                  <a:lnTo>
                    <a:pt x="763" y="864"/>
                  </a:lnTo>
                  <a:lnTo>
                    <a:pt x="763" y="860"/>
                  </a:lnTo>
                  <a:lnTo>
                    <a:pt x="754" y="860"/>
                  </a:lnTo>
                  <a:lnTo>
                    <a:pt x="754" y="855"/>
                  </a:lnTo>
                  <a:lnTo>
                    <a:pt x="750" y="855"/>
                  </a:lnTo>
                  <a:lnTo>
                    <a:pt x="745" y="855"/>
                  </a:lnTo>
                  <a:lnTo>
                    <a:pt x="740" y="855"/>
                  </a:lnTo>
                  <a:lnTo>
                    <a:pt x="736" y="851"/>
                  </a:lnTo>
                  <a:lnTo>
                    <a:pt x="727" y="842"/>
                  </a:lnTo>
                  <a:lnTo>
                    <a:pt x="727" y="837"/>
                  </a:lnTo>
                  <a:lnTo>
                    <a:pt x="722" y="832"/>
                  </a:lnTo>
                  <a:lnTo>
                    <a:pt x="722" y="828"/>
                  </a:lnTo>
                  <a:lnTo>
                    <a:pt x="722" y="823"/>
                  </a:lnTo>
                  <a:lnTo>
                    <a:pt x="718" y="810"/>
                  </a:lnTo>
                  <a:lnTo>
                    <a:pt x="718" y="796"/>
                  </a:lnTo>
                  <a:lnTo>
                    <a:pt x="713" y="791"/>
                  </a:lnTo>
                  <a:lnTo>
                    <a:pt x="713" y="782"/>
                  </a:lnTo>
                  <a:lnTo>
                    <a:pt x="708" y="778"/>
                  </a:lnTo>
                  <a:lnTo>
                    <a:pt x="708" y="768"/>
                  </a:lnTo>
                  <a:lnTo>
                    <a:pt x="708" y="768"/>
                  </a:lnTo>
                  <a:lnTo>
                    <a:pt x="704" y="764"/>
                  </a:lnTo>
                  <a:lnTo>
                    <a:pt x="704" y="759"/>
                  </a:lnTo>
                  <a:lnTo>
                    <a:pt x="704" y="755"/>
                  </a:lnTo>
                  <a:lnTo>
                    <a:pt x="699" y="746"/>
                  </a:lnTo>
                  <a:lnTo>
                    <a:pt x="699" y="746"/>
                  </a:lnTo>
                  <a:lnTo>
                    <a:pt x="699" y="741"/>
                  </a:lnTo>
                  <a:lnTo>
                    <a:pt x="695" y="741"/>
                  </a:lnTo>
                  <a:lnTo>
                    <a:pt x="695" y="736"/>
                  </a:lnTo>
                  <a:lnTo>
                    <a:pt x="686" y="732"/>
                  </a:lnTo>
                  <a:lnTo>
                    <a:pt x="681" y="732"/>
                  </a:lnTo>
                  <a:lnTo>
                    <a:pt x="676" y="727"/>
                  </a:lnTo>
                  <a:lnTo>
                    <a:pt x="676" y="727"/>
                  </a:lnTo>
                  <a:lnTo>
                    <a:pt x="672" y="727"/>
                  </a:lnTo>
                  <a:lnTo>
                    <a:pt x="658" y="727"/>
                  </a:lnTo>
                  <a:lnTo>
                    <a:pt x="654" y="727"/>
                  </a:lnTo>
                  <a:lnTo>
                    <a:pt x="649" y="727"/>
                  </a:lnTo>
                  <a:lnTo>
                    <a:pt x="640" y="727"/>
                  </a:lnTo>
                  <a:lnTo>
                    <a:pt x="626" y="727"/>
                  </a:lnTo>
                  <a:lnTo>
                    <a:pt x="608" y="727"/>
                  </a:lnTo>
                  <a:lnTo>
                    <a:pt x="594" y="727"/>
                  </a:lnTo>
                  <a:lnTo>
                    <a:pt x="590" y="732"/>
                  </a:lnTo>
                  <a:lnTo>
                    <a:pt x="576" y="732"/>
                  </a:lnTo>
                  <a:lnTo>
                    <a:pt x="567" y="736"/>
                  </a:lnTo>
                  <a:lnTo>
                    <a:pt x="544" y="741"/>
                  </a:lnTo>
                  <a:lnTo>
                    <a:pt x="539" y="741"/>
                  </a:lnTo>
                  <a:lnTo>
                    <a:pt x="526" y="741"/>
                  </a:lnTo>
                  <a:lnTo>
                    <a:pt x="526" y="746"/>
                  </a:lnTo>
                  <a:lnTo>
                    <a:pt x="526" y="746"/>
                  </a:lnTo>
                  <a:lnTo>
                    <a:pt x="521" y="746"/>
                  </a:lnTo>
                  <a:lnTo>
                    <a:pt x="516" y="746"/>
                  </a:lnTo>
                  <a:lnTo>
                    <a:pt x="512" y="746"/>
                  </a:lnTo>
                  <a:lnTo>
                    <a:pt x="507" y="746"/>
                  </a:lnTo>
                  <a:lnTo>
                    <a:pt x="503" y="746"/>
                  </a:lnTo>
                  <a:lnTo>
                    <a:pt x="503" y="750"/>
                  </a:lnTo>
                  <a:lnTo>
                    <a:pt x="503" y="750"/>
                  </a:lnTo>
                  <a:lnTo>
                    <a:pt x="503" y="755"/>
                  </a:lnTo>
                  <a:lnTo>
                    <a:pt x="498" y="755"/>
                  </a:lnTo>
                  <a:lnTo>
                    <a:pt x="494" y="755"/>
                  </a:lnTo>
                  <a:lnTo>
                    <a:pt x="489" y="759"/>
                  </a:lnTo>
                  <a:lnTo>
                    <a:pt x="480" y="764"/>
                  </a:lnTo>
                  <a:lnTo>
                    <a:pt x="480" y="764"/>
                  </a:lnTo>
                  <a:lnTo>
                    <a:pt x="475" y="768"/>
                  </a:lnTo>
                  <a:lnTo>
                    <a:pt x="475" y="768"/>
                  </a:lnTo>
                  <a:lnTo>
                    <a:pt x="475" y="773"/>
                  </a:lnTo>
                  <a:lnTo>
                    <a:pt x="475" y="778"/>
                  </a:lnTo>
                  <a:lnTo>
                    <a:pt x="480" y="782"/>
                  </a:lnTo>
                  <a:lnTo>
                    <a:pt x="480" y="782"/>
                  </a:lnTo>
                  <a:lnTo>
                    <a:pt x="480" y="782"/>
                  </a:lnTo>
                  <a:lnTo>
                    <a:pt x="480" y="787"/>
                  </a:lnTo>
                  <a:lnTo>
                    <a:pt x="484" y="787"/>
                  </a:lnTo>
                  <a:lnTo>
                    <a:pt x="494" y="791"/>
                  </a:lnTo>
                  <a:lnTo>
                    <a:pt x="498" y="791"/>
                  </a:lnTo>
                  <a:lnTo>
                    <a:pt x="503" y="796"/>
                  </a:lnTo>
                  <a:lnTo>
                    <a:pt x="503" y="796"/>
                  </a:lnTo>
                  <a:lnTo>
                    <a:pt x="512" y="805"/>
                  </a:lnTo>
                  <a:lnTo>
                    <a:pt x="516" y="805"/>
                  </a:lnTo>
                  <a:lnTo>
                    <a:pt x="521" y="810"/>
                  </a:lnTo>
                  <a:lnTo>
                    <a:pt x="526" y="810"/>
                  </a:lnTo>
                  <a:lnTo>
                    <a:pt x="526" y="814"/>
                  </a:lnTo>
                  <a:lnTo>
                    <a:pt x="530" y="814"/>
                  </a:lnTo>
                  <a:lnTo>
                    <a:pt x="535" y="814"/>
                  </a:lnTo>
                  <a:lnTo>
                    <a:pt x="539" y="819"/>
                  </a:lnTo>
                  <a:lnTo>
                    <a:pt x="544" y="823"/>
                  </a:lnTo>
                  <a:lnTo>
                    <a:pt x="544" y="823"/>
                  </a:lnTo>
                  <a:lnTo>
                    <a:pt x="544" y="828"/>
                  </a:lnTo>
                  <a:lnTo>
                    <a:pt x="548" y="828"/>
                  </a:lnTo>
                  <a:lnTo>
                    <a:pt x="558" y="828"/>
                  </a:lnTo>
                  <a:lnTo>
                    <a:pt x="567" y="828"/>
                  </a:lnTo>
                  <a:lnTo>
                    <a:pt x="580" y="832"/>
                  </a:lnTo>
                  <a:lnTo>
                    <a:pt x="585" y="832"/>
                  </a:lnTo>
                  <a:lnTo>
                    <a:pt x="585" y="837"/>
                  </a:lnTo>
                  <a:lnTo>
                    <a:pt x="590" y="837"/>
                  </a:lnTo>
                  <a:lnTo>
                    <a:pt x="590" y="837"/>
                  </a:lnTo>
                  <a:lnTo>
                    <a:pt x="590" y="837"/>
                  </a:lnTo>
                  <a:lnTo>
                    <a:pt x="594" y="842"/>
                  </a:lnTo>
                  <a:lnTo>
                    <a:pt x="594" y="846"/>
                  </a:lnTo>
                  <a:lnTo>
                    <a:pt x="599" y="860"/>
                  </a:lnTo>
                  <a:lnTo>
                    <a:pt x="603" y="869"/>
                  </a:lnTo>
                  <a:lnTo>
                    <a:pt x="603" y="878"/>
                  </a:lnTo>
                  <a:lnTo>
                    <a:pt x="603" y="883"/>
                  </a:lnTo>
                  <a:lnTo>
                    <a:pt x="599" y="887"/>
                  </a:lnTo>
                  <a:lnTo>
                    <a:pt x="599" y="892"/>
                  </a:lnTo>
                  <a:lnTo>
                    <a:pt x="594" y="901"/>
                  </a:lnTo>
                  <a:lnTo>
                    <a:pt x="590" y="901"/>
                  </a:lnTo>
                  <a:lnTo>
                    <a:pt x="590" y="901"/>
                  </a:lnTo>
                  <a:lnTo>
                    <a:pt x="590" y="901"/>
                  </a:lnTo>
                  <a:lnTo>
                    <a:pt x="590" y="906"/>
                  </a:lnTo>
                  <a:lnTo>
                    <a:pt x="590" y="910"/>
                  </a:lnTo>
                  <a:lnTo>
                    <a:pt x="594" y="915"/>
                  </a:lnTo>
                  <a:lnTo>
                    <a:pt x="599" y="915"/>
                  </a:lnTo>
                  <a:lnTo>
                    <a:pt x="603" y="915"/>
                  </a:lnTo>
                  <a:lnTo>
                    <a:pt x="603" y="919"/>
                  </a:lnTo>
                  <a:lnTo>
                    <a:pt x="612" y="919"/>
                  </a:lnTo>
                  <a:lnTo>
                    <a:pt x="612" y="919"/>
                  </a:lnTo>
                  <a:lnTo>
                    <a:pt x="612" y="924"/>
                  </a:lnTo>
                  <a:lnTo>
                    <a:pt x="617" y="924"/>
                  </a:lnTo>
                  <a:lnTo>
                    <a:pt x="622" y="924"/>
                  </a:lnTo>
                  <a:lnTo>
                    <a:pt x="622" y="928"/>
                  </a:lnTo>
                  <a:lnTo>
                    <a:pt x="622" y="933"/>
                  </a:lnTo>
                  <a:lnTo>
                    <a:pt x="622" y="938"/>
                  </a:lnTo>
                  <a:lnTo>
                    <a:pt x="617" y="942"/>
                  </a:lnTo>
                  <a:lnTo>
                    <a:pt x="612" y="942"/>
                  </a:lnTo>
                  <a:lnTo>
                    <a:pt x="612" y="947"/>
                  </a:lnTo>
                  <a:lnTo>
                    <a:pt x="608" y="947"/>
                  </a:lnTo>
                  <a:lnTo>
                    <a:pt x="603" y="947"/>
                  </a:lnTo>
                  <a:lnTo>
                    <a:pt x="594" y="947"/>
                  </a:lnTo>
                  <a:lnTo>
                    <a:pt x="590" y="951"/>
                  </a:lnTo>
                  <a:lnTo>
                    <a:pt x="590" y="951"/>
                  </a:lnTo>
                  <a:lnTo>
                    <a:pt x="585" y="951"/>
                  </a:lnTo>
                  <a:lnTo>
                    <a:pt x="580" y="956"/>
                  </a:lnTo>
                  <a:lnTo>
                    <a:pt x="576" y="956"/>
                  </a:lnTo>
                  <a:lnTo>
                    <a:pt x="571" y="960"/>
                  </a:lnTo>
                  <a:lnTo>
                    <a:pt x="567" y="960"/>
                  </a:lnTo>
                  <a:lnTo>
                    <a:pt x="567" y="965"/>
                  </a:lnTo>
                  <a:lnTo>
                    <a:pt x="558" y="965"/>
                  </a:lnTo>
                  <a:lnTo>
                    <a:pt x="553" y="965"/>
                  </a:lnTo>
                  <a:lnTo>
                    <a:pt x="544" y="965"/>
                  </a:lnTo>
                  <a:lnTo>
                    <a:pt x="544" y="965"/>
                  </a:lnTo>
                  <a:lnTo>
                    <a:pt x="535" y="965"/>
                  </a:lnTo>
                  <a:lnTo>
                    <a:pt x="530" y="965"/>
                  </a:lnTo>
                  <a:lnTo>
                    <a:pt x="526" y="965"/>
                  </a:lnTo>
                  <a:lnTo>
                    <a:pt x="526" y="965"/>
                  </a:lnTo>
                  <a:lnTo>
                    <a:pt x="521" y="960"/>
                  </a:lnTo>
                  <a:lnTo>
                    <a:pt x="512" y="960"/>
                  </a:lnTo>
                  <a:lnTo>
                    <a:pt x="507" y="956"/>
                  </a:lnTo>
                  <a:lnTo>
                    <a:pt x="503" y="956"/>
                  </a:lnTo>
                  <a:lnTo>
                    <a:pt x="503" y="960"/>
                  </a:lnTo>
                  <a:lnTo>
                    <a:pt x="503" y="960"/>
                  </a:lnTo>
                  <a:lnTo>
                    <a:pt x="503" y="965"/>
                  </a:lnTo>
                  <a:lnTo>
                    <a:pt x="503" y="970"/>
                  </a:lnTo>
                  <a:lnTo>
                    <a:pt x="503" y="988"/>
                  </a:lnTo>
                  <a:lnTo>
                    <a:pt x="507" y="997"/>
                  </a:lnTo>
                  <a:lnTo>
                    <a:pt x="512" y="1002"/>
                  </a:lnTo>
                  <a:lnTo>
                    <a:pt x="512" y="1011"/>
                  </a:lnTo>
                  <a:lnTo>
                    <a:pt x="512" y="1020"/>
                  </a:lnTo>
                  <a:lnTo>
                    <a:pt x="512" y="1034"/>
                  </a:lnTo>
                  <a:lnTo>
                    <a:pt x="512" y="1047"/>
                  </a:lnTo>
                  <a:lnTo>
                    <a:pt x="512" y="1052"/>
                  </a:lnTo>
                  <a:lnTo>
                    <a:pt x="512" y="1056"/>
                  </a:lnTo>
                  <a:lnTo>
                    <a:pt x="512" y="1056"/>
                  </a:lnTo>
                  <a:lnTo>
                    <a:pt x="512" y="1061"/>
                  </a:lnTo>
                  <a:lnTo>
                    <a:pt x="521" y="1066"/>
                  </a:lnTo>
                  <a:lnTo>
                    <a:pt x="526" y="1066"/>
                  </a:lnTo>
                  <a:lnTo>
                    <a:pt x="526" y="1070"/>
                  </a:lnTo>
                  <a:lnTo>
                    <a:pt x="530" y="1070"/>
                  </a:lnTo>
                  <a:lnTo>
                    <a:pt x="530" y="1075"/>
                  </a:lnTo>
                  <a:lnTo>
                    <a:pt x="530" y="1075"/>
                  </a:lnTo>
                  <a:lnTo>
                    <a:pt x="535" y="1075"/>
                  </a:lnTo>
                  <a:lnTo>
                    <a:pt x="535" y="1088"/>
                  </a:lnTo>
                  <a:lnTo>
                    <a:pt x="539" y="1093"/>
                  </a:lnTo>
                  <a:lnTo>
                    <a:pt x="544" y="1098"/>
                  </a:lnTo>
                  <a:lnTo>
                    <a:pt x="544" y="1098"/>
                  </a:lnTo>
                  <a:lnTo>
                    <a:pt x="544" y="1102"/>
                  </a:lnTo>
                  <a:lnTo>
                    <a:pt x="544" y="1107"/>
                  </a:lnTo>
                  <a:lnTo>
                    <a:pt x="544" y="1111"/>
                  </a:lnTo>
                  <a:lnTo>
                    <a:pt x="544" y="1116"/>
                  </a:lnTo>
                  <a:lnTo>
                    <a:pt x="544" y="1120"/>
                  </a:lnTo>
                  <a:lnTo>
                    <a:pt x="544" y="1120"/>
                  </a:lnTo>
                  <a:lnTo>
                    <a:pt x="544" y="1125"/>
                  </a:lnTo>
                  <a:lnTo>
                    <a:pt x="539" y="1130"/>
                  </a:lnTo>
                  <a:lnTo>
                    <a:pt x="535" y="1130"/>
                  </a:lnTo>
                  <a:lnTo>
                    <a:pt x="530" y="1134"/>
                  </a:lnTo>
                  <a:lnTo>
                    <a:pt x="526" y="1139"/>
                  </a:lnTo>
                  <a:lnTo>
                    <a:pt x="526" y="1139"/>
                  </a:lnTo>
                  <a:lnTo>
                    <a:pt x="521" y="1139"/>
                  </a:lnTo>
                  <a:lnTo>
                    <a:pt x="516" y="1139"/>
                  </a:lnTo>
                  <a:lnTo>
                    <a:pt x="512" y="1139"/>
                  </a:lnTo>
                  <a:lnTo>
                    <a:pt x="507" y="1139"/>
                  </a:lnTo>
                  <a:lnTo>
                    <a:pt x="503" y="1139"/>
                  </a:lnTo>
                  <a:lnTo>
                    <a:pt x="498" y="1139"/>
                  </a:lnTo>
                  <a:lnTo>
                    <a:pt x="489" y="1134"/>
                  </a:lnTo>
                  <a:lnTo>
                    <a:pt x="475" y="1130"/>
                  </a:lnTo>
                  <a:lnTo>
                    <a:pt x="471" y="1130"/>
                  </a:lnTo>
                  <a:lnTo>
                    <a:pt x="466" y="1130"/>
                  </a:lnTo>
                  <a:lnTo>
                    <a:pt x="462" y="1130"/>
                  </a:lnTo>
                  <a:lnTo>
                    <a:pt x="457" y="1130"/>
                  </a:lnTo>
                  <a:lnTo>
                    <a:pt x="457" y="1134"/>
                  </a:lnTo>
                  <a:lnTo>
                    <a:pt x="457" y="1134"/>
                  </a:lnTo>
                  <a:lnTo>
                    <a:pt x="457" y="1139"/>
                  </a:lnTo>
                  <a:lnTo>
                    <a:pt x="457" y="1143"/>
                  </a:lnTo>
                  <a:lnTo>
                    <a:pt x="452" y="1143"/>
                  </a:lnTo>
                  <a:lnTo>
                    <a:pt x="452" y="1143"/>
                  </a:lnTo>
                  <a:lnTo>
                    <a:pt x="452" y="1148"/>
                  </a:lnTo>
                  <a:lnTo>
                    <a:pt x="452" y="1157"/>
                  </a:lnTo>
                  <a:lnTo>
                    <a:pt x="452" y="1166"/>
                  </a:lnTo>
                  <a:lnTo>
                    <a:pt x="452" y="1175"/>
                  </a:lnTo>
                  <a:lnTo>
                    <a:pt x="452" y="1180"/>
                  </a:lnTo>
                  <a:lnTo>
                    <a:pt x="448" y="1180"/>
                  </a:lnTo>
                  <a:lnTo>
                    <a:pt x="443" y="1184"/>
                  </a:lnTo>
                  <a:lnTo>
                    <a:pt x="443" y="1184"/>
                  </a:lnTo>
                  <a:lnTo>
                    <a:pt x="434" y="1184"/>
                  </a:lnTo>
                  <a:lnTo>
                    <a:pt x="430" y="1184"/>
                  </a:lnTo>
                  <a:lnTo>
                    <a:pt x="425" y="1184"/>
                  </a:lnTo>
                  <a:lnTo>
                    <a:pt x="420" y="1184"/>
                  </a:lnTo>
                  <a:lnTo>
                    <a:pt x="416" y="1184"/>
                  </a:lnTo>
                  <a:lnTo>
                    <a:pt x="407" y="1180"/>
                  </a:lnTo>
                  <a:lnTo>
                    <a:pt x="402" y="1175"/>
                  </a:lnTo>
                  <a:lnTo>
                    <a:pt x="402" y="1171"/>
                  </a:lnTo>
                  <a:lnTo>
                    <a:pt x="402" y="1166"/>
                  </a:lnTo>
                  <a:lnTo>
                    <a:pt x="407" y="1166"/>
                  </a:lnTo>
                  <a:lnTo>
                    <a:pt x="407" y="1162"/>
                  </a:lnTo>
                  <a:lnTo>
                    <a:pt x="407" y="1157"/>
                  </a:lnTo>
                  <a:lnTo>
                    <a:pt x="407" y="1152"/>
                  </a:lnTo>
                  <a:lnTo>
                    <a:pt x="407" y="1148"/>
                  </a:lnTo>
                  <a:lnTo>
                    <a:pt x="402" y="1143"/>
                  </a:lnTo>
                  <a:lnTo>
                    <a:pt x="398" y="1139"/>
                  </a:lnTo>
                  <a:lnTo>
                    <a:pt x="393" y="1134"/>
                  </a:lnTo>
                  <a:lnTo>
                    <a:pt x="393" y="1130"/>
                  </a:lnTo>
                  <a:lnTo>
                    <a:pt x="388" y="1125"/>
                  </a:lnTo>
                  <a:lnTo>
                    <a:pt x="384" y="1120"/>
                  </a:lnTo>
                  <a:lnTo>
                    <a:pt x="384" y="1120"/>
                  </a:lnTo>
                  <a:lnTo>
                    <a:pt x="379" y="1120"/>
                  </a:lnTo>
                  <a:lnTo>
                    <a:pt x="379" y="1116"/>
                  </a:lnTo>
                  <a:lnTo>
                    <a:pt x="379" y="1107"/>
                  </a:lnTo>
                  <a:lnTo>
                    <a:pt x="375" y="1102"/>
                  </a:lnTo>
                  <a:lnTo>
                    <a:pt x="375" y="1098"/>
                  </a:lnTo>
                  <a:lnTo>
                    <a:pt x="375" y="1098"/>
                  </a:lnTo>
                  <a:lnTo>
                    <a:pt x="375" y="1088"/>
                  </a:lnTo>
                  <a:lnTo>
                    <a:pt x="375" y="1075"/>
                  </a:lnTo>
                  <a:lnTo>
                    <a:pt x="375" y="1075"/>
                  </a:lnTo>
                  <a:lnTo>
                    <a:pt x="379" y="1056"/>
                  </a:lnTo>
                  <a:lnTo>
                    <a:pt x="379" y="1056"/>
                  </a:lnTo>
                  <a:lnTo>
                    <a:pt x="379" y="1052"/>
                  </a:lnTo>
                  <a:lnTo>
                    <a:pt x="379" y="1047"/>
                  </a:lnTo>
                  <a:lnTo>
                    <a:pt x="384" y="1047"/>
                  </a:lnTo>
                  <a:lnTo>
                    <a:pt x="384" y="1043"/>
                  </a:lnTo>
                  <a:lnTo>
                    <a:pt x="388" y="1043"/>
                  </a:lnTo>
                  <a:lnTo>
                    <a:pt x="388" y="1038"/>
                  </a:lnTo>
                  <a:lnTo>
                    <a:pt x="393" y="1034"/>
                  </a:lnTo>
                  <a:lnTo>
                    <a:pt x="393" y="1029"/>
                  </a:lnTo>
                  <a:lnTo>
                    <a:pt x="398" y="1029"/>
                  </a:lnTo>
                  <a:lnTo>
                    <a:pt x="398" y="1024"/>
                  </a:lnTo>
                  <a:lnTo>
                    <a:pt x="402" y="1024"/>
                  </a:lnTo>
                  <a:lnTo>
                    <a:pt x="407" y="1024"/>
                  </a:lnTo>
                  <a:lnTo>
                    <a:pt x="411" y="1015"/>
                  </a:lnTo>
                  <a:lnTo>
                    <a:pt x="416" y="1015"/>
                  </a:lnTo>
                  <a:lnTo>
                    <a:pt x="416" y="1011"/>
                  </a:lnTo>
                  <a:lnTo>
                    <a:pt x="420" y="1011"/>
                  </a:lnTo>
                  <a:lnTo>
                    <a:pt x="420" y="1011"/>
                  </a:lnTo>
                  <a:lnTo>
                    <a:pt x="425" y="1011"/>
                  </a:lnTo>
                  <a:lnTo>
                    <a:pt x="430" y="1006"/>
                  </a:lnTo>
                  <a:lnTo>
                    <a:pt x="434" y="1006"/>
                  </a:lnTo>
                  <a:lnTo>
                    <a:pt x="434" y="1002"/>
                  </a:lnTo>
                  <a:lnTo>
                    <a:pt x="434" y="1002"/>
                  </a:lnTo>
                  <a:lnTo>
                    <a:pt x="439" y="1002"/>
                  </a:lnTo>
                  <a:lnTo>
                    <a:pt x="439" y="997"/>
                  </a:lnTo>
                  <a:lnTo>
                    <a:pt x="443" y="997"/>
                  </a:lnTo>
                  <a:lnTo>
                    <a:pt x="448" y="988"/>
                  </a:lnTo>
                  <a:lnTo>
                    <a:pt x="452" y="988"/>
                  </a:lnTo>
                  <a:lnTo>
                    <a:pt x="452" y="988"/>
                  </a:lnTo>
                  <a:lnTo>
                    <a:pt x="457" y="983"/>
                  </a:lnTo>
                  <a:lnTo>
                    <a:pt x="457" y="983"/>
                  </a:lnTo>
                  <a:lnTo>
                    <a:pt x="457" y="979"/>
                  </a:lnTo>
                  <a:lnTo>
                    <a:pt x="457" y="974"/>
                  </a:lnTo>
                  <a:lnTo>
                    <a:pt x="462" y="970"/>
                  </a:lnTo>
                  <a:lnTo>
                    <a:pt x="462" y="965"/>
                  </a:lnTo>
                  <a:lnTo>
                    <a:pt x="462" y="947"/>
                  </a:lnTo>
                  <a:lnTo>
                    <a:pt x="466" y="924"/>
                  </a:lnTo>
                  <a:lnTo>
                    <a:pt x="466" y="919"/>
                  </a:lnTo>
                  <a:lnTo>
                    <a:pt x="462" y="915"/>
                  </a:lnTo>
                  <a:lnTo>
                    <a:pt x="462" y="906"/>
                  </a:lnTo>
                  <a:lnTo>
                    <a:pt x="462" y="901"/>
                  </a:lnTo>
                  <a:lnTo>
                    <a:pt x="457" y="901"/>
                  </a:lnTo>
                  <a:lnTo>
                    <a:pt x="457" y="901"/>
                  </a:lnTo>
                  <a:lnTo>
                    <a:pt x="457" y="901"/>
                  </a:lnTo>
                  <a:lnTo>
                    <a:pt x="452" y="901"/>
                  </a:lnTo>
                  <a:lnTo>
                    <a:pt x="443" y="901"/>
                  </a:lnTo>
                  <a:lnTo>
                    <a:pt x="439" y="901"/>
                  </a:lnTo>
                  <a:lnTo>
                    <a:pt x="434" y="901"/>
                  </a:lnTo>
                  <a:lnTo>
                    <a:pt x="434" y="906"/>
                  </a:lnTo>
                  <a:lnTo>
                    <a:pt x="430" y="906"/>
                  </a:lnTo>
                  <a:lnTo>
                    <a:pt x="430" y="910"/>
                  </a:lnTo>
                  <a:lnTo>
                    <a:pt x="425" y="910"/>
                  </a:lnTo>
                  <a:lnTo>
                    <a:pt x="420" y="915"/>
                  </a:lnTo>
                  <a:lnTo>
                    <a:pt x="416" y="919"/>
                  </a:lnTo>
                  <a:lnTo>
                    <a:pt x="411" y="919"/>
                  </a:lnTo>
                  <a:lnTo>
                    <a:pt x="407" y="924"/>
                  </a:lnTo>
                  <a:lnTo>
                    <a:pt x="402" y="924"/>
                  </a:lnTo>
                  <a:lnTo>
                    <a:pt x="402" y="924"/>
                  </a:lnTo>
                  <a:lnTo>
                    <a:pt x="398" y="924"/>
                  </a:lnTo>
                  <a:lnTo>
                    <a:pt x="393" y="924"/>
                  </a:lnTo>
                  <a:lnTo>
                    <a:pt x="393" y="924"/>
                  </a:lnTo>
                  <a:lnTo>
                    <a:pt x="388" y="924"/>
                  </a:lnTo>
                  <a:lnTo>
                    <a:pt x="384" y="924"/>
                  </a:lnTo>
                  <a:lnTo>
                    <a:pt x="375" y="919"/>
                  </a:lnTo>
                  <a:lnTo>
                    <a:pt x="375" y="915"/>
                  </a:lnTo>
                  <a:lnTo>
                    <a:pt x="370" y="915"/>
                  </a:lnTo>
                  <a:lnTo>
                    <a:pt x="370" y="915"/>
                  </a:lnTo>
                  <a:lnTo>
                    <a:pt x="366" y="915"/>
                  </a:lnTo>
                  <a:lnTo>
                    <a:pt x="352" y="915"/>
                  </a:lnTo>
                  <a:lnTo>
                    <a:pt x="347" y="910"/>
                  </a:lnTo>
                  <a:lnTo>
                    <a:pt x="347" y="910"/>
                  </a:lnTo>
                  <a:lnTo>
                    <a:pt x="343" y="906"/>
                  </a:lnTo>
                  <a:lnTo>
                    <a:pt x="338" y="901"/>
                  </a:lnTo>
                  <a:lnTo>
                    <a:pt x="334" y="901"/>
                  </a:lnTo>
                  <a:lnTo>
                    <a:pt x="329" y="901"/>
                  </a:lnTo>
                  <a:lnTo>
                    <a:pt x="329" y="901"/>
                  </a:lnTo>
                  <a:lnTo>
                    <a:pt x="324" y="896"/>
                  </a:lnTo>
                  <a:lnTo>
                    <a:pt x="324" y="896"/>
                  </a:lnTo>
                  <a:lnTo>
                    <a:pt x="324" y="892"/>
                  </a:lnTo>
                  <a:lnTo>
                    <a:pt x="320" y="892"/>
                  </a:lnTo>
                  <a:lnTo>
                    <a:pt x="315" y="887"/>
                  </a:lnTo>
                  <a:lnTo>
                    <a:pt x="315" y="883"/>
                  </a:lnTo>
                  <a:lnTo>
                    <a:pt x="311" y="883"/>
                  </a:lnTo>
                  <a:lnTo>
                    <a:pt x="311" y="878"/>
                  </a:lnTo>
                  <a:lnTo>
                    <a:pt x="306" y="878"/>
                  </a:lnTo>
                  <a:lnTo>
                    <a:pt x="306" y="878"/>
                  </a:lnTo>
                  <a:lnTo>
                    <a:pt x="306" y="878"/>
                  </a:lnTo>
                  <a:lnTo>
                    <a:pt x="302" y="874"/>
                  </a:lnTo>
                  <a:lnTo>
                    <a:pt x="302" y="869"/>
                  </a:lnTo>
                  <a:lnTo>
                    <a:pt x="297" y="864"/>
                  </a:lnTo>
                  <a:lnTo>
                    <a:pt x="292" y="864"/>
                  </a:lnTo>
                  <a:lnTo>
                    <a:pt x="292" y="860"/>
                  </a:lnTo>
                  <a:lnTo>
                    <a:pt x="288" y="860"/>
                  </a:lnTo>
                  <a:lnTo>
                    <a:pt x="283" y="860"/>
                  </a:lnTo>
                  <a:lnTo>
                    <a:pt x="279" y="860"/>
                  </a:lnTo>
                  <a:lnTo>
                    <a:pt x="274" y="860"/>
                  </a:lnTo>
                  <a:lnTo>
                    <a:pt x="270" y="855"/>
                  </a:lnTo>
                  <a:lnTo>
                    <a:pt x="265" y="855"/>
                  </a:lnTo>
                  <a:lnTo>
                    <a:pt x="265" y="855"/>
                  </a:lnTo>
                  <a:lnTo>
                    <a:pt x="260" y="855"/>
                  </a:lnTo>
                  <a:lnTo>
                    <a:pt x="260" y="855"/>
                  </a:lnTo>
                  <a:lnTo>
                    <a:pt x="256" y="855"/>
                  </a:lnTo>
                  <a:lnTo>
                    <a:pt x="247" y="855"/>
                  </a:lnTo>
                  <a:lnTo>
                    <a:pt x="242" y="855"/>
                  </a:lnTo>
                  <a:lnTo>
                    <a:pt x="238" y="855"/>
                  </a:lnTo>
                  <a:lnTo>
                    <a:pt x="238" y="860"/>
                  </a:lnTo>
                  <a:lnTo>
                    <a:pt x="233" y="864"/>
                  </a:lnTo>
                  <a:lnTo>
                    <a:pt x="228" y="864"/>
                  </a:lnTo>
                  <a:lnTo>
                    <a:pt x="219" y="864"/>
                  </a:lnTo>
                  <a:lnTo>
                    <a:pt x="210" y="864"/>
                  </a:lnTo>
                  <a:lnTo>
                    <a:pt x="206" y="864"/>
                  </a:lnTo>
                  <a:lnTo>
                    <a:pt x="196" y="864"/>
                  </a:lnTo>
                  <a:lnTo>
                    <a:pt x="192" y="864"/>
                  </a:lnTo>
                  <a:lnTo>
                    <a:pt x="174" y="864"/>
                  </a:lnTo>
                  <a:lnTo>
                    <a:pt x="164" y="860"/>
                  </a:lnTo>
                  <a:lnTo>
                    <a:pt x="160" y="855"/>
                  </a:lnTo>
                  <a:lnTo>
                    <a:pt x="151" y="855"/>
                  </a:lnTo>
                  <a:lnTo>
                    <a:pt x="151" y="855"/>
                  </a:lnTo>
                  <a:lnTo>
                    <a:pt x="151" y="851"/>
                  </a:lnTo>
                  <a:lnTo>
                    <a:pt x="146" y="851"/>
                  </a:lnTo>
                  <a:lnTo>
                    <a:pt x="146" y="846"/>
                  </a:lnTo>
                  <a:lnTo>
                    <a:pt x="142" y="846"/>
                  </a:lnTo>
                  <a:lnTo>
                    <a:pt x="137" y="846"/>
                  </a:lnTo>
                  <a:lnTo>
                    <a:pt x="137" y="842"/>
                  </a:lnTo>
                  <a:lnTo>
                    <a:pt x="132" y="842"/>
                  </a:lnTo>
                  <a:lnTo>
                    <a:pt x="128" y="842"/>
                  </a:lnTo>
                  <a:lnTo>
                    <a:pt x="128" y="837"/>
                  </a:lnTo>
                  <a:lnTo>
                    <a:pt x="128" y="837"/>
                  </a:lnTo>
                  <a:lnTo>
                    <a:pt x="123" y="837"/>
                  </a:lnTo>
                  <a:lnTo>
                    <a:pt x="123" y="837"/>
                  </a:lnTo>
                  <a:lnTo>
                    <a:pt x="119" y="837"/>
                  </a:lnTo>
                  <a:lnTo>
                    <a:pt x="114" y="837"/>
                  </a:lnTo>
                  <a:lnTo>
                    <a:pt x="114" y="832"/>
                  </a:lnTo>
                  <a:lnTo>
                    <a:pt x="110" y="832"/>
                  </a:lnTo>
                  <a:lnTo>
                    <a:pt x="105" y="828"/>
                  </a:lnTo>
                  <a:lnTo>
                    <a:pt x="100" y="823"/>
                  </a:lnTo>
                  <a:lnTo>
                    <a:pt x="96" y="819"/>
                  </a:lnTo>
                  <a:lnTo>
                    <a:pt x="87" y="823"/>
                  </a:lnTo>
                  <a:lnTo>
                    <a:pt x="87" y="819"/>
                  </a:lnTo>
                  <a:lnTo>
                    <a:pt x="87" y="814"/>
                  </a:lnTo>
                  <a:lnTo>
                    <a:pt x="87" y="810"/>
                  </a:lnTo>
                  <a:lnTo>
                    <a:pt x="82" y="810"/>
                  </a:lnTo>
                  <a:lnTo>
                    <a:pt x="82" y="810"/>
                  </a:lnTo>
                  <a:lnTo>
                    <a:pt x="73" y="810"/>
                  </a:lnTo>
                  <a:lnTo>
                    <a:pt x="64" y="800"/>
                  </a:lnTo>
                  <a:lnTo>
                    <a:pt x="50" y="787"/>
                  </a:lnTo>
                  <a:lnTo>
                    <a:pt x="32" y="773"/>
                  </a:lnTo>
                  <a:lnTo>
                    <a:pt x="27" y="768"/>
                  </a:lnTo>
                  <a:lnTo>
                    <a:pt x="23" y="764"/>
                  </a:lnTo>
                  <a:lnTo>
                    <a:pt x="18" y="759"/>
                  </a:lnTo>
                  <a:lnTo>
                    <a:pt x="0" y="746"/>
                  </a:lnTo>
                  <a:lnTo>
                    <a:pt x="0" y="736"/>
                  </a:lnTo>
                  <a:lnTo>
                    <a:pt x="4" y="714"/>
                  </a:lnTo>
                  <a:lnTo>
                    <a:pt x="9" y="700"/>
                  </a:lnTo>
                  <a:lnTo>
                    <a:pt x="14" y="677"/>
                  </a:lnTo>
                  <a:lnTo>
                    <a:pt x="18" y="650"/>
                  </a:lnTo>
                  <a:lnTo>
                    <a:pt x="23" y="631"/>
                  </a:lnTo>
                  <a:lnTo>
                    <a:pt x="27" y="622"/>
                  </a:lnTo>
                  <a:lnTo>
                    <a:pt x="32" y="613"/>
                  </a:lnTo>
                  <a:lnTo>
                    <a:pt x="32" y="608"/>
                  </a:lnTo>
                  <a:lnTo>
                    <a:pt x="36" y="604"/>
                  </a:lnTo>
                  <a:lnTo>
                    <a:pt x="41" y="595"/>
                  </a:lnTo>
                  <a:lnTo>
                    <a:pt x="41" y="595"/>
                  </a:lnTo>
                  <a:lnTo>
                    <a:pt x="41" y="595"/>
                  </a:lnTo>
                  <a:lnTo>
                    <a:pt x="41" y="595"/>
                  </a:lnTo>
                  <a:lnTo>
                    <a:pt x="41" y="590"/>
                  </a:lnTo>
                  <a:lnTo>
                    <a:pt x="50" y="586"/>
                  </a:lnTo>
                  <a:lnTo>
                    <a:pt x="59" y="576"/>
                  </a:lnTo>
                  <a:lnTo>
                    <a:pt x="64" y="572"/>
                  </a:lnTo>
                  <a:lnTo>
                    <a:pt x="68" y="572"/>
                  </a:lnTo>
                  <a:lnTo>
                    <a:pt x="68" y="567"/>
                  </a:lnTo>
                  <a:lnTo>
                    <a:pt x="64" y="558"/>
                  </a:lnTo>
                  <a:lnTo>
                    <a:pt x="64" y="554"/>
                  </a:lnTo>
                  <a:lnTo>
                    <a:pt x="64" y="549"/>
                  </a:lnTo>
                  <a:lnTo>
                    <a:pt x="59" y="549"/>
                  </a:lnTo>
                  <a:lnTo>
                    <a:pt x="50" y="544"/>
                  </a:lnTo>
                  <a:lnTo>
                    <a:pt x="50" y="540"/>
                  </a:lnTo>
                  <a:lnTo>
                    <a:pt x="46" y="535"/>
                  </a:lnTo>
                  <a:lnTo>
                    <a:pt x="46" y="531"/>
                  </a:lnTo>
                  <a:lnTo>
                    <a:pt x="46" y="512"/>
                  </a:lnTo>
                  <a:lnTo>
                    <a:pt x="46" y="508"/>
                  </a:lnTo>
                  <a:lnTo>
                    <a:pt x="50" y="508"/>
                  </a:lnTo>
                  <a:lnTo>
                    <a:pt x="55" y="499"/>
                  </a:lnTo>
                  <a:lnTo>
                    <a:pt x="64" y="490"/>
                  </a:lnTo>
                  <a:lnTo>
                    <a:pt x="64" y="490"/>
                  </a:lnTo>
                  <a:lnTo>
                    <a:pt x="64" y="480"/>
                  </a:lnTo>
                  <a:lnTo>
                    <a:pt x="59" y="471"/>
                  </a:lnTo>
                  <a:lnTo>
                    <a:pt x="55" y="458"/>
                  </a:lnTo>
                  <a:lnTo>
                    <a:pt x="55" y="448"/>
                  </a:lnTo>
                  <a:lnTo>
                    <a:pt x="50" y="435"/>
                  </a:lnTo>
                  <a:lnTo>
                    <a:pt x="50" y="426"/>
                  </a:lnTo>
                  <a:lnTo>
                    <a:pt x="55" y="416"/>
                  </a:lnTo>
                  <a:lnTo>
                    <a:pt x="55" y="407"/>
                  </a:lnTo>
                  <a:lnTo>
                    <a:pt x="55" y="403"/>
                  </a:lnTo>
                  <a:lnTo>
                    <a:pt x="55" y="403"/>
                  </a:lnTo>
                  <a:lnTo>
                    <a:pt x="59" y="389"/>
                  </a:lnTo>
                  <a:lnTo>
                    <a:pt x="59" y="380"/>
                  </a:lnTo>
                  <a:lnTo>
                    <a:pt x="59" y="371"/>
                  </a:lnTo>
                  <a:lnTo>
                    <a:pt x="59" y="352"/>
                  </a:lnTo>
                  <a:lnTo>
                    <a:pt x="59" y="339"/>
                  </a:lnTo>
                  <a:lnTo>
                    <a:pt x="59" y="330"/>
                  </a:lnTo>
                  <a:lnTo>
                    <a:pt x="59" y="316"/>
                  </a:lnTo>
                  <a:lnTo>
                    <a:pt x="59" y="316"/>
                  </a:lnTo>
                  <a:lnTo>
                    <a:pt x="59" y="316"/>
                  </a:lnTo>
                  <a:lnTo>
                    <a:pt x="55" y="311"/>
                  </a:lnTo>
                  <a:lnTo>
                    <a:pt x="55" y="302"/>
                  </a:lnTo>
                  <a:lnTo>
                    <a:pt x="55" y="293"/>
                  </a:lnTo>
                  <a:lnTo>
                    <a:pt x="55" y="288"/>
                  </a:lnTo>
                  <a:lnTo>
                    <a:pt x="55" y="284"/>
                  </a:lnTo>
                  <a:lnTo>
                    <a:pt x="73" y="266"/>
                  </a:lnTo>
                  <a:lnTo>
                    <a:pt x="78" y="266"/>
                  </a:lnTo>
                  <a:lnTo>
                    <a:pt x="78" y="266"/>
                  </a:lnTo>
                  <a:lnTo>
                    <a:pt x="82" y="261"/>
                  </a:lnTo>
                  <a:lnTo>
                    <a:pt x="87" y="256"/>
                  </a:lnTo>
                  <a:lnTo>
                    <a:pt x="91" y="252"/>
                  </a:lnTo>
                  <a:lnTo>
                    <a:pt x="96" y="247"/>
                  </a:lnTo>
                  <a:lnTo>
                    <a:pt x="105" y="243"/>
                  </a:lnTo>
                  <a:lnTo>
                    <a:pt x="123" y="224"/>
                  </a:lnTo>
                  <a:lnTo>
                    <a:pt x="123" y="224"/>
                  </a:lnTo>
                  <a:lnTo>
                    <a:pt x="128" y="224"/>
                  </a:lnTo>
                  <a:lnTo>
                    <a:pt x="137" y="215"/>
                  </a:lnTo>
                  <a:lnTo>
                    <a:pt x="142" y="211"/>
                  </a:lnTo>
                  <a:lnTo>
                    <a:pt x="142" y="211"/>
                  </a:lnTo>
                  <a:lnTo>
                    <a:pt x="164" y="197"/>
                  </a:lnTo>
                  <a:lnTo>
                    <a:pt x="164" y="192"/>
                  </a:lnTo>
                  <a:lnTo>
                    <a:pt x="169" y="192"/>
                  </a:lnTo>
                  <a:lnTo>
                    <a:pt x="178" y="179"/>
                  </a:lnTo>
                  <a:lnTo>
                    <a:pt x="178" y="174"/>
                  </a:lnTo>
                  <a:lnTo>
                    <a:pt x="192" y="156"/>
                  </a:lnTo>
                  <a:lnTo>
                    <a:pt x="192" y="151"/>
                  </a:lnTo>
                  <a:lnTo>
                    <a:pt x="196" y="147"/>
                  </a:lnTo>
                  <a:lnTo>
                    <a:pt x="201" y="142"/>
                  </a:lnTo>
                  <a:lnTo>
                    <a:pt x="201" y="138"/>
                  </a:lnTo>
                  <a:lnTo>
                    <a:pt x="210" y="128"/>
                  </a:lnTo>
                  <a:lnTo>
                    <a:pt x="210" y="128"/>
                  </a:lnTo>
                  <a:lnTo>
                    <a:pt x="215" y="119"/>
                  </a:lnTo>
                  <a:lnTo>
                    <a:pt x="228" y="101"/>
                  </a:lnTo>
                  <a:lnTo>
                    <a:pt x="228" y="92"/>
                  </a:lnTo>
                  <a:lnTo>
                    <a:pt x="233" y="74"/>
                  </a:lnTo>
                  <a:lnTo>
                    <a:pt x="233" y="69"/>
                  </a:lnTo>
                  <a:lnTo>
                    <a:pt x="238" y="60"/>
                  </a:lnTo>
                  <a:lnTo>
                    <a:pt x="238" y="46"/>
                  </a:lnTo>
                  <a:lnTo>
                    <a:pt x="238" y="46"/>
                  </a:lnTo>
                  <a:lnTo>
                    <a:pt x="238" y="32"/>
                  </a:lnTo>
                  <a:lnTo>
                    <a:pt x="238" y="23"/>
                  </a:lnTo>
                  <a:lnTo>
                    <a:pt x="238" y="10"/>
                  </a:lnTo>
                  <a:lnTo>
                    <a:pt x="265" y="10"/>
                  </a:lnTo>
                  <a:lnTo>
                    <a:pt x="270" y="10"/>
                  </a:lnTo>
                  <a:lnTo>
                    <a:pt x="279" y="10"/>
                  </a:lnTo>
                  <a:lnTo>
                    <a:pt x="288" y="10"/>
                  </a:lnTo>
                  <a:lnTo>
                    <a:pt x="292" y="10"/>
                  </a:lnTo>
                  <a:lnTo>
                    <a:pt x="297" y="10"/>
                  </a:lnTo>
                  <a:lnTo>
                    <a:pt x="302" y="10"/>
                  </a:lnTo>
                  <a:lnTo>
                    <a:pt x="302" y="5"/>
                  </a:lnTo>
                  <a:lnTo>
                    <a:pt x="306" y="5"/>
                  </a:lnTo>
                  <a:lnTo>
                    <a:pt x="306" y="5"/>
                  </a:lnTo>
                  <a:lnTo>
                    <a:pt x="306" y="0"/>
                  </a:lnTo>
                  <a:lnTo>
                    <a:pt x="311" y="5"/>
                  </a:lnTo>
                  <a:lnTo>
                    <a:pt x="315" y="5"/>
                  </a:lnTo>
                  <a:lnTo>
                    <a:pt x="315" y="10"/>
                  </a:lnTo>
                  <a:lnTo>
                    <a:pt x="320" y="10"/>
                  </a:lnTo>
                  <a:lnTo>
                    <a:pt x="320" y="14"/>
                  </a:lnTo>
                  <a:lnTo>
                    <a:pt x="324" y="19"/>
                  </a:lnTo>
                  <a:lnTo>
                    <a:pt x="324" y="19"/>
                  </a:lnTo>
                  <a:lnTo>
                    <a:pt x="324" y="23"/>
                  </a:lnTo>
                  <a:lnTo>
                    <a:pt x="329" y="23"/>
                  </a:lnTo>
                  <a:lnTo>
                    <a:pt x="338" y="23"/>
                  </a:lnTo>
                  <a:lnTo>
                    <a:pt x="338" y="23"/>
                  </a:lnTo>
                  <a:lnTo>
                    <a:pt x="343" y="23"/>
                  </a:lnTo>
                  <a:lnTo>
                    <a:pt x="347" y="28"/>
                  </a:lnTo>
                  <a:lnTo>
                    <a:pt x="347" y="37"/>
                  </a:lnTo>
                  <a:lnTo>
                    <a:pt x="352" y="37"/>
                  </a:lnTo>
                  <a:lnTo>
                    <a:pt x="352" y="42"/>
                  </a:lnTo>
                  <a:lnTo>
                    <a:pt x="356" y="46"/>
                  </a:lnTo>
                  <a:lnTo>
                    <a:pt x="361" y="46"/>
                  </a:lnTo>
                  <a:lnTo>
                    <a:pt x="366" y="46"/>
                  </a:lnTo>
                  <a:lnTo>
                    <a:pt x="370" y="46"/>
                  </a:lnTo>
                  <a:lnTo>
                    <a:pt x="370" y="51"/>
                  </a:lnTo>
                  <a:lnTo>
                    <a:pt x="384" y="51"/>
                  </a:lnTo>
                  <a:lnTo>
                    <a:pt x="388" y="51"/>
                  </a:lnTo>
                  <a:lnTo>
                    <a:pt x="393" y="55"/>
                  </a:lnTo>
                  <a:lnTo>
                    <a:pt x="398" y="55"/>
                  </a:lnTo>
                  <a:lnTo>
                    <a:pt x="402" y="55"/>
                  </a:lnTo>
                  <a:lnTo>
                    <a:pt x="402" y="60"/>
                  </a:lnTo>
                  <a:lnTo>
                    <a:pt x="407" y="60"/>
                  </a:lnTo>
                  <a:lnTo>
                    <a:pt x="411" y="60"/>
                  </a:lnTo>
                  <a:lnTo>
                    <a:pt x="416" y="64"/>
                  </a:lnTo>
                  <a:lnTo>
                    <a:pt x="416" y="64"/>
                  </a:lnTo>
                  <a:lnTo>
                    <a:pt x="420" y="69"/>
                  </a:lnTo>
                  <a:lnTo>
                    <a:pt x="425" y="69"/>
                  </a:lnTo>
                  <a:lnTo>
                    <a:pt x="430" y="74"/>
                  </a:lnTo>
                  <a:lnTo>
                    <a:pt x="434" y="74"/>
                  </a:lnTo>
                  <a:lnTo>
                    <a:pt x="439" y="74"/>
                  </a:lnTo>
                  <a:lnTo>
                    <a:pt x="443" y="74"/>
                  </a:lnTo>
                  <a:lnTo>
                    <a:pt x="448" y="74"/>
                  </a:lnTo>
                  <a:lnTo>
                    <a:pt x="452" y="69"/>
                  </a:lnTo>
                  <a:lnTo>
                    <a:pt x="457" y="69"/>
                  </a:lnTo>
                  <a:lnTo>
                    <a:pt x="457" y="69"/>
                  </a:lnTo>
                  <a:lnTo>
                    <a:pt x="457" y="64"/>
                  </a:lnTo>
                  <a:lnTo>
                    <a:pt x="457" y="60"/>
                  </a:lnTo>
                  <a:lnTo>
                    <a:pt x="462" y="60"/>
                  </a:lnTo>
                  <a:lnTo>
                    <a:pt x="462" y="55"/>
                  </a:lnTo>
                  <a:lnTo>
                    <a:pt x="466" y="51"/>
                  </a:lnTo>
                  <a:lnTo>
                    <a:pt x="475" y="46"/>
                  </a:lnTo>
                  <a:lnTo>
                    <a:pt x="480" y="46"/>
                  </a:lnTo>
                  <a:lnTo>
                    <a:pt x="480" y="46"/>
                  </a:lnTo>
                  <a:lnTo>
                    <a:pt x="484" y="46"/>
                  </a:lnTo>
                  <a:lnTo>
                    <a:pt x="484" y="46"/>
                  </a:lnTo>
                  <a:lnTo>
                    <a:pt x="489" y="51"/>
                  </a:lnTo>
                  <a:lnTo>
                    <a:pt x="489" y="55"/>
                  </a:lnTo>
                  <a:lnTo>
                    <a:pt x="489" y="60"/>
                  </a:lnTo>
                  <a:lnTo>
                    <a:pt x="489" y="64"/>
                  </a:lnTo>
                  <a:lnTo>
                    <a:pt x="484" y="69"/>
                  </a:lnTo>
                  <a:lnTo>
                    <a:pt x="480" y="78"/>
                  </a:lnTo>
                  <a:lnTo>
                    <a:pt x="480" y="83"/>
                  </a:lnTo>
                  <a:lnTo>
                    <a:pt x="480" y="87"/>
                  </a:lnTo>
                  <a:lnTo>
                    <a:pt x="480" y="92"/>
                  </a:lnTo>
                  <a:lnTo>
                    <a:pt x="480" y="101"/>
                  </a:lnTo>
                  <a:lnTo>
                    <a:pt x="475" y="110"/>
                  </a:lnTo>
                  <a:lnTo>
                    <a:pt x="471" y="110"/>
                  </a:lnTo>
                  <a:lnTo>
                    <a:pt x="471" y="115"/>
                  </a:lnTo>
                  <a:lnTo>
                    <a:pt x="466" y="119"/>
                  </a:lnTo>
                  <a:lnTo>
                    <a:pt x="466" y="124"/>
                  </a:lnTo>
                  <a:lnTo>
                    <a:pt x="466" y="128"/>
                  </a:lnTo>
                  <a:lnTo>
                    <a:pt x="466" y="133"/>
                  </a:lnTo>
                  <a:lnTo>
                    <a:pt x="466" y="133"/>
                  </a:lnTo>
                  <a:lnTo>
                    <a:pt x="471" y="138"/>
                  </a:lnTo>
                  <a:lnTo>
                    <a:pt x="475" y="142"/>
                  </a:lnTo>
                  <a:lnTo>
                    <a:pt x="480" y="147"/>
                  </a:lnTo>
                  <a:lnTo>
                    <a:pt x="484" y="156"/>
                  </a:lnTo>
                  <a:lnTo>
                    <a:pt x="484" y="160"/>
                  </a:lnTo>
                  <a:lnTo>
                    <a:pt x="484" y="174"/>
                  </a:lnTo>
                  <a:lnTo>
                    <a:pt x="489" y="183"/>
                  </a:lnTo>
                  <a:lnTo>
                    <a:pt x="489" y="188"/>
                  </a:lnTo>
                  <a:lnTo>
                    <a:pt x="484" y="197"/>
                  </a:lnTo>
                  <a:lnTo>
                    <a:pt x="484" y="206"/>
                  </a:lnTo>
                  <a:lnTo>
                    <a:pt x="480" y="215"/>
                  </a:lnTo>
                  <a:lnTo>
                    <a:pt x="480" y="220"/>
                  </a:lnTo>
                  <a:lnTo>
                    <a:pt x="480" y="229"/>
                  </a:lnTo>
                  <a:lnTo>
                    <a:pt x="480" y="238"/>
                  </a:lnTo>
                  <a:lnTo>
                    <a:pt x="480" y="243"/>
                  </a:lnTo>
                  <a:lnTo>
                    <a:pt x="484" y="252"/>
                  </a:lnTo>
                  <a:lnTo>
                    <a:pt x="489" y="266"/>
                  </a:lnTo>
                  <a:lnTo>
                    <a:pt x="489" y="284"/>
                  </a:lnTo>
                  <a:lnTo>
                    <a:pt x="489" y="298"/>
                  </a:lnTo>
                  <a:lnTo>
                    <a:pt x="484" y="311"/>
                  </a:lnTo>
                  <a:lnTo>
                    <a:pt x="484" y="325"/>
                  </a:lnTo>
                  <a:lnTo>
                    <a:pt x="480" y="330"/>
                  </a:lnTo>
                  <a:lnTo>
                    <a:pt x="480" y="330"/>
                  </a:lnTo>
                  <a:lnTo>
                    <a:pt x="475" y="325"/>
                  </a:lnTo>
                  <a:lnTo>
                    <a:pt x="466" y="316"/>
                  </a:lnTo>
                  <a:lnTo>
                    <a:pt x="457" y="311"/>
                  </a:lnTo>
                  <a:lnTo>
                    <a:pt x="443" y="316"/>
                  </a:lnTo>
                  <a:lnTo>
                    <a:pt x="434" y="320"/>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1" name="Freeform 28">
              <a:extLst>
                <a:ext uri="{FF2B5EF4-FFF2-40B4-BE49-F238E27FC236}">
                  <a16:creationId xmlns:a16="http://schemas.microsoft.com/office/drawing/2014/main" id="{7F8ECBD3-73FE-41E8-8060-3571A2CD057E}"/>
                </a:ext>
              </a:extLst>
            </p:cNvPr>
            <p:cNvSpPr>
              <a:spLocks/>
            </p:cNvSpPr>
            <p:nvPr>
              <p:custDataLst>
                <p:tags r:id="rId23"/>
              </p:custDataLst>
            </p:nvPr>
          </p:nvSpPr>
          <p:spPr bwMode="auto">
            <a:xfrm>
              <a:off x="1026376" y="2784110"/>
              <a:ext cx="821576" cy="837646"/>
            </a:xfrm>
            <a:custGeom>
              <a:avLst/>
              <a:gdLst/>
              <a:ahLst/>
              <a:cxnLst>
                <a:cxn ang="0">
                  <a:pos x="407" y="508"/>
                </a:cxn>
                <a:cxn ang="0">
                  <a:pos x="375" y="494"/>
                </a:cxn>
                <a:cxn ang="0">
                  <a:pos x="329" y="480"/>
                </a:cxn>
                <a:cxn ang="0">
                  <a:pos x="297" y="471"/>
                </a:cxn>
                <a:cxn ang="0">
                  <a:pos x="283" y="444"/>
                </a:cxn>
                <a:cxn ang="0">
                  <a:pos x="256" y="426"/>
                </a:cxn>
                <a:cxn ang="0">
                  <a:pos x="215" y="389"/>
                </a:cxn>
                <a:cxn ang="0">
                  <a:pos x="169" y="366"/>
                </a:cxn>
                <a:cxn ang="0">
                  <a:pos x="128" y="343"/>
                </a:cxn>
                <a:cxn ang="0">
                  <a:pos x="96" y="302"/>
                </a:cxn>
                <a:cxn ang="0">
                  <a:pos x="119" y="266"/>
                </a:cxn>
                <a:cxn ang="0">
                  <a:pos x="78" y="275"/>
                </a:cxn>
                <a:cxn ang="0">
                  <a:pos x="78" y="247"/>
                </a:cxn>
                <a:cxn ang="0">
                  <a:pos x="50" y="220"/>
                </a:cxn>
                <a:cxn ang="0">
                  <a:pos x="18" y="188"/>
                </a:cxn>
                <a:cxn ang="0">
                  <a:pos x="4" y="138"/>
                </a:cxn>
                <a:cxn ang="0">
                  <a:pos x="36" y="110"/>
                </a:cxn>
                <a:cxn ang="0">
                  <a:pos x="73" y="83"/>
                </a:cxn>
                <a:cxn ang="0">
                  <a:pos x="114" y="106"/>
                </a:cxn>
                <a:cxn ang="0">
                  <a:pos x="160" y="124"/>
                </a:cxn>
                <a:cxn ang="0">
                  <a:pos x="224" y="124"/>
                </a:cxn>
                <a:cxn ang="0">
                  <a:pos x="288" y="124"/>
                </a:cxn>
                <a:cxn ang="0">
                  <a:pos x="302" y="60"/>
                </a:cxn>
                <a:cxn ang="0">
                  <a:pos x="324" y="19"/>
                </a:cxn>
                <a:cxn ang="0">
                  <a:pos x="370" y="14"/>
                </a:cxn>
                <a:cxn ang="0">
                  <a:pos x="398" y="51"/>
                </a:cxn>
                <a:cxn ang="0">
                  <a:pos x="416" y="106"/>
                </a:cxn>
                <a:cxn ang="0">
                  <a:pos x="452" y="138"/>
                </a:cxn>
                <a:cxn ang="0">
                  <a:pos x="484" y="165"/>
                </a:cxn>
                <a:cxn ang="0">
                  <a:pos x="521" y="192"/>
                </a:cxn>
                <a:cxn ang="0">
                  <a:pos x="544" y="151"/>
                </a:cxn>
                <a:cxn ang="0">
                  <a:pos x="571" y="119"/>
                </a:cxn>
                <a:cxn ang="0">
                  <a:pos x="626" y="133"/>
                </a:cxn>
                <a:cxn ang="0">
                  <a:pos x="631" y="211"/>
                </a:cxn>
                <a:cxn ang="0">
                  <a:pos x="626" y="256"/>
                </a:cxn>
                <a:cxn ang="0">
                  <a:pos x="612" y="316"/>
                </a:cxn>
                <a:cxn ang="0">
                  <a:pos x="654" y="302"/>
                </a:cxn>
                <a:cxn ang="0">
                  <a:pos x="699" y="284"/>
                </a:cxn>
                <a:cxn ang="0">
                  <a:pos x="777" y="266"/>
                </a:cxn>
                <a:cxn ang="0">
                  <a:pos x="864" y="261"/>
                </a:cxn>
                <a:cxn ang="0">
                  <a:pos x="878" y="334"/>
                </a:cxn>
                <a:cxn ang="0">
                  <a:pos x="905" y="389"/>
                </a:cxn>
                <a:cxn ang="0">
                  <a:pos x="928" y="503"/>
                </a:cxn>
                <a:cxn ang="0">
                  <a:pos x="928" y="544"/>
                </a:cxn>
                <a:cxn ang="0">
                  <a:pos x="914" y="586"/>
                </a:cxn>
                <a:cxn ang="0">
                  <a:pos x="868" y="599"/>
                </a:cxn>
                <a:cxn ang="0">
                  <a:pos x="846" y="654"/>
                </a:cxn>
                <a:cxn ang="0">
                  <a:pos x="782" y="613"/>
                </a:cxn>
                <a:cxn ang="0">
                  <a:pos x="745" y="645"/>
                </a:cxn>
                <a:cxn ang="0">
                  <a:pos x="699" y="695"/>
                </a:cxn>
                <a:cxn ang="0">
                  <a:pos x="654" y="732"/>
                </a:cxn>
                <a:cxn ang="0">
                  <a:pos x="608" y="709"/>
                </a:cxn>
                <a:cxn ang="0">
                  <a:pos x="580" y="764"/>
                </a:cxn>
                <a:cxn ang="0">
                  <a:pos x="553" y="823"/>
                </a:cxn>
                <a:cxn ang="0">
                  <a:pos x="498" y="805"/>
                </a:cxn>
                <a:cxn ang="0">
                  <a:pos x="489" y="727"/>
                </a:cxn>
                <a:cxn ang="0">
                  <a:pos x="507" y="668"/>
                </a:cxn>
                <a:cxn ang="0">
                  <a:pos x="521" y="608"/>
                </a:cxn>
                <a:cxn ang="0">
                  <a:pos x="512" y="563"/>
                </a:cxn>
                <a:cxn ang="0">
                  <a:pos x="462" y="544"/>
                </a:cxn>
              </a:cxnLst>
              <a:rect l="0" t="0" r="r" b="b"/>
              <a:pathLst>
                <a:path w="942" h="828">
                  <a:moveTo>
                    <a:pt x="430" y="526"/>
                  </a:moveTo>
                  <a:lnTo>
                    <a:pt x="430" y="522"/>
                  </a:lnTo>
                  <a:lnTo>
                    <a:pt x="425" y="522"/>
                  </a:lnTo>
                  <a:lnTo>
                    <a:pt x="425" y="517"/>
                  </a:lnTo>
                  <a:lnTo>
                    <a:pt x="420" y="522"/>
                  </a:lnTo>
                  <a:lnTo>
                    <a:pt x="416" y="522"/>
                  </a:lnTo>
                  <a:lnTo>
                    <a:pt x="411" y="522"/>
                  </a:lnTo>
                  <a:lnTo>
                    <a:pt x="411" y="522"/>
                  </a:lnTo>
                  <a:lnTo>
                    <a:pt x="407" y="522"/>
                  </a:lnTo>
                  <a:lnTo>
                    <a:pt x="407" y="517"/>
                  </a:lnTo>
                  <a:lnTo>
                    <a:pt x="407" y="512"/>
                  </a:lnTo>
                  <a:lnTo>
                    <a:pt x="407" y="508"/>
                  </a:lnTo>
                  <a:lnTo>
                    <a:pt x="407" y="503"/>
                  </a:lnTo>
                  <a:lnTo>
                    <a:pt x="402" y="503"/>
                  </a:lnTo>
                  <a:lnTo>
                    <a:pt x="402" y="499"/>
                  </a:lnTo>
                  <a:lnTo>
                    <a:pt x="398" y="499"/>
                  </a:lnTo>
                  <a:lnTo>
                    <a:pt x="393" y="503"/>
                  </a:lnTo>
                  <a:lnTo>
                    <a:pt x="388" y="503"/>
                  </a:lnTo>
                  <a:lnTo>
                    <a:pt x="388" y="503"/>
                  </a:lnTo>
                  <a:lnTo>
                    <a:pt x="384" y="499"/>
                  </a:lnTo>
                  <a:lnTo>
                    <a:pt x="379" y="499"/>
                  </a:lnTo>
                  <a:lnTo>
                    <a:pt x="379" y="499"/>
                  </a:lnTo>
                  <a:lnTo>
                    <a:pt x="375" y="499"/>
                  </a:lnTo>
                  <a:lnTo>
                    <a:pt x="375" y="494"/>
                  </a:lnTo>
                  <a:lnTo>
                    <a:pt x="370" y="490"/>
                  </a:lnTo>
                  <a:lnTo>
                    <a:pt x="370" y="485"/>
                  </a:lnTo>
                  <a:lnTo>
                    <a:pt x="370" y="485"/>
                  </a:lnTo>
                  <a:lnTo>
                    <a:pt x="370" y="480"/>
                  </a:lnTo>
                  <a:lnTo>
                    <a:pt x="366" y="480"/>
                  </a:lnTo>
                  <a:lnTo>
                    <a:pt x="361" y="476"/>
                  </a:lnTo>
                  <a:lnTo>
                    <a:pt x="352" y="476"/>
                  </a:lnTo>
                  <a:lnTo>
                    <a:pt x="347" y="476"/>
                  </a:lnTo>
                  <a:lnTo>
                    <a:pt x="343" y="476"/>
                  </a:lnTo>
                  <a:lnTo>
                    <a:pt x="338" y="476"/>
                  </a:lnTo>
                  <a:lnTo>
                    <a:pt x="334" y="480"/>
                  </a:lnTo>
                  <a:lnTo>
                    <a:pt x="329" y="480"/>
                  </a:lnTo>
                  <a:lnTo>
                    <a:pt x="324" y="480"/>
                  </a:lnTo>
                  <a:lnTo>
                    <a:pt x="324" y="485"/>
                  </a:lnTo>
                  <a:lnTo>
                    <a:pt x="324" y="485"/>
                  </a:lnTo>
                  <a:lnTo>
                    <a:pt x="320" y="485"/>
                  </a:lnTo>
                  <a:lnTo>
                    <a:pt x="311" y="485"/>
                  </a:lnTo>
                  <a:lnTo>
                    <a:pt x="306" y="485"/>
                  </a:lnTo>
                  <a:lnTo>
                    <a:pt x="302" y="485"/>
                  </a:lnTo>
                  <a:lnTo>
                    <a:pt x="302" y="485"/>
                  </a:lnTo>
                  <a:lnTo>
                    <a:pt x="297" y="480"/>
                  </a:lnTo>
                  <a:lnTo>
                    <a:pt x="297" y="476"/>
                  </a:lnTo>
                  <a:lnTo>
                    <a:pt x="297" y="476"/>
                  </a:lnTo>
                  <a:lnTo>
                    <a:pt x="297" y="471"/>
                  </a:lnTo>
                  <a:lnTo>
                    <a:pt x="297" y="462"/>
                  </a:lnTo>
                  <a:lnTo>
                    <a:pt x="302" y="462"/>
                  </a:lnTo>
                  <a:lnTo>
                    <a:pt x="302" y="458"/>
                  </a:lnTo>
                  <a:lnTo>
                    <a:pt x="302" y="453"/>
                  </a:lnTo>
                  <a:lnTo>
                    <a:pt x="302" y="453"/>
                  </a:lnTo>
                  <a:lnTo>
                    <a:pt x="306" y="448"/>
                  </a:lnTo>
                  <a:lnTo>
                    <a:pt x="302" y="448"/>
                  </a:lnTo>
                  <a:lnTo>
                    <a:pt x="302" y="444"/>
                  </a:lnTo>
                  <a:lnTo>
                    <a:pt x="292" y="448"/>
                  </a:lnTo>
                  <a:lnTo>
                    <a:pt x="288" y="448"/>
                  </a:lnTo>
                  <a:lnTo>
                    <a:pt x="288" y="444"/>
                  </a:lnTo>
                  <a:lnTo>
                    <a:pt x="283" y="444"/>
                  </a:lnTo>
                  <a:lnTo>
                    <a:pt x="283" y="439"/>
                  </a:lnTo>
                  <a:lnTo>
                    <a:pt x="283" y="435"/>
                  </a:lnTo>
                  <a:lnTo>
                    <a:pt x="283" y="435"/>
                  </a:lnTo>
                  <a:lnTo>
                    <a:pt x="279" y="435"/>
                  </a:lnTo>
                  <a:lnTo>
                    <a:pt x="279" y="430"/>
                  </a:lnTo>
                  <a:lnTo>
                    <a:pt x="279" y="430"/>
                  </a:lnTo>
                  <a:lnTo>
                    <a:pt x="279" y="435"/>
                  </a:lnTo>
                  <a:lnTo>
                    <a:pt x="274" y="435"/>
                  </a:lnTo>
                  <a:lnTo>
                    <a:pt x="270" y="435"/>
                  </a:lnTo>
                  <a:lnTo>
                    <a:pt x="260" y="435"/>
                  </a:lnTo>
                  <a:lnTo>
                    <a:pt x="256" y="430"/>
                  </a:lnTo>
                  <a:lnTo>
                    <a:pt x="256" y="426"/>
                  </a:lnTo>
                  <a:lnTo>
                    <a:pt x="251" y="426"/>
                  </a:lnTo>
                  <a:lnTo>
                    <a:pt x="247" y="421"/>
                  </a:lnTo>
                  <a:lnTo>
                    <a:pt x="238" y="416"/>
                  </a:lnTo>
                  <a:lnTo>
                    <a:pt x="238" y="412"/>
                  </a:lnTo>
                  <a:lnTo>
                    <a:pt x="238" y="412"/>
                  </a:lnTo>
                  <a:lnTo>
                    <a:pt x="233" y="412"/>
                  </a:lnTo>
                  <a:lnTo>
                    <a:pt x="233" y="407"/>
                  </a:lnTo>
                  <a:lnTo>
                    <a:pt x="228" y="403"/>
                  </a:lnTo>
                  <a:lnTo>
                    <a:pt x="224" y="398"/>
                  </a:lnTo>
                  <a:lnTo>
                    <a:pt x="224" y="394"/>
                  </a:lnTo>
                  <a:lnTo>
                    <a:pt x="219" y="389"/>
                  </a:lnTo>
                  <a:lnTo>
                    <a:pt x="215" y="389"/>
                  </a:lnTo>
                  <a:lnTo>
                    <a:pt x="215" y="384"/>
                  </a:lnTo>
                  <a:lnTo>
                    <a:pt x="219" y="371"/>
                  </a:lnTo>
                  <a:lnTo>
                    <a:pt x="219" y="366"/>
                  </a:lnTo>
                  <a:lnTo>
                    <a:pt x="224" y="366"/>
                  </a:lnTo>
                  <a:lnTo>
                    <a:pt x="219" y="362"/>
                  </a:lnTo>
                  <a:lnTo>
                    <a:pt x="219" y="357"/>
                  </a:lnTo>
                  <a:lnTo>
                    <a:pt x="215" y="357"/>
                  </a:lnTo>
                  <a:lnTo>
                    <a:pt x="210" y="362"/>
                  </a:lnTo>
                  <a:lnTo>
                    <a:pt x="192" y="362"/>
                  </a:lnTo>
                  <a:lnTo>
                    <a:pt x="183" y="366"/>
                  </a:lnTo>
                  <a:lnTo>
                    <a:pt x="174" y="366"/>
                  </a:lnTo>
                  <a:lnTo>
                    <a:pt x="169" y="366"/>
                  </a:lnTo>
                  <a:lnTo>
                    <a:pt x="169" y="362"/>
                  </a:lnTo>
                  <a:lnTo>
                    <a:pt x="164" y="362"/>
                  </a:lnTo>
                  <a:lnTo>
                    <a:pt x="160" y="357"/>
                  </a:lnTo>
                  <a:lnTo>
                    <a:pt x="155" y="357"/>
                  </a:lnTo>
                  <a:lnTo>
                    <a:pt x="155" y="352"/>
                  </a:lnTo>
                  <a:lnTo>
                    <a:pt x="151" y="352"/>
                  </a:lnTo>
                  <a:lnTo>
                    <a:pt x="151" y="352"/>
                  </a:lnTo>
                  <a:lnTo>
                    <a:pt x="146" y="352"/>
                  </a:lnTo>
                  <a:lnTo>
                    <a:pt x="137" y="348"/>
                  </a:lnTo>
                  <a:lnTo>
                    <a:pt x="132" y="348"/>
                  </a:lnTo>
                  <a:lnTo>
                    <a:pt x="128" y="343"/>
                  </a:lnTo>
                  <a:lnTo>
                    <a:pt x="128" y="343"/>
                  </a:lnTo>
                  <a:lnTo>
                    <a:pt x="128" y="343"/>
                  </a:lnTo>
                  <a:lnTo>
                    <a:pt x="123" y="343"/>
                  </a:lnTo>
                  <a:lnTo>
                    <a:pt x="110" y="339"/>
                  </a:lnTo>
                  <a:lnTo>
                    <a:pt x="105" y="334"/>
                  </a:lnTo>
                  <a:lnTo>
                    <a:pt x="105" y="334"/>
                  </a:lnTo>
                  <a:lnTo>
                    <a:pt x="105" y="330"/>
                  </a:lnTo>
                  <a:lnTo>
                    <a:pt x="100" y="325"/>
                  </a:lnTo>
                  <a:lnTo>
                    <a:pt x="96" y="320"/>
                  </a:lnTo>
                  <a:lnTo>
                    <a:pt x="96" y="316"/>
                  </a:lnTo>
                  <a:lnTo>
                    <a:pt x="96" y="311"/>
                  </a:lnTo>
                  <a:lnTo>
                    <a:pt x="96" y="307"/>
                  </a:lnTo>
                  <a:lnTo>
                    <a:pt x="96" y="302"/>
                  </a:lnTo>
                  <a:lnTo>
                    <a:pt x="96" y="298"/>
                  </a:lnTo>
                  <a:lnTo>
                    <a:pt x="100" y="298"/>
                  </a:lnTo>
                  <a:lnTo>
                    <a:pt x="100" y="293"/>
                  </a:lnTo>
                  <a:lnTo>
                    <a:pt x="105" y="288"/>
                  </a:lnTo>
                  <a:lnTo>
                    <a:pt x="105" y="288"/>
                  </a:lnTo>
                  <a:lnTo>
                    <a:pt x="105" y="284"/>
                  </a:lnTo>
                  <a:lnTo>
                    <a:pt x="110" y="284"/>
                  </a:lnTo>
                  <a:lnTo>
                    <a:pt x="119" y="279"/>
                  </a:lnTo>
                  <a:lnTo>
                    <a:pt x="119" y="279"/>
                  </a:lnTo>
                  <a:lnTo>
                    <a:pt x="123" y="270"/>
                  </a:lnTo>
                  <a:lnTo>
                    <a:pt x="119" y="270"/>
                  </a:lnTo>
                  <a:lnTo>
                    <a:pt x="119" y="266"/>
                  </a:lnTo>
                  <a:lnTo>
                    <a:pt x="114" y="266"/>
                  </a:lnTo>
                  <a:lnTo>
                    <a:pt x="110" y="261"/>
                  </a:lnTo>
                  <a:lnTo>
                    <a:pt x="105" y="261"/>
                  </a:lnTo>
                  <a:lnTo>
                    <a:pt x="105" y="261"/>
                  </a:lnTo>
                  <a:lnTo>
                    <a:pt x="100" y="266"/>
                  </a:lnTo>
                  <a:lnTo>
                    <a:pt x="96" y="266"/>
                  </a:lnTo>
                  <a:lnTo>
                    <a:pt x="87" y="266"/>
                  </a:lnTo>
                  <a:lnTo>
                    <a:pt x="87" y="270"/>
                  </a:lnTo>
                  <a:lnTo>
                    <a:pt x="82" y="270"/>
                  </a:lnTo>
                  <a:lnTo>
                    <a:pt x="82" y="270"/>
                  </a:lnTo>
                  <a:lnTo>
                    <a:pt x="82" y="275"/>
                  </a:lnTo>
                  <a:lnTo>
                    <a:pt x="78" y="275"/>
                  </a:lnTo>
                  <a:lnTo>
                    <a:pt x="73" y="275"/>
                  </a:lnTo>
                  <a:lnTo>
                    <a:pt x="73" y="279"/>
                  </a:lnTo>
                  <a:lnTo>
                    <a:pt x="68" y="279"/>
                  </a:lnTo>
                  <a:lnTo>
                    <a:pt x="64" y="279"/>
                  </a:lnTo>
                  <a:lnTo>
                    <a:pt x="64" y="270"/>
                  </a:lnTo>
                  <a:lnTo>
                    <a:pt x="64" y="266"/>
                  </a:lnTo>
                  <a:lnTo>
                    <a:pt x="68" y="261"/>
                  </a:lnTo>
                  <a:lnTo>
                    <a:pt x="73" y="256"/>
                  </a:lnTo>
                  <a:lnTo>
                    <a:pt x="73" y="256"/>
                  </a:lnTo>
                  <a:lnTo>
                    <a:pt x="78" y="256"/>
                  </a:lnTo>
                  <a:lnTo>
                    <a:pt x="78" y="252"/>
                  </a:lnTo>
                  <a:lnTo>
                    <a:pt x="78" y="247"/>
                  </a:lnTo>
                  <a:lnTo>
                    <a:pt x="82" y="243"/>
                  </a:lnTo>
                  <a:lnTo>
                    <a:pt x="82" y="234"/>
                  </a:lnTo>
                  <a:lnTo>
                    <a:pt x="82" y="229"/>
                  </a:lnTo>
                  <a:lnTo>
                    <a:pt x="82" y="224"/>
                  </a:lnTo>
                  <a:lnTo>
                    <a:pt x="82" y="220"/>
                  </a:lnTo>
                  <a:lnTo>
                    <a:pt x="78" y="215"/>
                  </a:lnTo>
                  <a:lnTo>
                    <a:pt x="73" y="215"/>
                  </a:lnTo>
                  <a:lnTo>
                    <a:pt x="68" y="215"/>
                  </a:lnTo>
                  <a:lnTo>
                    <a:pt x="59" y="220"/>
                  </a:lnTo>
                  <a:lnTo>
                    <a:pt x="59" y="220"/>
                  </a:lnTo>
                  <a:lnTo>
                    <a:pt x="55" y="220"/>
                  </a:lnTo>
                  <a:lnTo>
                    <a:pt x="50" y="220"/>
                  </a:lnTo>
                  <a:lnTo>
                    <a:pt x="46" y="220"/>
                  </a:lnTo>
                  <a:lnTo>
                    <a:pt x="46" y="215"/>
                  </a:lnTo>
                  <a:lnTo>
                    <a:pt x="41" y="215"/>
                  </a:lnTo>
                  <a:lnTo>
                    <a:pt x="41" y="211"/>
                  </a:lnTo>
                  <a:lnTo>
                    <a:pt x="41" y="202"/>
                  </a:lnTo>
                  <a:lnTo>
                    <a:pt x="41" y="197"/>
                  </a:lnTo>
                  <a:lnTo>
                    <a:pt x="41" y="192"/>
                  </a:lnTo>
                  <a:lnTo>
                    <a:pt x="36" y="192"/>
                  </a:lnTo>
                  <a:lnTo>
                    <a:pt x="36" y="188"/>
                  </a:lnTo>
                  <a:lnTo>
                    <a:pt x="32" y="188"/>
                  </a:lnTo>
                  <a:lnTo>
                    <a:pt x="18" y="188"/>
                  </a:lnTo>
                  <a:lnTo>
                    <a:pt x="18" y="188"/>
                  </a:lnTo>
                  <a:lnTo>
                    <a:pt x="14" y="183"/>
                  </a:lnTo>
                  <a:lnTo>
                    <a:pt x="14" y="179"/>
                  </a:lnTo>
                  <a:lnTo>
                    <a:pt x="9" y="174"/>
                  </a:lnTo>
                  <a:lnTo>
                    <a:pt x="9" y="170"/>
                  </a:lnTo>
                  <a:lnTo>
                    <a:pt x="4" y="170"/>
                  </a:lnTo>
                  <a:lnTo>
                    <a:pt x="4" y="165"/>
                  </a:lnTo>
                  <a:lnTo>
                    <a:pt x="0" y="151"/>
                  </a:lnTo>
                  <a:lnTo>
                    <a:pt x="0" y="147"/>
                  </a:lnTo>
                  <a:lnTo>
                    <a:pt x="0" y="147"/>
                  </a:lnTo>
                  <a:lnTo>
                    <a:pt x="4" y="147"/>
                  </a:lnTo>
                  <a:lnTo>
                    <a:pt x="4" y="142"/>
                  </a:lnTo>
                  <a:lnTo>
                    <a:pt x="4" y="138"/>
                  </a:lnTo>
                  <a:lnTo>
                    <a:pt x="9" y="138"/>
                  </a:lnTo>
                  <a:lnTo>
                    <a:pt x="14" y="133"/>
                  </a:lnTo>
                  <a:lnTo>
                    <a:pt x="18" y="133"/>
                  </a:lnTo>
                  <a:lnTo>
                    <a:pt x="18" y="128"/>
                  </a:lnTo>
                  <a:lnTo>
                    <a:pt x="18" y="128"/>
                  </a:lnTo>
                  <a:lnTo>
                    <a:pt x="18" y="124"/>
                  </a:lnTo>
                  <a:lnTo>
                    <a:pt x="23" y="124"/>
                  </a:lnTo>
                  <a:lnTo>
                    <a:pt x="23" y="124"/>
                  </a:lnTo>
                  <a:lnTo>
                    <a:pt x="27" y="124"/>
                  </a:lnTo>
                  <a:lnTo>
                    <a:pt x="32" y="119"/>
                  </a:lnTo>
                  <a:lnTo>
                    <a:pt x="36" y="115"/>
                  </a:lnTo>
                  <a:lnTo>
                    <a:pt x="36" y="110"/>
                  </a:lnTo>
                  <a:lnTo>
                    <a:pt x="41" y="110"/>
                  </a:lnTo>
                  <a:lnTo>
                    <a:pt x="41" y="106"/>
                  </a:lnTo>
                  <a:lnTo>
                    <a:pt x="41" y="106"/>
                  </a:lnTo>
                  <a:lnTo>
                    <a:pt x="46" y="96"/>
                  </a:lnTo>
                  <a:lnTo>
                    <a:pt x="46" y="92"/>
                  </a:lnTo>
                  <a:lnTo>
                    <a:pt x="50" y="92"/>
                  </a:lnTo>
                  <a:lnTo>
                    <a:pt x="55" y="87"/>
                  </a:lnTo>
                  <a:lnTo>
                    <a:pt x="59" y="83"/>
                  </a:lnTo>
                  <a:lnTo>
                    <a:pt x="59" y="83"/>
                  </a:lnTo>
                  <a:lnTo>
                    <a:pt x="64" y="83"/>
                  </a:lnTo>
                  <a:lnTo>
                    <a:pt x="68" y="83"/>
                  </a:lnTo>
                  <a:lnTo>
                    <a:pt x="73" y="83"/>
                  </a:lnTo>
                  <a:lnTo>
                    <a:pt x="78" y="83"/>
                  </a:lnTo>
                  <a:lnTo>
                    <a:pt x="82" y="83"/>
                  </a:lnTo>
                  <a:lnTo>
                    <a:pt x="82" y="83"/>
                  </a:lnTo>
                  <a:lnTo>
                    <a:pt x="87" y="83"/>
                  </a:lnTo>
                  <a:lnTo>
                    <a:pt x="87" y="87"/>
                  </a:lnTo>
                  <a:lnTo>
                    <a:pt x="91" y="87"/>
                  </a:lnTo>
                  <a:lnTo>
                    <a:pt x="96" y="92"/>
                  </a:lnTo>
                  <a:lnTo>
                    <a:pt x="100" y="96"/>
                  </a:lnTo>
                  <a:lnTo>
                    <a:pt x="105" y="101"/>
                  </a:lnTo>
                  <a:lnTo>
                    <a:pt x="105" y="101"/>
                  </a:lnTo>
                  <a:lnTo>
                    <a:pt x="110" y="106"/>
                  </a:lnTo>
                  <a:lnTo>
                    <a:pt x="114" y="106"/>
                  </a:lnTo>
                  <a:lnTo>
                    <a:pt x="119" y="106"/>
                  </a:lnTo>
                  <a:lnTo>
                    <a:pt x="119" y="110"/>
                  </a:lnTo>
                  <a:lnTo>
                    <a:pt x="123" y="110"/>
                  </a:lnTo>
                  <a:lnTo>
                    <a:pt x="128" y="115"/>
                  </a:lnTo>
                  <a:lnTo>
                    <a:pt x="132" y="119"/>
                  </a:lnTo>
                  <a:lnTo>
                    <a:pt x="137" y="119"/>
                  </a:lnTo>
                  <a:lnTo>
                    <a:pt x="142" y="119"/>
                  </a:lnTo>
                  <a:lnTo>
                    <a:pt x="146" y="119"/>
                  </a:lnTo>
                  <a:lnTo>
                    <a:pt x="146" y="124"/>
                  </a:lnTo>
                  <a:lnTo>
                    <a:pt x="151" y="124"/>
                  </a:lnTo>
                  <a:lnTo>
                    <a:pt x="155" y="124"/>
                  </a:lnTo>
                  <a:lnTo>
                    <a:pt x="160" y="124"/>
                  </a:lnTo>
                  <a:lnTo>
                    <a:pt x="174" y="124"/>
                  </a:lnTo>
                  <a:lnTo>
                    <a:pt x="178" y="124"/>
                  </a:lnTo>
                  <a:lnTo>
                    <a:pt x="183" y="124"/>
                  </a:lnTo>
                  <a:lnTo>
                    <a:pt x="187" y="124"/>
                  </a:lnTo>
                  <a:lnTo>
                    <a:pt x="192" y="124"/>
                  </a:lnTo>
                  <a:lnTo>
                    <a:pt x="192" y="124"/>
                  </a:lnTo>
                  <a:lnTo>
                    <a:pt x="192" y="128"/>
                  </a:lnTo>
                  <a:lnTo>
                    <a:pt x="196" y="128"/>
                  </a:lnTo>
                  <a:lnTo>
                    <a:pt x="201" y="128"/>
                  </a:lnTo>
                  <a:lnTo>
                    <a:pt x="206" y="124"/>
                  </a:lnTo>
                  <a:lnTo>
                    <a:pt x="215" y="124"/>
                  </a:lnTo>
                  <a:lnTo>
                    <a:pt x="224" y="124"/>
                  </a:lnTo>
                  <a:lnTo>
                    <a:pt x="228" y="124"/>
                  </a:lnTo>
                  <a:lnTo>
                    <a:pt x="233" y="124"/>
                  </a:lnTo>
                  <a:lnTo>
                    <a:pt x="247" y="124"/>
                  </a:lnTo>
                  <a:lnTo>
                    <a:pt x="256" y="124"/>
                  </a:lnTo>
                  <a:lnTo>
                    <a:pt x="260" y="128"/>
                  </a:lnTo>
                  <a:lnTo>
                    <a:pt x="260" y="128"/>
                  </a:lnTo>
                  <a:lnTo>
                    <a:pt x="265" y="128"/>
                  </a:lnTo>
                  <a:lnTo>
                    <a:pt x="274" y="128"/>
                  </a:lnTo>
                  <a:lnTo>
                    <a:pt x="279" y="128"/>
                  </a:lnTo>
                  <a:lnTo>
                    <a:pt x="283" y="128"/>
                  </a:lnTo>
                  <a:lnTo>
                    <a:pt x="288" y="128"/>
                  </a:lnTo>
                  <a:lnTo>
                    <a:pt x="288" y="124"/>
                  </a:lnTo>
                  <a:lnTo>
                    <a:pt x="288" y="124"/>
                  </a:lnTo>
                  <a:lnTo>
                    <a:pt x="292" y="124"/>
                  </a:lnTo>
                  <a:lnTo>
                    <a:pt x="292" y="110"/>
                  </a:lnTo>
                  <a:lnTo>
                    <a:pt x="292" y="106"/>
                  </a:lnTo>
                  <a:lnTo>
                    <a:pt x="292" y="96"/>
                  </a:lnTo>
                  <a:lnTo>
                    <a:pt x="297" y="92"/>
                  </a:lnTo>
                  <a:lnTo>
                    <a:pt x="297" y="87"/>
                  </a:lnTo>
                  <a:lnTo>
                    <a:pt x="297" y="83"/>
                  </a:lnTo>
                  <a:lnTo>
                    <a:pt x="297" y="74"/>
                  </a:lnTo>
                  <a:lnTo>
                    <a:pt x="297" y="69"/>
                  </a:lnTo>
                  <a:lnTo>
                    <a:pt x="302" y="64"/>
                  </a:lnTo>
                  <a:lnTo>
                    <a:pt x="302" y="60"/>
                  </a:lnTo>
                  <a:lnTo>
                    <a:pt x="302" y="60"/>
                  </a:lnTo>
                  <a:lnTo>
                    <a:pt x="302" y="60"/>
                  </a:lnTo>
                  <a:lnTo>
                    <a:pt x="302" y="55"/>
                  </a:lnTo>
                  <a:lnTo>
                    <a:pt x="306" y="51"/>
                  </a:lnTo>
                  <a:lnTo>
                    <a:pt x="306" y="46"/>
                  </a:lnTo>
                  <a:lnTo>
                    <a:pt x="311" y="46"/>
                  </a:lnTo>
                  <a:lnTo>
                    <a:pt x="311" y="42"/>
                  </a:lnTo>
                  <a:lnTo>
                    <a:pt x="315" y="37"/>
                  </a:lnTo>
                  <a:lnTo>
                    <a:pt x="315" y="37"/>
                  </a:lnTo>
                  <a:lnTo>
                    <a:pt x="320" y="32"/>
                  </a:lnTo>
                  <a:lnTo>
                    <a:pt x="320" y="23"/>
                  </a:lnTo>
                  <a:lnTo>
                    <a:pt x="324" y="19"/>
                  </a:lnTo>
                  <a:lnTo>
                    <a:pt x="324" y="14"/>
                  </a:lnTo>
                  <a:lnTo>
                    <a:pt x="324" y="14"/>
                  </a:lnTo>
                  <a:lnTo>
                    <a:pt x="324" y="10"/>
                  </a:lnTo>
                  <a:lnTo>
                    <a:pt x="338" y="5"/>
                  </a:lnTo>
                  <a:lnTo>
                    <a:pt x="343" y="0"/>
                  </a:lnTo>
                  <a:lnTo>
                    <a:pt x="347" y="0"/>
                  </a:lnTo>
                  <a:lnTo>
                    <a:pt x="347" y="5"/>
                  </a:lnTo>
                  <a:lnTo>
                    <a:pt x="352" y="5"/>
                  </a:lnTo>
                  <a:lnTo>
                    <a:pt x="356" y="5"/>
                  </a:lnTo>
                  <a:lnTo>
                    <a:pt x="366" y="10"/>
                  </a:lnTo>
                  <a:lnTo>
                    <a:pt x="370" y="10"/>
                  </a:lnTo>
                  <a:lnTo>
                    <a:pt x="370" y="14"/>
                  </a:lnTo>
                  <a:lnTo>
                    <a:pt x="375" y="14"/>
                  </a:lnTo>
                  <a:lnTo>
                    <a:pt x="375" y="14"/>
                  </a:lnTo>
                  <a:lnTo>
                    <a:pt x="379" y="19"/>
                  </a:lnTo>
                  <a:lnTo>
                    <a:pt x="384" y="19"/>
                  </a:lnTo>
                  <a:lnTo>
                    <a:pt x="388" y="23"/>
                  </a:lnTo>
                  <a:lnTo>
                    <a:pt x="388" y="28"/>
                  </a:lnTo>
                  <a:lnTo>
                    <a:pt x="388" y="32"/>
                  </a:lnTo>
                  <a:lnTo>
                    <a:pt x="393" y="37"/>
                  </a:lnTo>
                  <a:lnTo>
                    <a:pt x="393" y="37"/>
                  </a:lnTo>
                  <a:lnTo>
                    <a:pt x="393" y="42"/>
                  </a:lnTo>
                  <a:lnTo>
                    <a:pt x="398" y="46"/>
                  </a:lnTo>
                  <a:lnTo>
                    <a:pt x="398" y="51"/>
                  </a:lnTo>
                  <a:lnTo>
                    <a:pt x="402" y="55"/>
                  </a:lnTo>
                  <a:lnTo>
                    <a:pt x="407" y="60"/>
                  </a:lnTo>
                  <a:lnTo>
                    <a:pt x="407" y="60"/>
                  </a:lnTo>
                  <a:lnTo>
                    <a:pt x="407" y="69"/>
                  </a:lnTo>
                  <a:lnTo>
                    <a:pt x="407" y="74"/>
                  </a:lnTo>
                  <a:lnTo>
                    <a:pt x="411" y="74"/>
                  </a:lnTo>
                  <a:lnTo>
                    <a:pt x="411" y="83"/>
                  </a:lnTo>
                  <a:lnTo>
                    <a:pt x="411" y="83"/>
                  </a:lnTo>
                  <a:lnTo>
                    <a:pt x="411" y="87"/>
                  </a:lnTo>
                  <a:lnTo>
                    <a:pt x="411" y="92"/>
                  </a:lnTo>
                  <a:lnTo>
                    <a:pt x="416" y="106"/>
                  </a:lnTo>
                  <a:lnTo>
                    <a:pt x="416" y="106"/>
                  </a:lnTo>
                  <a:lnTo>
                    <a:pt x="420" y="110"/>
                  </a:lnTo>
                  <a:lnTo>
                    <a:pt x="420" y="115"/>
                  </a:lnTo>
                  <a:lnTo>
                    <a:pt x="425" y="115"/>
                  </a:lnTo>
                  <a:lnTo>
                    <a:pt x="430" y="119"/>
                  </a:lnTo>
                  <a:lnTo>
                    <a:pt x="434" y="124"/>
                  </a:lnTo>
                  <a:lnTo>
                    <a:pt x="434" y="124"/>
                  </a:lnTo>
                  <a:lnTo>
                    <a:pt x="434" y="124"/>
                  </a:lnTo>
                  <a:lnTo>
                    <a:pt x="439" y="124"/>
                  </a:lnTo>
                  <a:lnTo>
                    <a:pt x="439" y="128"/>
                  </a:lnTo>
                  <a:lnTo>
                    <a:pt x="448" y="133"/>
                  </a:lnTo>
                  <a:lnTo>
                    <a:pt x="448" y="138"/>
                  </a:lnTo>
                  <a:lnTo>
                    <a:pt x="452" y="138"/>
                  </a:lnTo>
                  <a:lnTo>
                    <a:pt x="452" y="142"/>
                  </a:lnTo>
                  <a:lnTo>
                    <a:pt x="457" y="142"/>
                  </a:lnTo>
                  <a:lnTo>
                    <a:pt x="462" y="147"/>
                  </a:lnTo>
                  <a:lnTo>
                    <a:pt x="462" y="147"/>
                  </a:lnTo>
                  <a:lnTo>
                    <a:pt x="466" y="147"/>
                  </a:lnTo>
                  <a:lnTo>
                    <a:pt x="471" y="147"/>
                  </a:lnTo>
                  <a:lnTo>
                    <a:pt x="471" y="151"/>
                  </a:lnTo>
                  <a:lnTo>
                    <a:pt x="475" y="151"/>
                  </a:lnTo>
                  <a:lnTo>
                    <a:pt x="480" y="156"/>
                  </a:lnTo>
                  <a:lnTo>
                    <a:pt x="480" y="156"/>
                  </a:lnTo>
                  <a:lnTo>
                    <a:pt x="480" y="160"/>
                  </a:lnTo>
                  <a:lnTo>
                    <a:pt x="484" y="165"/>
                  </a:lnTo>
                  <a:lnTo>
                    <a:pt x="489" y="170"/>
                  </a:lnTo>
                  <a:lnTo>
                    <a:pt x="494" y="170"/>
                  </a:lnTo>
                  <a:lnTo>
                    <a:pt x="498" y="174"/>
                  </a:lnTo>
                  <a:lnTo>
                    <a:pt x="498" y="179"/>
                  </a:lnTo>
                  <a:lnTo>
                    <a:pt x="498" y="179"/>
                  </a:lnTo>
                  <a:lnTo>
                    <a:pt x="498" y="183"/>
                  </a:lnTo>
                  <a:lnTo>
                    <a:pt x="498" y="188"/>
                  </a:lnTo>
                  <a:lnTo>
                    <a:pt x="503" y="188"/>
                  </a:lnTo>
                  <a:lnTo>
                    <a:pt x="507" y="192"/>
                  </a:lnTo>
                  <a:lnTo>
                    <a:pt x="512" y="192"/>
                  </a:lnTo>
                  <a:lnTo>
                    <a:pt x="516" y="197"/>
                  </a:lnTo>
                  <a:lnTo>
                    <a:pt x="521" y="192"/>
                  </a:lnTo>
                  <a:lnTo>
                    <a:pt x="521" y="192"/>
                  </a:lnTo>
                  <a:lnTo>
                    <a:pt x="526" y="192"/>
                  </a:lnTo>
                  <a:lnTo>
                    <a:pt x="526" y="188"/>
                  </a:lnTo>
                  <a:lnTo>
                    <a:pt x="530" y="188"/>
                  </a:lnTo>
                  <a:lnTo>
                    <a:pt x="530" y="183"/>
                  </a:lnTo>
                  <a:lnTo>
                    <a:pt x="535" y="179"/>
                  </a:lnTo>
                  <a:lnTo>
                    <a:pt x="535" y="174"/>
                  </a:lnTo>
                  <a:lnTo>
                    <a:pt x="539" y="174"/>
                  </a:lnTo>
                  <a:lnTo>
                    <a:pt x="544" y="170"/>
                  </a:lnTo>
                  <a:lnTo>
                    <a:pt x="544" y="165"/>
                  </a:lnTo>
                  <a:lnTo>
                    <a:pt x="544" y="156"/>
                  </a:lnTo>
                  <a:lnTo>
                    <a:pt x="544" y="151"/>
                  </a:lnTo>
                  <a:lnTo>
                    <a:pt x="548" y="151"/>
                  </a:lnTo>
                  <a:lnTo>
                    <a:pt x="548" y="147"/>
                  </a:lnTo>
                  <a:lnTo>
                    <a:pt x="553" y="147"/>
                  </a:lnTo>
                  <a:lnTo>
                    <a:pt x="558" y="147"/>
                  </a:lnTo>
                  <a:lnTo>
                    <a:pt x="558" y="142"/>
                  </a:lnTo>
                  <a:lnTo>
                    <a:pt x="562" y="138"/>
                  </a:lnTo>
                  <a:lnTo>
                    <a:pt x="562" y="133"/>
                  </a:lnTo>
                  <a:lnTo>
                    <a:pt x="567" y="133"/>
                  </a:lnTo>
                  <a:lnTo>
                    <a:pt x="567" y="128"/>
                  </a:lnTo>
                  <a:lnTo>
                    <a:pt x="567" y="124"/>
                  </a:lnTo>
                  <a:lnTo>
                    <a:pt x="567" y="119"/>
                  </a:lnTo>
                  <a:lnTo>
                    <a:pt x="571" y="119"/>
                  </a:lnTo>
                  <a:lnTo>
                    <a:pt x="576" y="119"/>
                  </a:lnTo>
                  <a:lnTo>
                    <a:pt x="580" y="119"/>
                  </a:lnTo>
                  <a:lnTo>
                    <a:pt x="585" y="119"/>
                  </a:lnTo>
                  <a:lnTo>
                    <a:pt x="590" y="119"/>
                  </a:lnTo>
                  <a:lnTo>
                    <a:pt x="590" y="119"/>
                  </a:lnTo>
                  <a:lnTo>
                    <a:pt x="603" y="119"/>
                  </a:lnTo>
                  <a:lnTo>
                    <a:pt x="608" y="119"/>
                  </a:lnTo>
                  <a:lnTo>
                    <a:pt x="612" y="119"/>
                  </a:lnTo>
                  <a:lnTo>
                    <a:pt x="631" y="119"/>
                  </a:lnTo>
                  <a:lnTo>
                    <a:pt x="635" y="119"/>
                  </a:lnTo>
                  <a:lnTo>
                    <a:pt x="631" y="128"/>
                  </a:lnTo>
                  <a:lnTo>
                    <a:pt x="626" y="133"/>
                  </a:lnTo>
                  <a:lnTo>
                    <a:pt x="617" y="142"/>
                  </a:lnTo>
                  <a:lnTo>
                    <a:pt x="612" y="156"/>
                  </a:lnTo>
                  <a:lnTo>
                    <a:pt x="608" y="165"/>
                  </a:lnTo>
                  <a:lnTo>
                    <a:pt x="608" y="170"/>
                  </a:lnTo>
                  <a:lnTo>
                    <a:pt x="612" y="179"/>
                  </a:lnTo>
                  <a:lnTo>
                    <a:pt x="617" y="183"/>
                  </a:lnTo>
                  <a:lnTo>
                    <a:pt x="617" y="192"/>
                  </a:lnTo>
                  <a:lnTo>
                    <a:pt x="617" y="192"/>
                  </a:lnTo>
                  <a:lnTo>
                    <a:pt x="622" y="197"/>
                  </a:lnTo>
                  <a:lnTo>
                    <a:pt x="622" y="202"/>
                  </a:lnTo>
                  <a:lnTo>
                    <a:pt x="626" y="206"/>
                  </a:lnTo>
                  <a:lnTo>
                    <a:pt x="631" y="211"/>
                  </a:lnTo>
                  <a:lnTo>
                    <a:pt x="631" y="215"/>
                  </a:lnTo>
                  <a:lnTo>
                    <a:pt x="631" y="215"/>
                  </a:lnTo>
                  <a:lnTo>
                    <a:pt x="631" y="215"/>
                  </a:lnTo>
                  <a:lnTo>
                    <a:pt x="631" y="220"/>
                  </a:lnTo>
                  <a:lnTo>
                    <a:pt x="626" y="229"/>
                  </a:lnTo>
                  <a:lnTo>
                    <a:pt x="626" y="234"/>
                  </a:lnTo>
                  <a:lnTo>
                    <a:pt x="626" y="234"/>
                  </a:lnTo>
                  <a:lnTo>
                    <a:pt x="626" y="238"/>
                  </a:lnTo>
                  <a:lnTo>
                    <a:pt x="631" y="243"/>
                  </a:lnTo>
                  <a:lnTo>
                    <a:pt x="631" y="252"/>
                  </a:lnTo>
                  <a:lnTo>
                    <a:pt x="626" y="256"/>
                  </a:lnTo>
                  <a:lnTo>
                    <a:pt x="626" y="256"/>
                  </a:lnTo>
                  <a:lnTo>
                    <a:pt x="626" y="261"/>
                  </a:lnTo>
                  <a:lnTo>
                    <a:pt x="622" y="261"/>
                  </a:lnTo>
                  <a:lnTo>
                    <a:pt x="622" y="266"/>
                  </a:lnTo>
                  <a:lnTo>
                    <a:pt x="622" y="270"/>
                  </a:lnTo>
                  <a:lnTo>
                    <a:pt x="622" y="275"/>
                  </a:lnTo>
                  <a:lnTo>
                    <a:pt x="622" y="279"/>
                  </a:lnTo>
                  <a:lnTo>
                    <a:pt x="617" y="279"/>
                  </a:lnTo>
                  <a:lnTo>
                    <a:pt x="617" y="288"/>
                  </a:lnTo>
                  <a:lnTo>
                    <a:pt x="612" y="298"/>
                  </a:lnTo>
                  <a:lnTo>
                    <a:pt x="612" y="307"/>
                  </a:lnTo>
                  <a:lnTo>
                    <a:pt x="612" y="311"/>
                  </a:lnTo>
                  <a:lnTo>
                    <a:pt x="612" y="316"/>
                  </a:lnTo>
                  <a:lnTo>
                    <a:pt x="612" y="320"/>
                  </a:lnTo>
                  <a:lnTo>
                    <a:pt x="612" y="325"/>
                  </a:lnTo>
                  <a:lnTo>
                    <a:pt x="617" y="325"/>
                  </a:lnTo>
                  <a:lnTo>
                    <a:pt x="626" y="320"/>
                  </a:lnTo>
                  <a:lnTo>
                    <a:pt x="631" y="316"/>
                  </a:lnTo>
                  <a:lnTo>
                    <a:pt x="631" y="311"/>
                  </a:lnTo>
                  <a:lnTo>
                    <a:pt x="635" y="311"/>
                  </a:lnTo>
                  <a:lnTo>
                    <a:pt x="640" y="307"/>
                  </a:lnTo>
                  <a:lnTo>
                    <a:pt x="644" y="307"/>
                  </a:lnTo>
                  <a:lnTo>
                    <a:pt x="649" y="302"/>
                  </a:lnTo>
                  <a:lnTo>
                    <a:pt x="654" y="302"/>
                  </a:lnTo>
                  <a:lnTo>
                    <a:pt x="654" y="302"/>
                  </a:lnTo>
                  <a:lnTo>
                    <a:pt x="663" y="298"/>
                  </a:lnTo>
                  <a:lnTo>
                    <a:pt x="667" y="298"/>
                  </a:lnTo>
                  <a:lnTo>
                    <a:pt x="672" y="298"/>
                  </a:lnTo>
                  <a:lnTo>
                    <a:pt x="672" y="293"/>
                  </a:lnTo>
                  <a:lnTo>
                    <a:pt x="676" y="293"/>
                  </a:lnTo>
                  <a:lnTo>
                    <a:pt x="686" y="293"/>
                  </a:lnTo>
                  <a:lnTo>
                    <a:pt x="686" y="288"/>
                  </a:lnTo>
                  <a:lnTo>
                    <a:pt x="690" y="288"/>
                  </a:lnTo>
                  <a:lnTo>
                    <a:pt x="695" y="288"/>
                  </a:lnTo>
                  <a:lnTo>
                    <a:pt x="699" y="288"/>
                  </a:lnTo>
                  <a:lnTo>
                    <a:pt x="699" y="284"/>
                  </a:lnTo>
                  <a:lnTo>
                    <a:pt x="699" y="284"/>
                  </a:lnTo>
                  <a:lnTo>
                    <a:pt x="708" y="284"/>
                  </a:lnTo>
                  <a:lnTo>
                    <a:pt x="713" y="279"/>
                  </a:lnTo>
                  <a:lnTo>
                    <a:pt x="718" y="279"/>
                  </a:lnTo>
                  <a:lnTo>
                    <a:pt x="727" y="279"/>
                  </a:lnTo>
                  <a:lnTo>
                    <a:pt x="731" y="279"/>
                  </a:lnTo>
                  <a:lnTo>
                    <a:pt x="736" y="275"/>
                  </a:lnTo>
                  <a:lnTo>
                    <a:pt x="740" y="275"/>
                  </a:lnTo>
                  <a:lnTo>
                    <a:pt x="754" y="270"/>
                  </a:lnTo>
                  <a:lnTo>
                    <a:pt x="759" y="270"/>
                  </a:lnTo>
                  <a:lnTo>
                    <a:pt x="763" y="270"/>
                  </a:lnTo>
                  <a:lnTo>
                    <a:pt x="768" y="266"/>
                  </a:lnTo>
                  <a:lnTo>
                    <a:pt x="777" y="266"/>
                  </a:lnTo>
                  <a:lnTo>
                    <a:pt x="786" y="261"/>
                  </a:lnTo>
                  <a:lnTo>
                    <a:pt x="791" y="261"/>
                  </a:lnTo>
                  <a:lnTo>
                    <a:pt x="800" y="261"/>
                  </a:lnTo>
                  <a:lnTo>
                    <a:pt x="809" y="261"/>
                  </a:lnTo>
                  <a:lnTo>
                    <a:pt x="814" y="261"/>
                  </a:lnTo>
                  <a:lnTo>
                    <a:pt x="818" y="261"/>
                  </a:lnTo>
                  <a:lnTo>
                    <a:pt x="823" y="256"/>
                  </a:lnTo>
                  <a:lnTo>
                    <a:pt x="827" y="256"/>
                  </a:lnTo>
                  <a:lnTo>
                    <a:pt x="836" y="256"/>
                  </a:lnTo>
                  <a:lnTo>
                    <a:pt x="850" y="261"/>
                  </a:lnTo>
                  <a:lnTo>
                    <a:pt x="855" y="261"/>
                  </a:lnTo>
                  <a:lnTo>
                    <a:pt x="864" y="261"/>
                  </a:lnTo>
                  <a:lnTo>
                    <a:pt x="864" y="275"/>
                  </a:lnTo>
                  <a:lnTo>
                    <a:pt x="864" y="284"/>
                  </a:lnTo>
                  <a:lnTo>
                    <a:pt x="864" y="293"/>
                  </a:lnTo>
                  <a:lnTo>
                    <a:pt x="864" y="302"/>
                  </a:lnTo>
                  <a:lnTo>
                    <a:pt x="868" y="307"/>
                  </a:lnTo>
                  <a:lnTo>
                    <a:pt x="868" y="311"/>
                  </a:lnTo>
                  <a:lnTo>
                    <a:pt x="868" y="316"/>
                  </a:lnTo>
                  <a:lnTo>
                    <a:pt x="868" y="320"/>
                  </a:lnTo>
                  <a:lnTo>
                    <a:pt x="873" y="325"/>
                  </a:lnTo>
                  <a:lnTo>
                    <a:pt x="873" y="325"/>
                  </a:lnTo>
                  <a:lnTo>
                    <a:pt x="873" y="330"/>
                  </a:lnTo>
                  <a:lnTo>
                    <a:pt x="878" y="334"/>
                  </a:lnTo>
                  <a:lnTo>
                    <a:pt x="882" y="343"/>
                  </a:lnTo>
                  <a:lnTo>
                    <a:pt x="882" y="343"/>
                  </a:lnTo>
                  <a:lnTo>
                    <a:pt x="887" y="348"/>
                  </a:lnTo>
                  <a:lnTo>
                    <a:pt x="896" y="357"/>
                  </a:lnTo>
                  <a:lnTo>
                    <a:pt x="896" y="362"/>
                  </a:lnTo>
                  <a:lnTo>
                    <a:pt x="896" y="366"/>
                  </a:lnTo>
                  <a:lnTo>
                    <a:pt x="896" y="366"/>
                  </a:lnTo>
                  <a:lnTo>
                    <a:pt x="896" y="371"/>
                  </a:lnTo>
                  <a:lnTo>
                    <a:pt x="896" y="371"/>
                  </a:lnTo>
                  <a:lnTo>
                    <a:pt x="900" y="375"/>
                  </a:lnTo>
                  <a:lnTo>
                    <a:pt x="900" y="380"/>
                  </a:lnTo>
                  <a:lnTo>
                    <a:pt x="905" y="389"/>
                  </a:lnTo>
                  <a:lnTo>
                    <a:pt x="900" y="412"/>
                  </a:lnTo>
                  <a:lnTo>
                    <a:pt x="900" y="421"/>
                  </a:lnTo>
                  <a:lnTo>
                    <a:pt x="900" y="439"/>
                  </a:lnTo>
                  <a:lnTo>
                    <a:pt x="905" y="453"/>
                  </a:lnTo>
                  <a:lnTo>
                    <a:pt x="905" y="471"/>
                  </a:lnTo>
                  <a:lnTo>
                    <a:pt x="910" y="476"/>
                  </a:lnTo>
                  <a:lnTo>
                    <a:pt x="910" y="480"/>
                  </a:lnTo>
                  <a:lnTo>
                    <a:pt x="910" y="485"/>
                  </a:lnTo>
                  <a:lnTo>
                    <a:pt x="914" y="490"/>
                  </a:lnTo>
                  <a:lnTo>
                    <a:pt x="914" y="494"/>
                  </a:lnTo>
                  <a:lnTo>
                    <a:pt x="923" y="499"/>
                  </a:lnTo>
                  <a:lnTo>
                    <a:pt x="928" y="503"/>
                  </a:lnTo>
                  <a:lnTo>
                    <a:pt x="932" y="503"/>
                  </a:lnTo>
                  <a:lnTo>
                    <a:pt x="937" y="508"/>
                  </a:lnTo>
                  <a:lnTo>
                    <a:pt x="937" y="508"/>
                  </a:lnTo>
                  <a:lnTo>
                    <a:pt x="937" y="512"/>
                  </a:lnTo>
                  <a:lnTo>
                    <a:pt x="942" y="517"/>
                  </a:lnTo>
                  <a:lnTo>
                    <a:pt x="937" y="522"/>
                  </a:lnTo>
                  <a:lnTo>
                    <a:pt x="937" y="526"/>
                  </a:lnTo>
                  <a:lnTo>
                    <a:pt x="937" y="526"/>
                  </a:lnTo>
                  <a:lnTo>
                    <a:pt x="937" y="531"/>
                  </a:lnTo>
                  <a:lnTo>
                    <a:pt x="937" y="535"/>
                  </a:lnTo>
                  <a:lnTo>
                    <a:pt x="932" y="544"/>
                  </a:lnTo>
                  <a:lnTo>
                    <a:pt x="928" y="544"/>
                  </a:lnTo>
                  <a:lnTo>
                    <a:pt x="928" y="549"/>
                  </a:lnTo>
                  <a:lnTo>
                    <a:pt x="928" y="554"/>
                  </a:lnTo>
                  <a:lnTo>
                    <a:pt x="923" y="554"/>
                  </a:lnTo>
                  <a:lnTo>
                    <a:pt x="923" y="558"/>
                  </a:lnTo>
                  <a:lnTo>
                    <a:pt x="923" y="563"/>
                  </a:lnTo>
                  <a:lnTo>
                    <a:pt x="923" y="563"/>
                  </a:lnTo>
                  <a:lnTo>
                    <a:pt x="919" y="567"/>
                  </a:lnTo>
                  <a:lnTo>
                    <a:pt x="919" y="572"/>
                  </a:lnTo>
                  <a:lnTo>
                    <a:pt x="919" y="576"/>
                  </a:lnTo>
                  <a:lnTo>
                    <a:pt x="914" y="576"/>
                  </a:lnTo>
                  <a:lnTo>
                    <a:pt x="914" y="581"/>
                  </a:lnTo>
                  <a:lnTo>
                    <a:pt x="914" y="586"/>
                  </a:lnTo>
                  <a:lnTo>
                    <a:pt x="910" y="586"/>
                  </a:lnTo>
                  <a:lnTo>
                    <a:pt x="905" y="586"/>
                  </a:lnTo>
                  <a:lnTo>
                    <a:pt x="900" y="586"/>
                  </a:lnTo>
                  <a:lnTo>
                    <a:pt x="896" y="590"/>
                  </a:lnTo>
                  <a:lnTo>
                    <a:pt x="896" y="590"/>
                  </a:lnTo>
                  <a:lnTo>
                    <a:pt x="891" y="590"/>
                  </a:lnTo>
                  <a:lnTo>
                    <a:pt x="887" y="595"/>
                  </a:lnTo>
                  <a:lnTo>
                    <a:pt x="882" y="595"/>
                  </a:lnTo>
                  <a:lnTo>
                    <a:pt x="878" y="595"/>
                  </a:lnTo>
                  <a:lnTo>
                    <a:pt x="873" y="599"/>
                  </a:lnTo>
                  <a:lnTo>
                    <a:pt x="873" y="599"/>
                  </a:lnTo>
                  <a:lnTo>
                    <a:pt x="868" y="599"/>
                  </a:lnTo>
                  <a:lnTo>
                    <a:pt x="864" y="604"/>
                  </a:lnTo>
                  <a:lnTo>
                    <a:pt x="855" y="608"/>
                  </a:lnTo>
                  <a:lnTo>
                    <a:pt x="850" y="613"/>
                  </a:lnTo>
                  <a:lnTo>
                    <a:pt x="850" y="618"/>
                  </a:lnTo>
                  <a:lnTo>
                    <a:pt x="850" y="627"/>
                  </a:lnTo>
                  <a:lnTo>
                    <a:pt x="846" y="627"/>
                  </a:lnTo>
                  <a:lnTo>
                    <a:pt x="846" y="631"/>
                  </a:lnTo>
                  <a:lnTo>
                    <a:pt x="846" y="636"/>
                  </a:lnTo>
                  <a:lnTo>
                    <a:pt x="846" y="640"/>
                  </a:lnTo>
                  <a:lnTo>
                    <a:pt x="846" y="645"/>
                  </a:lnTo>
                  <a:lnTo>
                    <a:pt x="846" y="650"/>
                  </a:lnTo>
                  <a:lnTo>
                    <a:pt x="846" y="654"/>
                  </a:lnTo>
                  <a:lnTo>
                    <a:pt x="832" y="650"/>
                  </a:lnTo>
                  <a:lnTo>
                    <a:pt x="827" y="645"/>
                  </a:lnTo>
                  <a:lnTo>
                    <a:pt x="827" y="640"/>
                  </a:lnTo>
                  <a:lnTo>
                    <a:pt x="818" y="631"/>
                  </a:lnTo>
                  <a:lnTo>
                    <a:pt x="814" y="627"/>
                  </a:lnTo>
                  <a:lnTo>
                    <a:pt x="809" y="622"/>
                  </a:lnTo>
                  <a:lnTo>
                    <a:pt x="804" y="618"/>
                  </a:lnTo>
                  <a:lnTo>
                    <a:pt x="804" y="613"/>
                  </a:lnTo>
                  <a:lnTo>
                    <a:pt x="800" y="613"/>
                  </a:lnTo>
                  <a:lnTo>
                    <a:pt x="795" y="613"/>
                  </a:lnTo>
                  <a:lnTo>
                    <a:pt x="791" y="613"/>
                  </a:lnTo>
                  <a:lnTo>
                    <a:pt x="782" y="613"/>
                  </a:lnTo>
                  <a:lnTo>
                    <a:pt x="777" y="613"/>
                  </a:lnTo>
                  <a:lnTo>
                    <a:pt x="777" y="618"/>
                  </a:lnTo>
                  <a:lnTo>
                    <a:pt x="772" y="618"/>
                  </a:lnTo>
                  <a:lnTo>
                    <a:pt x="768" y="622"/>
                  </a:lnTo>
                  <a:lnTo>
                    <a:pt x="763" y="627"/>
                  </a:lnTo>
                  <a:lnTo>
                    <a:pt x="763" y="631"/>
                  </a:lnTo>
                  <a:lnTo>
                    <a:pt x="763" y="631"/>
                  </a:lnTo>
                  <a:lnTo>
                    <a:pt x="759" y="631"/>
                  </a:lnTo>
                  <a:lnTo>
                    <a:pt x="754" y="636"/>
                  </a:lnTo>
                  <a:lnTo>
                    <a:pt x="750" y="640"/>
                  </a:lnTo>
                  <a:lnTo>
                    <a:pt x="745" y="640"/>
                  </a:lnTo>
                  <a:lnTo>
                    <a:pt x="745" y="645"/>
                  </a:lnTo>
                  <a:lnTo>
                    <a:pt x="740" y="645"/>
                  </a:lnTo>
                  <a:lnTo>
                    <a:pt x="740" y="650"/>
                  </a:lnTo>
                  <a:lnTo>
                    <a:pt x="736" y="654"/>
                  </a:lnTo>
                  <a:lnTo>
                    <a:pt x="731" y="654"/>
                  </a:lnTo>
                  <a:lnTo>
                    <a:pt x="731" y="659"/>
                  </a:lnTo>
                  <a:lnTo>
                    <a:pt x="727" y="663"/>
                  </a:lnTo>
                  <a:lnTo>
                    <a:pt x="718" y="672"/>
                  </a:lnTo>
                  <a:lnTo>
                    <a:pt x="718" y="672"/>
                  </a:lnTo>
                  <a:lnTo>
                    <a:pt x="713" y="677"/>
                  </a:lnTo>
                  <a:lnTo>
                    <a:pt x="704" y="682"/>
                  </a:lnTo>
                  <a:lnTo>
                    <a:pt x="699" y="686"/>
                  </a:lnTo>
                  <a:lnTo>
                    <a:pt x="699" y="695"/>
                  </a:lnTo>
                  <a:lnTo>
                    <a:pt x="695" y="695"/>
                  </a:lnTo>
                  <a:lnTo>
                    <a:pt x="686" y="700"/>
                  </a:lnTo>
                  <a:lnTo>
                    <a:pt x="681" y="704"/>
                  </a:lnTo>
                  <a:lnTo>
                    <a:pt x="676" y="704"/>
                  </a:lnTo>
                  <a:lnTo>
                    <a:pt x="672" y="714"/>
                  </a:lnTo>
                  <a:lnTo>
                    <a:pt x="667" y="714"/>
                  </a:lnTo>
                  <a:lnTo>
                    <a:pt x="667" y="718"/>
                  </a:lnTo>
                  <a:lnTo>
                    <a:pt x="663" y="718"/>
                  </a:lnTo>
                  <a:lnTo>
                    <a:pt x="663" y="718"/>
                  </a:lnTo>
                  <a:lnTo>
                    <a:pt x="658" y="723"/>
                  </a:lnTo>
                  <a:lnTo>
                    <a:pt x="658" y="727"/>
                  </a:lnTo>
                  <a:lnTo>
                    <a:pt x="654" y="732"/>
                  </a:lnTo>
                  <a:lnTo>
                    <a:pt x="644" y="736"/>
                  </a:lnTo>
                  <a:lnTo>
                    <a:pt x="635" y="736"/>
                  </a:lnTo>
                  <a:lnTo>
                    <a:pt x="631" y="736"/>
                  </a:lnTo>
                  <a:lnTo>
                    <a:pt x="631" y="736"/>
                  </a:lnTo>
                  <a:lnTo>
                    <a:pt x="626" y="732"/>
                  </a:lnTo>
                  <a:lnTo>
                    <a:pt x="626" y="727"/>
                  </a:lnTo>
                  <a:lnTo>
                    <a:pt x="626" y="723"/>
                  </a:lnTo>
                  <a:lnTo>
                    <a:pt x="622" y="723"/>
                  </a:lnTo>
                  <a:lnTo>
                    <a:pt x="622" y="718"/>
                  </a:lnTo>
                  <a:lnTo>
                    <a:pt x="617" y="714"/>
                  </a:lnTo>
                  <a:lnTo>
                    <a:pt x="612" y="709"/>
                  </a:lnTo>
                  <a:lnTo>
                    <a:pt x="608" y="709"/>
                  </a:lnTo>
                  <a:lnTo>
                    <a:pt x="608" y="714"/>
                  </a:lnTo>
                  <a:lnTo>
                    <a:pt x="608" y="718"/>
                  </a:lnTo>
                  <a:lnTo>
                    <a:pt x="608" y="727"/>
                  </a:lnTo>
                  <a:lnTo>
                    <a:pt x="603" y="732"/>
                  </a:lnTo>
                  <a:lnTo>
                    <a:pt x="603" y="736"/>
                  </a:lnTo>
                  <a:lnTo>
                    <a:pt x="603" y="736"/>
                  </a:lnTo>
                  <a:lnTo>
                    <a:pt x="599" y="741"/>
                  </a:lnTo>
                  <a:lnTo>
                    <a:pt x="599" y="741"/>
                  </a:lnTo>
                  <a:lnTo>
                    <a:pt x="594" y="746"/>
                  </a:lnTo>
                  <a:lnTo>
                    <a:pt x="590" y="746"/>
                  </a:lnTo>
                  <a:lnTo>
                    <a:pt x="585" y="759"/>
                  </a:lnTo>
                  <a:lnTo>
                    <a:pt x="580" y="764"/>
                  </a:lnTo>
                  <a:lnTo>
                    <a:pt x="576" y="764"/>
                  </a:lnTo>
                  <a:lnTo>
                    <a:pt x="576" y="764"/>
                  </a:lnTo>
                  <a:lnTo>
                    <a:pt x="571" y="764"/>
                  </a:lnTo>
                  <a:lnTo>
                    <a:pt x="567" y="773"/>
                  </a:lnTo>
                  <a:lnTo>
                    <a:pt x="567" y="773"/>
                  </a:lnTo>
                  <a:lnTo>
                    <a:pt x="567" y="782"/>
                  </a:lnTo>
                  <a:lnTo>
                    <a:pt x="567" y="791"/>
                  </a:lnTo>
                  <a:lnTo>
                    <a:pt x="562" y="805"/>
                  </a:lnTo>
                  <a:lnTo>
                    <a:pt x="562" y="810"/>
                  </a:lnTo>
                  <a:lnTo>
                    <a:pt x="562" y="814"/>
                  </a:lnTo>
                  <a:lnTo>
                    <a:pt x="558" y="819"/>
                  </a:lnTo>
                  <a:lnTo>
                    <a:pt x="553" y="823"/>
                  </a:lnTo>
                  <a:lnTo>
                    <a:pt x="548" y="823"/>
                  </a:lnTo>
                  <a:lnTo>
                    <a:pt x="544" y="823"/>
                  </a:lnTo>
                  <a:lnTo>
                    <a:pt x="544" y="828"/>
                  </a:lnTo>
                  <a:lnTo>
                    <a:pt x="539" y="828"/>
                  </a:lnTo>
                  <a:lnTo>
                    <a:pt x="530" y="828"/>
                  </a:lnTo>
                  <a:lnTo>
                    <a:pt x="526" y="828"/>
                  </a:lnTo>
                  <a:lnTo>
                    <a:pt x="521" y="828"/>
                  </a:lnTo>
                  <a:lnTo>
                    <a:pt x="516" y="828"/>
                  </a:lnTo>
                  <a:lnTo>
                    <a:pt x="498" y="828"/>
                  </a:lnTo>
                  <a:lnTo>
                    <a:pt x="498" y="823"/>
                  </a:lnTo>
                  <a:lnTo>
                    <a:pt x="498" y="810"/>
                  </a:lnTo>
                  <a:lnTo>
                    <a:pt x="498" y="805"/>
                  </a:lnTo>
                  <a:lnTo>
                    <a:pt x="498" y="800"/>
                  </a:lnTo>
                  <a:lnTo>
                    <a:pt x="498" y="796"/>
                  </a:lnTo>
                  <a:lnTo>
                    <a:pt x="498" y="791"/>
                  </a:lnTo>
                  <a:lnTo>
                    <a:pt x="494" y="782"/>
                  </a:lnTo>
                  <a:lnTo>
                    <a:pt x="494" y="778"/>
                  </a:lnTo>
                  <a:lnTo>
                    <a:pt x="489" y="768"/>
                  </a:lnTo>
                  <a:lnTo>
                    <a:pt x="484" y="755"/>
                  </a:lnTo>
                  <a:lnTo>
                    <a:pt x="484" y="750"/>
                  </a:lnTo>
                  <a:lnTo>
                    <a:pt x="489" y="736"/>
                  </a:lnTo>
                  <a:lnTo>
                    <a:pt x="489" y="732"/>
                  </a:lnTo>
                  <a:lnTo>
                    <a:pt x="489" y="727"/>
                  </a:lnTo>
                  <a:lnTo>
                    <a:pt x="489" y="727"/>
                  </a:lnTo>
                  <a:lnTo>
                    <a:pt x="484" y="723"/>
                  </a:lnTo>
                  <a:lnTo>
                    <a:pt x="484" y="718"/>
                  </a:lnTo>
                  <a:lnTo>
                    <a:pt x="489" y="718"/>
                  </a:lnTo>
                  <a:lnTo>
                    <a:pt x="489" y="714"/>
                  </a:lnTo>
                  <a:lnTo>
                    <a:pt x="489" y="709"/>
                  </a:lnTo>
                  <a:lnTo>
                    <a:pt x="494" y="700"/>
                  </a:lnTo>
                  <a:lnTo>
                    <a:pt x="498" y="695"/>
                  </a:lnTo>
                  <a:lnTo>
                    <a:pt x="498" y="691"/>
                  </a:lnTo>
                  <a:lnTo>
                    <a:pt x="498" y="686"/>
                  </a:lnTo>
                  <a:lnTo>
                    <a:pt x="498" y="682"/>
                  </a:lnTo>
                  <a:lnTo>
                    <a:pt x="503" y="677"/>
                  </a:lnTo>
                  <a:lnTo>
                    <a:pt x="507" y="668"/>
                  </a:lnTo>
                  <a:lnTo>
                    <a:pt x="507" y="663"/>
                  </a:lnTo>
                  <a:lnTo>
                    <a:pt x="507" y="654"/>
                  </a:lnTo>
                  <a:lnTo>
                    <a:pt x="507" y="645"/>
                  </a:lnTo>
                  <a:lnTo>
                    <a:pt x="512" y="640"/>
                  </a:lnTo>
                  <a:lnTo>
                    <a:pt x="512" y="636"/>
                  </a:lnTo>
                  <a:lnTo>
                    <a:pt x="512" y="631"/>
                  </a:lnTo>
                  <a:lnTo>
                    <a:pt x="512" y="631"/>
                  </a:lnTo>
                  <a:lnTo>
                    <a:pt x="516" y="631"/>
                  </a:lnTo>
                  <a:lnTo>
                    <a:pt x="516" y="627"/>
                  </a:lnTo>
                  <a:lnTo>
                    <a:pt x="516" y="622"/>
                  </a:lnTo>
                  <a:lnTo>
                    <a:pt x="521" y="613"/>
                  </a:lnTo>
                  <a:lnTo>
                    <a:pt x="521" y="608"/>
                  </a:lnTo>
                  <a:lnTo>
                    <a:pt x="521" y="599"/>
                  </a:lnTo>
                  <a:lnTo>
                    <a:pt x="521" y="595"/>
                  </a:lnTo>
                  <a:lnTo>
                    <a:pt x="521" y="590"/>
                  </a:lnTo>
                  <a:lnTo>
                    <a:pt x="521" y="586"/>
                  </a:lnTo>
                  <a:lnTo>
                    <a:pt x="521" y="586"/>
                  </a:lnTo>
                  <a:lnTo>
                    <a:pt x="521" y="581"/>
                  </a:lnTo>
                  <a:lnTo>
                    <a:pt x="521" y="576"/>
                  </a:lnTo>
                  <a:lnTo>
                    <a:pt x="516" y="572"/>
                  </a:lnTo>
                  <a:lnTo>
                    <a:pt x="516" y="567"/>
                  </a:lnTo>
                  <a:lnTo>
                    <a:pt x="512" y="567"/>
                  </a:lnTo>
                  <a:lnTo>
                    <a:pt x="512" y="563"/>
                  </a:lnTo>
                  <a:lnTo>
                    <a:pt x="512" y="563"/>
                  </a:lnTo>
                  <a:lnTo>
                    <a:pt x="507" y="558"/>
                  </a:lnTo>
                  <a:lnTo>
                    <a:pt x="507" y="554"/>
                  </a:lnTo>
                  <a:lnTo>
                    <a:pt x="507" y="549"/>
                  </a:lnTo>
                  <a:lnTo>
                    <a:pt x="503" y="549"/>
                  </a:lnTo>
                  <a:lnTo>
                    <a:pt x="503" y="544"/>
                  </a:lnTo>
                  <a:lnTo>
                    <a:pt x="498" y="544"/>
                  </a:lnTo>
                  <a:lnTo>
                    <a:pt x="498" y="544"/>
                  </a:lnTo>
                  <a:lnTo>
                    <a:pt x="489" y="540"/>
                  </a:lnTo>
                  <a:lnTo>
                    <a:pt x="480" y="544"/>
                  </a:lnTo>
                  <a:lnTo>
                    <a:pt x="480" y="544"/>
                  </a:lnTo>
                  <a:lnTo>
                    <a:pt x="475" y="544"/>
                  </a:lnTo>
                  <a:lnTo>
                    <a:pt x="462" y="544"/>
                  </a:lnTo>
                  <a:lnTo>
                    <a:pt x="457" y="544"/>
                  </a:lnTo>
                  <a:lnTo>
                    <a:pt x="457" y="549"/>
                  </a:lnTo>
                  <a:lnTo>
                    <a:pt x="452" y="549"/>
                  </a:lnTo>
                  <a:lnTo>
                    <a:pt x="448" y="549"/>
                  </a:lnTo>
                  <a:lnTo>
                    <a:pt x="443" y="549"/>
                  </a:lnTo>
                  <a:lnTo>
                    <a:pt x="439" y="549"/>
                  </a:lnTo>
                  <a:lnTo>
                    <a:pt x="439" y="544"/>
                  </a:lnTo>
                  <a:lnTo>
                    <a:pt x="434" y="544"/>
                  </a:lnTo>
                  <a:lnTo>
                    <a:pt x="434" y="540"/>
                  </a:lnTo>
                  <a:lnTo>
                    <a:pt x="434" y="531"/>
                  </a:lnTo>
                  <a:lnTo>
                    <a:pt x="430" y="526"/>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2" name="Freeform 29">
              <a:extLst>
                <a:ext uri="{FF2B5EF4-FFF2-40B4-BE49-F238E27FC236}">
                  <a16:creationId xmlns:a16="http://schemas.microsoft.com/office/drawing/2014/main" id="{17229A48-BF6F-498B-9F2C-DBD515F47C3B}"/>
                </a:ext>
              </a:extLst>
            </p:cNvPr>
            <p:cNvSpPr>
              <a:spLocks noEditPoints="1"/>
            </p:cNvSpPr>
            <p:nvPr>
              <p:custDataLst>
                <p:tags r:id="rId24"/>
              </p:custDataLst>
            </p:nvPr>
          </p:nvSpPr>
          <p:spPr bwMode="auto">
            <a:xfrm>
              <a:off x="155308" y="2262810"/>
              <a:ext cx="1153883" cy="882201"/>
            </a:xfrm>
            <a:custGeom>
              <a:avLst/>
              <a:gdLst/>
              <a:ahLst/>
              <a:cxnLst>
                <a:cxn ang="0">
                  <a:pos x="681" y="818"/>
                </a:cxn>
                <a:cxn ang="0">
                  <a:pos x="403" y="27"/>
                </a:cxn>
                <a:cxn ang="0">
                  <a:pos x="448" y="27"/>
                </a:cxn>
                <a:cxn ang="0">
                  <a:pos x="471" y="64"/>
                </a:cxn>
                <a:cxn ang="0">
                  <a:pos x="489" y="82"/>
                </a:cxn>
                <a:cxn ang="0">
                  <a:pos x="531" y="91"/>
                </a:cxn>
                <a:cxn ang="0">
                  <a:pos x="576" y="141"/>
                </a:cxn>
                <a:cxn ang="0">
                  <a:pos x="654" y="228"/>
                </a:cxn>
                <a:cxn ang="0">
                  <a:pos x="727" y="297"/>
                </a:cxn>
                <a:cxn ang="0">
                  <a:pos x="773" y="347"/>
                </a:cxn>
                <a:cxn ang="0">
                  <a:pos x="841" y="338"/>
                </a:cxn>
                <a:cxn ang="0">
                  <a:pos x="905" y="365"/>
                </a:cxn>
                <a:cxn ang="0">
                  <a:pos x="947" y="407"/>
                </a:cxn>
                <a:cxn ang="0">
                  <a:pos x="1052" y="439"/>
                </a:cxn>
                <a:cxn ang="0">
                  <a:pos x="1143" y="489"/>
                </a:cxn>
                <a:cxn ang="0">
                  <a:pos x="1230" y="516"/>
                </a:cxn>
                <a:cxn ang="0">
                  <a:pos x="1299" y="521"/>
                </a:cxn>
                <a:cxn ang="0">
                  <a:pos x="1303" y="562"/>
                </a:cxn>
                <a:cxn ang="0">
                  <a:pos x="1285" y="640"/>
                </a:cxn>
                <a:cxn ang="0">
                  <a:pos x="1198" y="644"/>
                </a:cxn>
                <a:cxn ang="0">
                  <a:pos x="1129" y="635"/>
                </a:cxn>
                <a:cxn ang="0">
                  <a:pos x="1075" y="599"/>
                </a:cxn>
                <a:cxn ang="0">
                  <a:pos x="1024" y="640"/>
                </a:cxn>
                <a:cxn ang="0">
                  <a:pos x="1001" y="686"/>
                </a:cxn>
                <a:cxn ang="0">
                  <a:pos x="1043" y="731"/>
                </a:cxn>
                <a:cxn ang="0">
                  <a:pos x="1075" y="772"/>
                </a:cxn>
                <a:cxn ang="0">
                  <a:pos x="1015" y="759"/>
                </a:cxn>
                <a:cxn ang="0">
                  <a:pos x="969" y="800"/>
                </a:cxn>
                <a:cxn ang="0">
                  <a:pos x="915" y="772"/>
                </a:cxn>
                <a:cxn ang="0">
                  <a:pos x="860" y="772"/>
                </a:cxn>
                <a:cxn ang="0">
                  <a:pos x="800" y="768"/>
                </a:cxn>
                <a:cxn ang="0">
                  <a:pos x="741" y="772"/>
                </a:cxn>
                <a:cxn ang="0">
                  <a:pos x="672" y="745"/>
                </a:cxn>
                <a:cxn ang="0">
                  <a:pos x="631" y="681"/>
                </a:cxn>
                <a:cxn ang="0">
                  <a:pos x="585" y="599"/>
                </a:cxn>
                <a:cxn ang="0">
                  <a:pos x="553" y="544"/>
                </a:cxn>
                <a:cxn ang="0">
                  <a:pos x="553" y="480"/>
                </a:cxn>
                <a:cxn ang="0">
                  <a:pos x="608" y="420"/>
                </a:cxn>
                <a:cxn ang="0">
                  <a:pos x="553" y="434"/>
                </a:cxn>
                <a:cxn ang="0">
                  <a:pos x="499" y="407"/>
                </a:cxn>
                <a:cxn ang="0">
                  <a:pos x="467" y="356"/>
                </a:cxn>
                <a:cxn ang="0">
                  <a:pos x="407" y="347"/>
                </a:cxn>
                <a:cxn ang="0">
                  <a:pos x="380" y="402"/>
                </a:cxn>
                <a:cxn ang="0">
                  <a:pos x="320" y="439"/>
                </a:cxn>
                <a:cxn ang="0">
                  <a:pos x="229" y="475"/>
                </a:cxn>
                <a:cxn ang="0">
                  <a:pos x="169" y="489"/>
                </a:cxn>
                <a:cxn ang="0">
                  <a:pos x="115" y="512"/>
                </a:cxn>
                <a:cxn ang="0">
                  <a:pos x="69" y="553"/>
                </a:cxn>
                <a:cxn ang="0">
                  <a:pos x="9" y="558"/>
                </a:cxn>
                <a:cxn ang="0">
                  <a:pos x="5" y="503"/>
                </a:cxn>
                <a:cxn ang="0">
                  <a:pos x="14" y="462"/>
                </a:cxn>
                <a:cxn ang="0">
                  <a:pos x="19" y="430"/>
                </a:cxn>
                <a:cxn ang="0">
                  <a:pos x="23" y="402"/>
                </a:cxn>
                <a:cxn ang="0">
                  <a:pos x="64" y="379"/>
                </a:cxn>
                <a:cxn ang="0">
                  <a:pos x="142" y="361"/>
                </a:cxn>
                <a:cxn ang="0">
                  <a:pos x="160" y="269"/>
                </a:cxn>
                <a:cxn ang="0">
                  <a:pos x="201" y="183"/>
                </a:cxn>
                <a:cxn ang="0">
                  <a:pos x="229" y="123"/>
                </a:cxn>
                <a:cxn ang="0">
                  <a:pos x="311" y="77"/>
                </a:cxn>
                <a:cxn ang="0">
                  <a:pos x="339" y="4"/>
                </a:cxn>
              </a:cxnLst>
              <a:rect l="0" t="0" r="r" b="b"/>
              <a:pathLst>
                <a:path w="1321" h="873">
                  <a:moveTo>
                    <a:pt x="636" y="836"/>
                  </a:moveTo>
                  <a:lnTo>
                    <a:pt x="640" y="836"/>
                  </a:lnTo>
                  <a:lnTo>
                    <a:pt x="640" y="832"/>
                  </a:lnTo>
                  <a:lnTo>
                    <a:pt x="640" y="827"/>
                  </a:lnTo>
                  <a:lnTo>
                    <a:pt x="640" y="827"/>
                  </a:lnTo>
                  <a:lnTo>
                    <a:pt x="640" y="823"/>
                  </a:lnTo>
                  <a:lnTo>
                    <a:pt x="645" y="818"/>
                  </a:lnTo>
                  <a:lnTo>
                    <a:pt x="645" y="818"/>
                  </a:lnTo>
                  <a:lnTo>
                    <a:pt x="649" y="818"/>
                  </a:lnTo>
                  <a:lnTo>
                    <a:pt x="659" y="818"/>
                  </a:lnTo>
                  <a:lnTo>
                    <a:pt x="663" y="818"/>
                  </a:lnTo>
                  <a:lnTo>
                    <a:pt x="663" y="814"/>
                  </a:lnTo>
                  <a:lnTo>
                    <a:pt x="668" y="814"/>
                  </a:lnTo>
                  <a:lnTo>
                    <a:pt x="672" y="809"/>
                  </a:lnTo>
                  <a:lnTo>
                    <a:pt x="672" y="814"/>
                  </a:lnTo>
                  <a:lnTo>
                    <a:pt x="681" y="818"/>
                  </a:lnTo>
                  <a:lnTo>
                    <a:pt x="681" y="832"/>
                  </a:lnTo>
                  <a:lnTo>
                    <a:pt x="681" y="841"/>
                  </a:lnTo>
                  <a:lnTo>
                    <a:pt x="681" y="850"/>
                  </a:lnTo>
                  <a:lnTo>
                    <a:pt x="672" y="855"/>
                  </a:lnTo>
                  <a:lnTo>
                    <a:pt x="663" y="859"/>
                  </a:lnTo>
                  <a:lnTo>
                    <a:pt x="663" y="864"/>
                  </a:lnTo>
                  <a:lnTo>
                    <a:pt x="659" y="868"/>
                  </a:lnTo>
                  <a:lnTo>
                    <a:pt x="654" y="873"/>
                  </a:lnTo>
                  <a:lnTo>
                    <a:pt x="649" y="868"/>
                  </a:lnTo>
                  <a:lnTo>
                    <a:pt x="640" y="859"/>
                  </a:lnTo>
                  <a:lnTo>
                    <a:pt x="640" y="855"/>
                  </a:lnTo>
                  <a:lnTo>
                    <a:pt x="640" y="850"/>
                  </a:lnTo>
                  <a:lnTo>
                    <a:pt x="636" y="841"/>
                  </a:lnTo>
                  <a:lnTo>
                    <a:pt x="636" y="841"/>
                  </a:lnTo>
                  <a:lnTo>
                    <a:pt x="636" y="836"/>
                  </a:lnTo>
                  <a:close/>
                  <a:moveTo>
                    <a:pt x="403" y="27"/>
                  </a:moveTo>
                  <a:lnTo>
                    <a:pt x="407" y="27"/>
                  </a:lnTo>
                  <a:lnTo>
                    <a:pt x="412" y="27"/>
                  </a:lnTo>
                  <a:lnTo>
                    <a:pt x="412" y="27"/>
                  </a:lnTo>
                  <a:lnTo>
                    <a:pt x="416" y="27"/>
                  </a:lnTo>
                  <a:lnTo>
                    <a:pt x="421" y="23"/>
                  </a:lnTo>
                  <a:lnTo>
                    <a:pt x="421" y="18"/>
                  </a:lnTo>
                  <a:lnTo>
                    <a:pt x="421" y="13"/>
                  </a:lnTo>
                  <a:lnTo>
                    <a:pt x="421" y="9"/>
                  </a:lnTo>
                  <a:lnTo>
                    <a:pt x="425" y="9"/>
                  </a:lnTo>
                  <a:lnTo>
                    <a:pt x="425" y="4"/>
                  </a:lnTo>
                  <a:lnTo>
                    <a:pt x="430" y="9"/>
                  </a:lnTo>
                  <a:lnTo>
                    <a:pt x="435" y="13"/>
                  </a:lnTo>
                  <a:lnTo>
                    <a:pt x="439" y="23"/>
                  </a:lnTo>
                  <a:lnTo>
                    <a:pt x="444" y="27"/>
                  </a:lnTo>
                  <a:lnTo>
                    <a:pt x="444" y="27"/>
                  </a:lnTo>
                  <a:lnTo>
                    <a:pt x="448" y="27"/>
                  </a:lnTo>
                  <a:lnTo>
                    <a:pt x="444" y="32"/>
                  </a:lnTo>
                  <a:lnTo>
                    <a:pt x="444" y="36"/>
                  </a:lnTo>
                  <a:lnTo>
                    <a:pt x="439" y="41"/>
                  </a:lnTo>
                  <a:lnTo>
                    <a:pt x="439" y="45"/>
                  </a:lnTo>
                  <a:lnTo>
                    <a:pt x="444" y="50"/>
                  </a:lnTo>
                  <a:lnTo>
                    <a:pt x="448" y="50"/>
                  </a:lnTo>
                  <a:lnTo>
                    <a:pt x="453" y="50"/>
                  </a:lnTo>
                  <a:lnTo>
                    <a:pt x="457" y="45"/>
                  </a:lnTo>
                  <a:lnTo>
                    <a:pt x="462" y="50"/>
                  </a:lnTo>
                  <a:lnTo>
                    <a:pt x="467" y="50"/>
                  </a:lnTo>
                  <a:lnTo>
                    <a:pt x="462" y="50"/>
                  </a:lnTo>
                  <a:lnTo>
                    <a:pt x="462" y="55"/>
                  </a:lnTo>
                  <a:lnTo>
                    <a:pt x="462" y="59"/>
                  </a:lnTo>
                  <a:lnTo>
                    <a:pt x="467" y="59"/>
                  </a:lnTo>
                  <a:lnTo>
                    <a:pt x="467" y="59"/>
                  </a:lnTo>
                  <a:lnTo>
                    <a:pt x="471" y="64"/>
                  </a:lnTo>
                  <a:lnTo>
                    <a:pt x="476" y="64"/>
                  </a:lnTo>
                  <a:lnTo>
                    <a:pt x="476" y="68"/>
                  </a:lnTo>
                  <a:lnTo>
                    <a:pt x="471" y="73"/>
                  </a:lnTo>
                  <a:lnTo>
                    <a:pt x="467" y="73"/>
                  </a:lnTo>
                  <a:lnTo>
                    <a:pt x="462" y="68"/>
                  </a:lnTo>
                  <a:lnTo>
                    <a:pt x="462" y="73"/>
                  </a:lnTo>
                  <a:lnTo>
                    <a:pt x="457" y="73"/>
                  </a:lnTo>
                  <a:lnTo>
                    <a:pt x="462" y="73"/>
                  </a:lnTo>
                  <a:lnTo>
                    <a:pt x="462" y="77"/>
                  </a:lnTo>
                  <a:lnTo>
                    <a:pt x="467" y="77"/>
                  </a:lnTo>
                  <a:lnTo>
                    <a:pt x="467" y="82"/>
                  </a:lnTo>
                  <a:lnTo>
                    <a:pt x="471" y="82"/>
                  </a:lnTo>
                  <a:lnTo>
                    <a:pt x="480" y="82"/>
                  </a:lnTo>
                  <a:lnTo>
                    <a:pt x="485" y="82"/>
                  </a:lnTo>
                  <a:lnTo>
                    <a:pt x="489" y="82"/>
                  </a:lnTo>
                  <a:lnTo>
                    <a:pt x="489" y="82"/>
                  </a:lnTo>
                  <a:lnTo>
                    <a:pt x="489" y="87"/>
                  </a:lnTo>
                  <a:lnTo>
                    <a:pt x="489" y="91"/>
                  </a:lnTo>
                  <a:lnTo>
                    <a:pt x="494" y="96"/>
                  </a:lnTo>
                  <a:lnTo>
                    <a:pt x="499" y="96"/>
                  </a:lnTo>
                  <a:lnTo>
                    <a:pt x="503" y="96"/>
                  </a:lnTo>
                  <a:lnTo>
                    <a:pt x="508" y="96"/>
                  </a:lnTo>
                  <a:lnTo>
                    <a:pt x="512" y="100"/>
                  </a:lnTo>
                  <a:lnTo>
                    <a:pt x="517" y="100"/>
                  </a:lnTo>
                  <a:lnTo>
                    <a:pt x="517" y="96"/>
                  </a:lnTo>
                  <a:lnTo>
                    <a:pt x="517" y="91"/>
                  </a:lnTo>
                  <a:lnTo>
                    <a:pt x="521" y="91"/>
                  </a:lnTo>
                  <a:lnTo>
                    <a:pt x="526" y="91"/>
                  </a:lnTo>
                  <a:lnTo>
                    <a:pt x="526" y="87"/>
                  </a:lnTo>
                  <a:lnTo>
                    <a:pt x="531" y="87"/>
                  </a:lnTo>
                  <a:lnTo>
                    <a:pt x="531" y="91"/>
                  </a:lnTo>
                  <a:lnTo>
                    <a:pt x="531" y="91"/>
                  </a:lnTo>
                  <a:lnTo>
                    <a:pt x="531" y="96"/>
                  </a:lnTo>
                  <a:lnTo>
                    <a:pt x="531" y="96"/>
                  </a:lnTo>
                  <a:lnTo>
                    <a:pt x="540" y="96"/>
                  </a:lnTo>
                  <a:lnTo>
                    <a:pt x="544" y="100"/>
                  </a:lnTo>
                  <a:lnTo>
                    <a:pt x="549" y="109"/>
                  </a:lnTo>
                  <a:lnTo>
                    <a:pt x="549" y="114"/>
                  </a:lnTo>
                  <a:lnTo>
                    <a:pt x="549" y="114"/>
                  </a:lnTo>
                  <a:lnTo>
                    <a:pt x="553" y="114"/>
                  </a:lnTo>
                  <a:lnTo>
                    <a:pt x="553" y="119"/>
                  </a:lnTo>
                  <a:lnTo>
                    <a:pt x="553" y="123"/>
                  </a:lnTo>
                  <a:lnTo>
                    <a:pt x="558" y="128"/>
                  </a:lnTo>
                  <a:lnTo>
                    <a:pt x="563" y="132"/>
                  </a:lnTo>
                  <a:lnTo>
                    <a:pt x="563" y="137"/>
                  </a:lnTo>
                  <a:lnTo>
                    <a:pt x="572" y="137"/>
                  </a:lnTo>
                  <a:lnTo>
                    <a:pt x="572" y="141"/>
                  </a:lnTo>
                  <a:lnTo>
                    <a:pt x="576" y="141"/>
                  </a:lnTo>
                  <a:lnTo>
                    <a:pt x="576" y="146"/>
                  </a:lnTo>
                  <a:lnTo>
                    <a:pt x="585" y="160"/>
                  </a:lnTo>
                  <a:lnTo>
                    <a:pt x="595" y="164"/>
                  </a:lnTo>
                  <a:lnTo>
                    <a:pt x="599" y="169"/>
                  </a:lnTo>
                  <a:lnTo>
                    <a:pt x="599" y="173"/>
                  </a:lnTo>
                  <a:lnTo>
                    <a:pt x="599" y="173"/>
                  </a:lnTo>
                  <a:lnTo>
                    <a:pt x="608" y="183"/>
                  </a:lnTo>
                  <a:lnTo>
                    <a:pt x="613" y="187"/>
                  </a:lnTo>
                  <a:lnTo>
                    <a:pt x="617" y="192"/>
                  </a:lnTo>
                  <a:lnTo>
                    <a:pt x="617" y="196"/>
                  </a:lnTo>
                  <a:lnTo>
                    <a:pt x="627" y="201"/>
                  </a:lnTo>
                  <a:lnTo>
                    <a:pt x="627" y="205"/>
                  </a:lnTo>
                  <a:lnTo>
                    <a:pt x="631" y="205"/>
                  </a:lnTo>
                  <a:lnTo>
                    <a:pt x="640" y="224"/>
                  </a:lnTo>
                  <a:lnTo>
                    <a:pt x="649" y="224"/>
                  </a:lnTo>
                  <a:lnTo>
                    <a:pt x="654" y="228"/>
                  </a:lnTo>
                  <a:lnTo>
                    <a:pt x="654" y="233"/>
                  </a:lnTo>
                  <a:lnTo>
                    <a:pt x="659" y="233"/>
                  </a:lnTo>
                  <a:lnTo>
                    <a:pt x="663" y="242"/>
                  </a:lnTo>
                  <a:lnTo>
                    <a:pt x="663" y="247"/>
                  </a:lnTo>
                  <a:lnTo>
                    <a:pt x="668" y="247"/>
                  </a:lnTo>
                  <a:lnTo>
                    <a:pt x="672" y="247"/>
                  </a:lnTo>
                  <a:lnTo>
                    <a:pt x="677" y="251"/>
                  </a:lnTo>
                  <a:lnTo>
                    <a:pt x="681" y="260"/>
                  </a:lnTo>
                  <a:lnTo>
                    <a:pt x="686" y="265"/>
                  </a:lnTo>
                  <a:lnTo>
                    <a:pt x="695" y="274"/>
                  </a:lnTo>
                  <a:lnTo>
                    <a:pt x="700" y="279"/>
                  </a:lnTo>
                  <a:lnTo>
                    <a:pt x="704" y="283"/>
                  </a:lnTo>
                  <a:lnTo>
                    <a:pt x="713" y="292"/>
                  </a:lnTo>
                  <a:lnTo>
                    <a:pt x="718" y="292"/>
                  </a:lnTo>
                  <a:lnTo>
                    <a:pt x="723" y="292"/>
                  </a:lnTo>
                  <a:lnTo>
                    <a:pt x="727" y="297"/>
                  </a:lnTo>
                  <a:lnTo>
                    <a:pt x="727" y="297"/>
                  </a:lnTo>
                  <a:lnTo>
                    <a:pt x="732" y="297"/>
                  </a:lnTo>
                  <a:lnTo>
                    <a:pt x="732" y="301"/>
                  </a:lnTo>
                  <a:lnTo>
                    <a:pt x="736" y="301"/>
                  </a:lnTo>
                  <a:lnTo>
                    <a:pt x="741" y="301"/>
                  </a:lnTo>
                  <a:lnTo>
                    <a:pt x="750" y="306"/>
                  </a:lnTo>
                  <a:lnTo>
                    <a:pt x="755" y="306"/>
                  </a:lnTo>
                  <a:lnTo>
                    <a:pt x="759" y="311"/>
                  </a:lnTo>
                  <a:lnTo>
                    <a:pt x="764" y="311"/>
                  </a:lnTo>
                  <a:lnTo>
                    <a:pt x="768" y="311"/>
                  </a:lnTo>
                  <a:lnTo>
                    <a:pt x="768" y="315"/>
                  </a:lnTo>
                  <a:lnTo>
                    <a:pt x="768" y="320"/>
                  </a:lnTo>
                  <a:lnTo>
                    <a:pt x="768" y="324"/>
                  </a:lnTo>
                  <a:lnTo>
                    <a:pt x="773" y="338"/>
                  </a:lnTo>
                  <a:lnTo>
                    <a:pt x="773" y="343"/>
                  </a:lnTo>
                  <a:lnTo>
                    <a:pt x="773" y="347"/>
                  </a:lnTo>
                  <a:lnTo>
                    <a:pt x="773" y="352"/>
                  </a:lnTo>
                  <a:lnTo>
                    <a:pt x="773" y="352"/>
                  </a:lnTo>
                  <a:lnTo>
                    <a:pt x="773" y="356"/>
                  </a:lnTo>
                  <a:lnTo>
                    <a:pt x="777" y="356"/>
                  </a:lnTo>
                  <a:lnTo>
                    <a:pt x="782" y="361"/>
                  </a:lnTo>
                  <a:lnTo>
                    <a:pt x="787" y="361"/>
                  </a:lnTo>
                  <a:lnTo>
                    <a:pt x="791" y="361"/>
                  </a:lnTo>
                  <a:lnTo>
                    <a:pt x="796" y="361"/>
                  </a:lnTo>
                  <a:lnTo>
                    <a:pt x="819" y="352"/>
                  </a:lnTo>
                  <a:lnTo>
                    <a:pt x="823" y="352"/>
                  </a:lnTo>
                  <a:lnTo>
                    <a:pt x="828" y="347"/>
                  </a:lnTo>
                  <a:lnTo>
                    <a:pt x="832" y="347"/>
                  </a:lnTo>
                  <a:lnTo>
                    <a:pt x="837" y="347"/>
                  </a:lnTo>
                  <a:lnTo>
                    <a:pt x="837" y="343"/>
                  </a:lnTo>
                  <a:lnTo>
                    <a:pt x="841" y="343"/>
                  </a:lnTo>
                  <a:lnTo>
                    <a:pt x="841" y="338"/>
                  </a:lnTo>
                  <a:lnTo>
                    <a:pt x="846" y="338"/>
                  </a:lnTo>
                  <a:lnTo>
                    <a:pt x="860" y="338"/>
                  </a:lnTo>
                  <a:lnTo>
                    <a:pt x="864" y="338"/>
                  </a:lnTo>
                  <a:lnTo>
                    <a:pt x="869" y="338"/>
                  </a:lnTo>
                  <a:lnTo>
                    <a:pt x="873" y="343"/>
                  </a:lnTo>
                  <a:lnTo>
                    <a:pt x="878" y="343"/>
                  </a:lnTo>
                  <a:lnTo>
                    <a:pt x="883" y="347"/>
                  </a:lnTo>
                  <a:lnTo>
                    <a:pt x="883" y="347"/>
                  </a:lnTo>
                  <a:lnTo>
                    <a:pt x="883" y="352"/>
                  </a:lnTo>
                  <a:lnTo>
                    <a:pt x="887" y="352"/>
                  </a:lnTo>
                  <a:lnTo>
                    <a:pt x="892" y="356"/>
                  </a:lnTo>
                  <a:lnTo>
                    <a:pt x="892" y="356"/>
                  </a:lnTo>
                  <a:lnTo>
                    <a:pt x="896" y="356"/>
                  </a:lnTo>
                  <a:lnTo>
                    <a:pt x="901" y="361"/>
                  </a:lnTo>
                  <a:lnTo>
                    <a:pt x="901" y="365"/>
                  </a:lnTo>
                  <a:lnTo>
                    <a:pt x="905" y="365"/>
                  </a:lnTo>
                  <a:lnTo>
                    <a:pt x="905" y="365"/>
                  </a:lnTo>
                  <a:lnTo>
                    <a:pt x="905" y="370"/>
                  </a:lnTo>
                  <a:lnTo>
                    <a:pt x="910" y="370"/>
                  </a:lnTo>
                  <a:lnTo>
                    <a:pt x="915" y="375"/>
                  </a:lnTo>
                  <a:lnTo>
                    <a:pt x="919" y="379"/>
                  </a:lnTo>
                  <a:lnTo>
                    <a:pt x="924" y="379"/>
                  </a:lnTo>
                  <a:lnTo>
                    <a:pt x="924" y="379"/>
                  </a:lnTo>
                  <a:lnTo>
                    <a:pt x="928" y="379"/>
                  </a:lnTo>
                  <a:lnTo>
                    <a:pt x="928" y="384"/>
                  </a:lnTo>
                  <a:lnTo>
                    <a:pt x="928" y="388"/>
                  </a:lnTo>
                  <a:lnTo>
                    <a:pt x="928" y="393"/>
                  </a:lnTo>
                  <a:lnTo>
                    <a:pt x="933" y="398"/>
                  </a:lnTo>
                  <a:lnTo>
                    <a:pt x="937" y="402"/>
                  </a:lnTo>
                  <a:lnTo>
                    <a:pt x="942" y="402"/>
                  </a:lnTo>
                  <a:lnTo>
                    <a:pt x="947" y="407"/>
                  </a:lnTo>
                  <a:lnTo>
                    <a:pt x="947" y="407"/>
                  </a:lnTo>
                  <a:lnTo>
                    <a:pt x="947" y="411"/>
                  </a:lnTo>
                  <a:lnTo>
                    <a:pt x="951" y="411"/>
                  </a:lnTo>
                  <a:lnTo>
                    <a:pt x="956" y="411"/>
                  </a:lnTo>
                  <a:lnTo>
                    <a:pt x="969" y="411"/>
                  </a:lnTo>
                  <a:lnTo>
                    <a:pt x="983" y="416"/>
                  </a:lnTo>
                  <a:lnTo>
                    <a:pt x="992" y="416"/>
                  </a:lnTo>
                  <a:lnTo>
                    <a:pt x="1001" y="420"/>
                  </a:lnTo>
                  <a:lnTo>
                    <a:pt x="1015" y="420"/>
                  </a:lnTo>
                  <a:lnTo>
                    <a:pt x="1029" y="430"/>
                  </a:lnTo>
                  <a:lnTo>
                    <a:pt x="1033" y="430"/>
                  </a:lnTo>
                  <a:lnTo>
                    <a:pt x="1038" y="434"/>
                  </a:lnTo>
                  <a:lnTo>
                    <a:pt x="1038" y="434"/>
                  </a:lnTo>
                  <a:lnTo>
                    <a:pt x="1043" y="434"/>
                  </a:lnTo>
                  <a:lnTo>
                    <a:pt x="1047" y="439"/>
                  </a:lnTo>
                  <a:lnTo>
                    <a:pt x="1047" y="439"/>
                  </a:lnTo>
                  <a:lnTo>
                    <a:pt x="1052" y="439"/>
                  </a:lnTo>
                  <a:lnTo>
                    <a:pt x="1056" y="443"/>
                  </a:lnTo>
                  <a:lnTo>
                    <a:pt x="1061" y="443"/>
                  </a:lnTo>
                  <a:lnTo>
                    <a:pt x="1079" y="457"/>
                  </a:lnTo>
                  <a:lnTo>
                    <a:pt x="1084" y="466"/>
                  </a:lnTo>
                  <a:lnTo>
                    <a:pt x="1088" y="466"/>
                  </a:lnTo>
                  <a:lnTo>
                    <a:pt x="1093" y="466"/>
                  </a:lnTo>
                  <a:lnTo>
                    <a:pt x="1093" y="471"/>
                  </a:lnTo>
                  <a:lnTo>
                    <a:pt x="1097" y="471"/>
                  </a:lnTo>
                  <a:lnTo>
                    <a:pt x="1102" y="475"/>
                  </a:lnTo>
                  <a:lnTo>
                    <a:pt x="1102" y="475"/>
                  </a:lnTo>
                  <a:lnTo>
                    <a:pt x="1111" y="480"/>
                  </a:lnTo>
                  <a:lnTo>
                    <a:pt x="1120" y="480"/>
                  </a:lnTo>
                  <a:lnTo>
                    <a:pt x="1125" y="480"/>
                  </a:lnTo>
                  <a:lnTo>
                    <a:pt x="1129" y="484"/>
                  </a:lnTo>
                  <a:lnTo>
                    <a:pt x="1139" y="489"/>
                  </a:lnTo>
                  <a:lnTo>
                    <a:pt x="1143" y="489"/>
                  </a:lnTo>
                  <a:lnTo>
                    <a:pt x="1143" y="494"/>
                  </a:lnTo>
                  <a:lnTo>
                    <a:pt x="1148" y="494"/>
                  </a:lnTo>
                  <a:lnTo>
                    <a:pt x="1148" y="498"/>
                  </a:lnTo>
                  <a:lnTo>
                    <a:pt x="1148" y="503"/>
                  </a:lnTo>
                  <a:lnTo>
                    <a:pt x="1148" y="507"/>
                  </a:lnTo>
                  <a:lnTo>
                    <a:pt x="1152" y="507"/>
                  </a:lnTo>
                  <a:lnTo>
                    <a:pt x="1152" y="512"/>
                  </a:lnTo>
                  <a:lnTo>
                    <a:pt x="1157" y="512"/>
                  </a:lnTo>
                  <a:lnTo>
                    <a:pt x="1166" y="512"/>
                  </a:lnTo>
                  <a:lnTo>
                    <a:pt x="1171" y="512"/>
                  </a:lnTo>
                  <a:lnTo>
                    <a:pt x="1175" y="516"/>
                  </a:lnTo>
                  <a:lnTo>
                    <a:pt x="1198" y="516"/>
                  </a:lnTo>
                  <a:lnTo>
                    <a:pt x="1203" y="512"/>
                  </a:lnTo>
                  <a:lnTo>
                    <a:pt x="1216" y="512"/>
                  </a:lnTo>
                  <a:lnTo>
                    <a:pt x="1225" y="516"/>
                  </a:lnTo>
                  <a:lnTo>
                    <a:pt x="1230" y="516"/>
                  </a:lnTo>
                  <a:lnTo>
                    <a:pt x="1239" y="512"/>
                  </a:lnTo>
                  <a:lnTo>
                    <a:pt x="1248" y="512"/>
                  </a:lnTo>
                  <a:lnTo>
                    <a:pt x="1253" y="512"/>
                  </a:lnTo>
                  <a:lnTo>
                    <a:pt x="1257" y="512"/>
                  </a:lnTo>
                  <a:lnTo>
                    <a:pt x="1267" y="507"/>
                  </a:lnTo>
                  <a:lnTo>
                    <a:pt x="1271" y="507"/>
                  </a:lnTo>
                  <a:lnTo>
                    <a:pt x="1276" y="512"/>
                  </a:lnTo>
                  <a:lnTo>
                    <a:pt x="1280" y="512"/>
                  </a:lnTo>
                  <a:lnTo>
                    <a:pt x="1285" y="512"/>
                  </a:lnTo>
                  <a:lnTo>
                    <a:pt x="1285" y="512"/>
                  </a:lnTo>
                  <a:lnTo>
                    <a:pt x="1289" y="512"/>
                  </a:lnTo>
                  <a:lnTo>
                    <a:pt x="1289" y="516"/>
                  </a:lnTo>
                  <a:lnTo>
                    <a:pt x="1294" y="516"/>
                  </a:lnTo>
                  <a:lnTo>
                    <a:pt x="1299" y="516"/>
                  </a:lnTo>
                  <a:lnTo>
                    <a:pt x="1299" y="521"/>
                  </a:lnTo>
                  <a:lnTo>
                    <a:pt x="1299" y="521"/>
                  </a:lnTo>
                  <a:lnTo>
                    <a:pt x="1308" y="526"/>
                  </a:lnTo>
                  <a:lnTo>
                    <a:pt x="1312" y="526"/>
                  </a:lnTo>
                  <a:lnTo>
                    <a:pt x="1317" y="526"/>
                  </a:lnTo>
                  <a:lnTo>
                    <a:pt x="1321" y="526"/>
                  </a:lnTo>
                  <a:lnTo>
                    <a:pt x="1321" y="521"/>
                  </a:lnTo>
                  <a:lnTo>
                    <a:pt x="1321" y="526"/>
                  </a:lnTo>
                  <a:lnTo>
                    <a:pt x="1321" y="530"/>
                  </a:lnTo>
                  <a:lnTo>
                    <a:pt x="1321" y="530"/>
                  </a:lnTo>
                  <a:lnTo>
                    <a:pt x="1321" y="535"/>
                  </a:lnTo>
                  <a:lnTo>
                    <a:pt x="1317" y="539"/>
                  </a:lnTo>
                  <a:lnTo>
                    <a:pt x="1317" y="548"/>
                  </a:lnTo>
                  <a:lnTo>
                    <a:pt x="1312" y="553"/>
                  </a:lnTo>
                  <a:lnTo>
                    <a:pt x="1312" y="553"/>
                  </a:lnTo>
                  <a:lnTo>
                    <a:pt x="1308" y="558"/>
                  </a:lnTo>
                  <a:lnTo>
                    <a:pt x="1308" y="562"/>
                  </a:lnTo>
                  <a:lnTo>
                    <a:pt x="1303" y="562"/>
                  </a:lnTo>
                  <a:lnTo>
                    <a:pt x="1303" y="567"/>
                  </a:lnTo>
                  <a:lnTo>
                    <a:pt x="1299" y="571"/>
                  </a:lnTo>
                  <a:lnTo>
                    <a:pt x="1299" y="576"/>
                  </a:lnTo>
                  <a:lnTo>
                    <a:pt x="1299" y="576"/>
                  </a:lnTo>
                  <a:lnTo>
                    <a:pt x="1299" y="576"/>
                  </a:lnTo>
                  <a:lnTo>
                    <a:pt x="1299" y="580"/>
                  </a:lnTo>
                  <a:lnTo>
                    <a:pt x="1294" y="585"/>
                  </a:lnTo>
                  <a:lnTo>
                    <a:pt x="1294" y="590"/>
                  </a:lnTo>
                  <a:lnTo>
                    <a:pt x="1294" y="599"/>
                  </a:lnTo>
                  <a:lnTo>
                    <a:pt x="1294" y="603"/>
                  </a:lnTo>
                  <a:lnTo>
                    <a:pt x="1294" y="608"/>
                  </a:lnTo>
                  <a:lnTo>
                    <a:pt x="1289" y="612"/>
                  </a:lnTo>
                  <a:lnTo>
                    <a:pt x="1289" y="622"/>
                  </a:lnTo>
                  <a:lnTo>
                    <a:pt x="1289" y="626"/>
                  </a:lnTo>
                  <a:lnTo>
                    <a:pt x="1289" y="640"/>
                  </a:lnTo>
                  <a:lnTo>
                    <a:pt x="1285" y="640"/>
                  </a:lnTo>
                  <a:lnTo>
                    <a:pt x="1285" y="640"/>
                  </a:lnTo>
                  <a:lnTo>
                    <a:pt x="1285" y="644"/>
                  </a:lnTo>
                  <a:lnTo>
                    <a:pt x="1280" y="644"/>
                  </a:lnTo>
                  <a:lnTo>
                    <a:pt x="1276" y="644"/>
                  </a:lnTo>
                  <a:lnTo>
                    <a:pt x="1271" y="644"/>
                  </a:lnTo>
                  <a:lnTo>
                    <a:pt x="1262" y="644"/>
                  </a:lnTo>
                  <a:lnTo>
                    <a:pt x="1257" y="644"/>
                  </a:lnTo>
                  <a:lnTo>
                    <a:pt x="1257" y="644"/>
                  </a:lnTo>
                  <a:lnTo>
                    <a:pt x="1253" y="640"/>
                  </a:lnTo>
                  <a:lnTo>
                    <a:pt x="1244" y="640"/>
                  </a:lnTo>
                  <a:lnTo>
                    <a:pt x="1230" y="640"/>
                  </a:lnTo>
                  <a:lnTo>
                    <a:pt x="1225" y="640"/>
                  </a:lnTo>
                  <a:lnTo>
                    <a:pt x="1221" y="640"/>
                  </a:lnTo>
                  <a:lnTo>
                    <a:pt x="1212" y="640"/>
                  </a:lnTo>
                  <a:lnTo>
                    <a:pt x="1203" y="640"/>
                  </a:lnTo>
                  <a:lnTo>
                    <a:pt x="1198" y="644"/>
                  </a:lnTo>
                  <a:lnTo>
                    <a:pt x="1193" y="644"/>
                  </a:lnTo>
                  <a:lnTo>
                    <a:pt x="1189" y="644"/>
                  </a:lnTo>
                  <a:lnTo>
                    <a:pt x="1189" y="640"/>
                  </a:lnTo>
                  <a:lnTo>
                    <a:pt x="1189" y="640"/>
                  </a:lnTo>
                  <a:lnTo>
                    <a:pt x="1184" y="640"/>
                  </a:lnTo>
                  <a:lnTo>
                    <a:pt x="1180" y="640"/>
                  </a:lnTo>
                  <a:lnTo>
                    <a:pt x="1175" y="640"/>
                  </a:lnTo>
                  <a:lnTo>
                    <a:pt x="1171" y="640"/>
                  </a:lnTo>
                  <a:lnTo>
                    <a:pt x="1157" y="640"/>
                  </a:lnTo>
                  <a:lnTo>
                    <a:pt x="1152" y="640"/>
                  </a:lnTo>
                  <a:lnTo>
                    <a:pt x="1148" y="640"/>
                  </a:lnTo>
                  <a:lnTo>
                    <a:pt x="1143" y="640"/>
                  </a:lnTo>
                  <a:lnTo>
                    <a:pt x="1143" y="635"/>
                  </a:lnTo>
                  <a:lnTo>
                    <a:pt x="1139" y="635"/>
                  </a:lnTo>
                  <a:lnTo>
                    <a:pt x="1134" y="635"/>
                  </a:lnTo>
                  <a:lnTo>
                    <a:pt x="1129" y="635"/>
                  </a:lnTo>
                  <a:lnTo>
                    <a:pt x="1125" y="631"/>
                  </a:lnTo>
                  <a:lnTo>
                    <a:pt x="1120" y="626"/>
                  </a:lnTo>
                  <a:lnTo>
                    <a:pt x="1116" y="626"/>
                  </a:lnTo>
                  <a:lnTo>
                    <a:pt x="1116" y="622"/>
                  </a:lnTo>
                  <a:lnTo>
                    <a:pt x="1111" y="622"/>
                  </a:lnTo>
                  <a:lnTo>
                    <a:pt x="1107" y="622"/>
                  </a:lnTo>
                  <a:lnTo>
                    <a:pt x="1102" y="617"/>
                  </a:lnTo>
                  <a:lnTo>
                    <a:pt x="1102" y="617"/>
                  </a:lnTo>
                  <a:lnTo>
                    <a:pt x="1097" y="612"/>
                  </a:lnTo>
                  <a:lnTo>
                    <a:pt x="1093" y="608"/>
                  </a:lnTo>
                  <a:lnTo>
                    <a:pt x="1088" y="603"/>
                  </a:lnTo>
                  <a:lnTo>
                    <a:pt x="1084" y="603"/>
                  </a:lnTo>
                  <a:lnTo>
                    <a:pt x="1084" y="599"/>
                  </a:lnTo>
                  <a:lnTo>
                    <a:pt x="1079" y="599"/>
                  </a:lnTo>
                  <a:lnTo>
                    <a:pt x="1079" y="599"/>
                  </a:lnTo>
                  <a:lnTo>
                    <a:pt x="1075" y="599"/>
                  </a:lnTo>
                  <a:lnTo>
                    <a:pt x="1070" y="599"/>
                  </a:lnTo>
                  <a:lnTo>
                    <a:pt x="1065" y="599"/>
                  </a:lnTo>
                  <a:lnTo>
                    <a:pt x="1061" y="599"/>
                  </a:lnTo>
                  <a:lnTo>
                    <a:pt x="1056" y="599"/>
                  </a:lnTo>
                  <a:lnTo>
                    <a:pt x="1056" y="599"/>
                  </a:lnTo>
                  <a:lnTo>
                    <a:pt x="1052" y="603"/>
                  </a:lnTo>
                  <a:lnTo>
                    <a:pt x="1047" y="608"/>
                  </a:lnTo>
                  <a:lnTo>
                    <a:pt x="1043" y="608"/>
                  </a:lnTo>
                  <a:lnTo>
                    <a:pt x="1043" y="612"/>
                  </a:lnTo>
                  <a:lnTo>
                    <a:pt x="1038" y="622"/>
                  </a:lnTo>
                  <a:lnTo>
                    <a:pt x="1038" y="622"/>
                  </a:lnTo>
                  <a:lnTo>
                    <a:pt x="1038" y="626"/>
                  </a:lnTo>
                  <a:lnTo>
                    <a:pt x="1033" y="626"/>
                  </a:lnTo>
                  <a:lnTo>
                    <a:pt x="1033" y="631"/>
                  </a:lnTo>
                  <a:lnTo>
                    <a:pt x="1029" y="635"/>
                  </a:lnTo>
                  <a:lnTo>
                    <a:pt x="1024" y="640"/>
                  </a:lnTo>
                  <a:lnTo>
                    <a:pt x="1020" y="640"/>
                  </a:lnTo>
                  <a:lnTo>
                    <a:pt x="1020" y="640"/>
                  </a:lnTo>
                  <a:lnTo>
                    <a:pt x="1015" y="640"/>
                  </a:lnTo>
                  <a:lnTo>
                    <a:pt x="1015" y="644"/>
                  </a:lnTo>
                  <a:lnTo>
                    <a:pt x="1015" y="644"/>
                  </a:lnTo>
                  <a:lnTo>
                    <a:pt x="1015" y="649"/>
                  </a:lnTo>
                  <a:lnTo>
                    <a:pt x="1011" y="649"/>
                  </a:lnTo>
                  <a:lnTo>
                    <a:pt x="1006" y="654"/>
                  </a:lnTo>
                  <a:lnTo>
                    <a:pt x="1001" y="654"/>
                  </a:lnTo>
                  <a:lnTo>
                    <a:pt x="1001" y="658"/>
                  </a:lnTo>
                  <a:lnTo>
                    <a:pt x="1001" y="663"/>
                  </a:lnTo>
                  <a:lnTo>
                    <a:pt x="997" y="663"/>
                  </a:lnTo>
                  <a:lnTo>
                    <a:pt x="997" y="663"/>
                  </a:lnTo>
                  <a:lnTo>
                    <a:pt x="997" y="667"/>
                  </a:lnTo>
                  <a:lnTo>
                    <a:pt x="1001" y="681"/>
                  </a:lnTo>
                  <a:lnTo>
                    <a:pt x="1001" y="686"/>
                  </a:lnTo>
                  <a:lnTo>
                    <a:pt x="1006" y="686"/>
                  </a:lnTo>
                  <a:lnTo>
                    <a:pt x="1006" y="690"/>
                  </a:lnTo>
                  <a:lnTo>
                    <a:pt x="1011" y="695"/>
                  </a:lnTo>
                  <a:lnTo>
                    <a:pt x="1011" y="699"/>
                  </a:lnTo>
                  <a:lnTo>
                    <a:pt x="1015" y="704"/>
                  </a:lnTo>
                  <a:lnTo>
                    <a:pt x="1015" y="704"/>
                  </a:lnTo>
                  <a:lnTo>
                    <a:pt x="1024" y="704"/>
                  </a:lnTo>
                  <a:lnTo>
                    <a:pt x="1029" y="704"/>
                  </a:lnTo>
                  <a:lnTo>
                    <a:pt x="1033" y="704"/>
                  </a:lnTo>
                  <a:lnTo>
                    <a:pt x="1033" y="708"/>
                  </a:lnTo>
                  <a:lnTo>
                    <a:pt x="1038" y="708"/>
                  </a:lnTo>
                  <a:lnTo>
                    <a:pt x="1038" y="713"/>
                  </a:lnTo>
                  <a:lnTo>
                    <a:pt x="1038" y="718"/>
                  </a:lnTo>
                  <a:lnTo>
                    <a:pt x="1038" y="727"/>
                  </a:lnTo>
                  <a:lnTo>
                    <a:pt x="1038" y="731"/>
                  </a:lnTo>
                  <a:lnTo>
                    <a:pt x="1043" y="731"/>
                  </a:lnTo>
                  <a:lnTo>
                    <a:pt x="1043" y="736"/>
                  </a:lnTo>
                  <a:lnTo>
                    <a:pt x="1047" y="736"/>
                  </a:lnTo>
                  <a:lnTo>
                    <a:pt x="1052" y="736"/>
                  </a:lnTo>
                  <a:lnTo>
                    <a:pt x="1056" y="736"/>
                  </a:lnTo>
                  <a:lnTo>
                    <a:pt x="1056" y="736"/>
                  </a:lnTo>
                  <a:lnTo>
                    <a:pt x="1065" y="731"/>
                  </a:lnTo>
                  <a:lnTo>
                    <a:pt x="1070" y="731"/>
                  </a:lnTo>
                  <a:lnTo>
                    <a:pt x="1075" y="731"/>
                  </a:lnTo>
                  <a:lnTo>
                    <a:pt x="1079" y="736"/>
                  </a:lnTo>
                  <a:lnTo>
                    <a:pt x="1079" y="740"/>
                  </a:lnTo>
                  <a:lnTo>
                    <a:pt x="1079" y="745"/>
                  </a:lnTo>
                  <a:lnTo>
                    <a:pt x="1079" y="750"/>
                  </a:lnTo>
                  <a:lnTo>
                    <a:pt x="1079" y="759"/>
                  </a:lnTo>
                  <a:lnTo>
                    <a:pt x="1075" y="763"/>
                  </a:lnTo>
                  <a:lnTo>
                    <a:pt x="1075" y="768"/>
                  </a:lnTo>
                  <a:lnTo>
                    <a:pt x="1075" y="772"/>
                  </a:lnTo>
                  <a:lnTo>
                    <a:pt x="1070" y="772"/>
                  </a:lnTo>
                  <a:lnTo>
                    <a:pt x="1070" y="772"/>
                  </a:lnTo>
                  <a:lnTo>
                    <a:pt x="1065" y="777"/>
                  </a:lnTo>
                  <a:lnTo>
                    <a:pt x="1065" y="772"/>
                  </a:lnTo>
                  <a:lnTo>
                    <a:pt x="1065" y="772"/>
                  </a:lnTo>
                  <a:lnTo>
                    <a:pt x="1061" y="768"/>
                  </a:lnTo>
                  <a:lnTo>
                    <a:pt x="1061" y="763"/>
                  </a:lnTo>
                  <a:lnTo>
                    <a:pt x="1056" y="759"/>
                  </a:lnTo>
                  <a:lnTo>
                    <a:pt x="1056" y="759"/>
                  </a:lnTo>
                  <a:lnTo>
                    <a:pt x="1052" y="759"/>
                  </a:lnTo>
                  <a:lnTo>
                    <a:pt x="1047" y="754"/>
                  </a:lnTo>
                  <a:lnTo>
                    <a:pt x="1043" y="754"/>
                  </a:lnTo>
                  <a:lnTo>
                    <a:pt x="1038" y="754"/>
                  </a:lnTo>
                  <a:lnTo>
                    <a:pt x="1033" y="754"/>
                  </a:lnTo>
                  <a:lnTo>
                    <a:pt x="1029" y="754"/>
                  </a:lnTo>
                  <a:lnTo>
                    <a:pt x="1015" y="759"/>
                  </a:lnTo>
                  <a:lnTo>
                    <a:pt x="1015" y="759"/>
                  </a:lnTo>
                  <a:lnTo>
                    <a:pt x="1015" y="763"/>
                  </a:lnTo>
                  <a:lnTo>
                    <a:pt x="1011" y="768"/>
                  </a:lnTo>
                  <a:lnTo>
                    <a:pt x="1011" y="772"/>
                  </a:lnTo>
                  <a:lnTo>
                    <a:pt x="1011" y="777"/>
                  </a:lnTo>
                  <a:lnTo>
                    <a:pt x="1011" y="782"/>
                  </a:lnTo>
                  <a:lnTo>
                    <a:pt x="1011" y="786"/>
                  </a:lnTo>
                  <a:lnTo>
                    <a:pt x="1006" y="786"/>
                  </a:lnTo>
                  <a:lnTo>
                    <a:pt x="1006" y="791"/>
                  </a:lnTo>
                  <a:lnTo>
                    <a:pt x="1001" y="795"/>
                  </a:lnTo>
                  <a:lnTo>
                    <a:pt x="997" y="795"/>
                  </a:lnTo>
                  <a:lnTo>
                    <a:pt x="992" y="795"/>
                  </a:lnTo>
                  <a:lnTo>
                    <a:pt x="992" y="800"/>
                  </a:lnTo>
                  <a:lnTo>
                    <a:pt x="988" y="800"/>
                  </a:lnTo>
                  <a:lnTo>
                    <a:pt x="979" y="800"/>
                  </a:lnTo>
                  <a:lnTo>
                    <a:pt x="969" y="800"/>
                  </a:lnTo>
                  <a:lnTo>
                    <a:pt x="969" y="795"/>
                  </a:lnTo>
                  <a:lnTo>
                    <a:pt x="965" y="795"/>
                  </a:lnTo>
                  <a:lnTo>
                    <a:pt x="960" y="795"/>
                  </a:lnTo>
                  <a:lnTo>
                    <a:pt x="960" y="795"/>
                  </a:lnTo>
                  <a:lnTo>
                    <a:pt x="956" y="795"/>
                  </a:lnTo>
                  <a:lnTo>
                    <a:pt x="951" y="795"/>
                  </a:lnTo>
                  <a:lnTo>
                    <a:pt x="947" y="791"/>
                  </a:lnTo>
                  <a:lnTo>
                    <a:pt x="947" y="786"/>
                  </a:lnTo>
                  <a:lnTo>
                    <a:pt x="942" y="786"/>
                  </a:lnTo>
                  <a:lnTo>
                    <a:pt x="942" y="782"/>
                  </a:lnTo>
                  <a:lnTo>
                    <a:pt x="937" y="777"/>
                  </a:lnTo>
                  <a:lnTo>
                    <a:pt x="933" y="772"/>
                  </a:lnTo>
                  <a:lnTo>
                    <a:pt x="928" y="772"/>
                  </a:lnTo>
                  <a:lnTo>
                    <a:pt x="924" y="772"/>
                  </a:lnTo>
                  <a:lnTo>
                    <a:pt x="919" y="772"/>
                  </a:lnTo>
                  <a:lnTo>
                    <a:pt x="915" y="772"/>
                  </a:lnTo>
                  <a:lnTo>
                    <a:pt x="915" y="777"/>
                  </a:lnTo>
                  <a:lnTo>
                    <a:pt x="910" y="777"/>
                  </a:lnTo>
                  <a:lnTo>
                    <a:pt x="910" y="782"/>
                  </a:lnTo>
                  <a:lnTo>
                    <a:pt x="905" y="782"/>
                  </a:lnTo>
                  <a:lnTo>
                    <a:pt x="905" y="782"/>
                  </a:lnTo>
                  <a:lnTo>
                    <a:pt x="901" y="782"/>
                  </a:lnTo>
                  <a:lnTo>
                    <a:pt x="896" y="777"/>
                  </a:lnTo>
                  <a:lnTo>
                    <a:pt x="892" y="777"/>
                  </a:lnTo>
                  <a:lnTo>
                    <a:pt x="887" y="772"/>
                  </a:lnTo>
                  <a:lnTo>
                    <a:pt x="883" y="772"/>
                  </a:lnTo>
                  <a:lnTo>
                    <a:pt x="883" y="772"/>
                  </a:lnTo>
                  <a:lnTo>
                    <a:pt x="878" y="772"/>
                  </a:lnTo>
                  <a:lnTo>
                    <a:pt x="864" y="777"/>
                  </a:lnTo>
                  <a:lnTo>
                    <a:pt x="860" y="777"/>
                  </a:lnTo>
                  <a:lnTo>
                    <a:pt x="860" y="777"/>
                  </a:lnTo>
                  <a:lnTo>
                    <a:pt x="860" y="772"/>
                  </a:lnTo>
                  <a:lnTo>
                    <a:pt x="855" y="772"/>
                  </a:lnTo>
                  <a:lnTo>
                    <a:pt x="855" y="772"/>
                  </a:lnTo>
                  <a:lnTo>
                    <a:pt x="851" y="768"/>
                  </a:lnTo>
                  <a:lnTo>
                    <a:pt x="851" y="763"/>
                  </a:lnTo>
                  <a:lnTo>
                    <a:pt x="846" y="759"/>
                  </a:lnTo>
                  <a:lnTo>
                    <a:pt x="841" y="759"/>
                  </a:lnTo>
                  <a:lnTo>
                    <a:pt x="837" y="759"/>
                  </a:lnTo>
                  <a:lnTo>
                    <a:pt x="837" y="754"/>
                  </a:lnTo>
                  <a:lnTo>
                    <a:pt x="828" y="754"/>
                  </a:lnTo>
                  <a:lnTo>
                    <a:pt x="823" y="754"/>
                  </a:lnTo>
                  <a:lnTo>
                    <a:pt x="819" y="754"/>
                  </a:lnTo>
                  <a:lnTo>
                    <a:pt x="819" y="759"/>
                  </a:lnTo>
                  <a:lnTo>
                    <a:pt x="814" y="763"/>
                  </a:lnTo>
                  <a:lnTo>
                    <a:pt x="809" y="763"/>
                  </a:lnTo>
                  <a:lnTo>
                    <a:pt x="805" y="768"/>
                  </a:lnTo>
                  <a:lnTo>
                    <a:pt x="800" y="768"/>
                  </a:lnTo>
                  <a:lnTo>
                    <a:pt x="796" y="763"/>
                  </a:lnTo>
                  <a:lnTo>
                    <a:pt x="796" y="763"/>
                  </a:lnTo>
                  <a:lnTo>
                    <a:pt x="791" y="763"/>
                  </a:lnTo>
                  <a:lnTo>
                    <a:pt x="787" y="763"/>
                  </a:lnTo>
                  <a:lnTo>
                    <a:pt x="782" y="763"/>
                  </a:lnTo>
                  <a:lnTo>
                    <a:pt x="782" y="768"/>
                  </a:lnTo>
                  <a:lnTo>
                    <a:pt x="777" y="768"/>
                  </a:lnTo>
                  <a:lnTo>
                    <a:pt x="773" y="768"/>
                  </a:lnTo>
                  <a:lnTo>
                    <a:pt x="773" y="768"/>
                  </a:lnTo>
                  <a:lnTo>
                    <a:pt x="773" y="772"/>
                  </a:lnTo>
                  <a:lnTo>
                    <a:pt x="768" y="772"/>
                  </a:lnTo>
                  <a:lnTo>
                    <a:pt x="755" y="772"/>
                  </a:lnTo>
                  <a:lnTo>
                    <a:pt x="750" y="772"/>
                  </a:lnTo>
                  <a:lnTo>
                    <a:pt x="750" y="772"/>
                  </a:lnTo>
                  <a:lnTo>
                    <a:pt x="750" y="772"/>
                  </a:lnTo>
                  <a:lnTo>
                    <a:pt x="741" y="772"/>
                  </a:lnTo>
                  <a:lnTo>
                    <a:pt x="736" y="772"/>
                  </a:lnTo>
                  <a:lnTo>
                    <a:pt x="732" y="768"/>
                  </a:lnTo>
                  <a:lnTo>
                    <a:pt x="727" y="772"/>
                  </a:lnTo>
                  <a:lnTo>
                    <a:pt x="727" y="772"/>
                  </a:lnTo>
                  <a:lnTo>
                    <a:pt x="723" y="772"/>
                  </a:lnTo>
                  <a:lnTo>
                    <a:pt x="713" y="772"/>
                  </a:lnTo>
                  <a:lnTo>
                    <a:pt x="709" y="772"/>
                  </a:lnTo>
                  <a:lnTo>
                    <a:pt x="704" y="772"/>
                  </a:lnTo>
                  <a:lnTo>
                    <a:pt x="700" y="772"/>
                  </a:lnTo>
                  <a:lnTo>
                    <a:pt x="691" y="768"/>
                  </a:lnTo>
                  <a:lnTo>
                    <a:pt x="686" y="763"/>
                  </a:lnTo>
                  <a:lnTo>
                    <a:pt x="681" y="759"/>
                  </a:lnTo>
                  <a:lnTo>
                    <a:pt x="677" y="750"/>
                  </a:lnTo>
                  <a:lnTo>
                    <a:pt x="672" y="750"/>
                  </a:lnTo>
                  <a:lnTo>
                    <a:pt x="672" y="750"/>
                  </a:lnTo>
                  <a:lnTo>
                    <a:pt x="672" y="745"/>
                  </a:lnTo>
                  <a:lnTo>
                    <a:pt x="668" y="736"/>
                  </a:lnTo>
                  <a:lnTo>
                    <a:pt x="672" y="731"/>
                  </a:lnTo>
                  <a:lnTo>
                    <a:pt x="668" y="727"/>
                  </a:lnTo>
                  <a:lnTo>
                    <a:pt x="668" y="722"/>
                  </a:lnTo>
                  <a:lnTo>
                    <a:pt x="663" y="718"/>
                  </a:lnTo>
                  <a:lnTo>
                    <a:pt x="663" y="713"/>
                  </a:lnTo>
                  <a:lnTo>
                    <a:pt x="663" y="708"/>
                  </a:lnTo>
                  <a:lnTo>
                    <a:pt x="663" y="708"/>
                  </a:lnTo>
                  <a:lnTo>
                    <a:pt x="659" y="704"/>
                  </a:lnTo>
                  <a:lnTo>
                    <a:pt x="654" y="699"/>
                  </a:lnTo>
                  <a:lnTo>
                    <a:pt x="649" y="699"/>
                  </a:lnTo>
                  <a:lnTo>
                    <a:pt x="645" y="695"/>
                  </a:lnTo>
                  <a:lnTo>
                    <a:pt x="640" y="690"/>
                  </a:lnTo>
                  <a:lnTo>
                    <a:pt x="640" y="686"/>
                  </a:lnTo>
                  <a:lnTo>
                    <a:pt x="640" y="686"/>
                  </a:lnTo>
                  <a:lnTo>
                    <a:pt x="631" y="681"/>
                  </a:lnTo>
                  <a:lnTo>
                    <a:pt x="631" y="676"/>
                  </a:lnTo>
                  <a:lnTo>
                    <a:pt x="627" y="672"/>
                  </a:lnTo>
                  <a:lnTo>
                    <a:pt x="617" y="667"/>
                  </a:lnTo>
                  <a:lnTo>
                    <a:pt x="617" y="663"/>
                  </a:lnTo>
                  <a:lnTo>
                    <a:pt x="617" y="658"/>
                  </a:lnTo>
                  <a:lnTo>
                    <a:pt x="613" y="658"/>
                  </a:lnTo>
                  <a:lnTo>
                    <a:pt x="608" y="649"/>
                  </a:lnTo>
                  <a:lnTo>
                    <a:pt x="608" y="644"/>
                  </a:lnTo>
                  <a:lnTo>
                    <a:pt x="604" y="640"/>
                  </a:lnTo>
                  <a:lnTo>
                    <a:pt x="599" y="635"/>
                  </a:lnTo>
                  <a:lnTo>
                    <a:pt x="599" y="631"/>
                  </a:lnTo>
                  <a:lnTo>
                    <a:pt x="599" y="626"/>
                  </a:lnTo>
                  <a:lnTo>
                    <a:pt x="595" y="622"/>
                  </a:lnTo>
                  <a:lnTo>
                    <a:pt x="590" y="612"/>
                  </a:lnTo>
                  <a:lnTo>
                    <a:pt x="585" y="603"/>
                  </a:lnTo>
                  <a:lnTo>
                    <a:pt x="585" y="599"/>
                  </a:lnTo>
                  <a:lnTo>
                    <a:pt x="581" y="599"/>
                  </a:lnTo>
                  <a:lnTo>
                    <a:pt x="581" y="599"/>
                  </a:lnTo>
                  <a:lnTo>
                    <a:pt x="576" y="594"/>
                  </a:lnTo>
                  <a:lnTo>
                    <a:pt x="576" y="590"/>
                  </a:lnTo>
                  <a:lnTo>
                    <a:pt x="576" y="585"/>
                  </a:lnTo>
                  <a:lnTo>
                    <a:pt x="572" y="580"/>
                  </a:lnTo>
                  <a:lnTo>
                    <a:pt x="572" y="576"/>
                  </a:lnTo>
                  <a:lnTo>
                    <a:pt x="567" y="576"/>
                  </a:lnTo>
                  <a:lnTo>
                    <a:pt x="563" y="567"/>
                  </a:lnTo>
                  <a:lnTo>
                    <a:pt x="558" y="558"/>
                  </a:lnTo>
                  <a:lnTo>
                    <a:pt x="553" y="558"/>
                  </a:lnTo>
                  <a:lnTo>
                    <a:pt x="553" y="553"/>
                  </a:lnTo>
                  <a:lnTo>
                    <a:pt x="553" y="553"/>
                  </a:lnTo>
                  <a:lnTo>
                    <a:pt x="553" y="553"/>
                  </a:lnTo>
                  <a:lnTo>
                    <a:pt x="553" y="548"/>
                  </a:lnTo>
                  <a:lnTo>
                    <a:pt x="553" y="544"/>
                  </a:lnTo>
                  <a:lnTo>
                    <a:pt x="549" y="539"/>
                  </a:lnTo>
                  <a:lnTo>
                    <a:pt x="549" y="535"/>
                  </a:lnTo>
                  <a:lnTo>
                    <a:pt x="544" y="530"/>
                  </a:lnTo>
                  <a:lnTo>
                    <a:pt x="544" y="526"/>
                  </a:lnTo>
                  <a:lnTo>
                    <a:pt x="544" y="521"/>
                  </a:lnTo>
                  <a:lnTo>
                    <a:pt x="544" y="512"/>
                  </a:lnTo>
                  <a:lnTo>
                    <a:pt x="544" y="507"/>
                  </a:lnTo>
                  <a:lnTo>
                    <a:pt x="544" y="503"/>
                  </a:lnTo>
                  <a:lnTo>
                    <a:pt x="544" y="498"/>
                  </a:lnTo>
                  <a:lnTo>
                    <a:pt x="544" y="494"/>
                  </a:lnTo>
                  <a:lnTo>
                    <a:pt x="544" y="489"/>
                  </a:lnTo>
                  <a:lnTo>
                    <a:pt x="549" y="489"/>
                  </a:lnTo>
                  <a:lnTo>
                    <a:pt x="553" y="489"/>
                  </a:lnTo>
                  <a:lnTo>
                    <a:pt x="553" y="484"/>
                  </a:lnTo>
                  <a:lnTo>
                    <a:pt x="553" y="480"/>
                  </a:lnTo>
                  <a:lnTo>
                    <a:pt x="553" y="480"/>
                  </a:lnTo>
                  <a:lnTo>
                    <a:pt x="553" y="475"/>
                  </a:lnTo>
                  <a:lnTo>
                    <a:pt x="558" y="471"/>
                  </a:lnTo>
                  <a:lnTo>
                    <a:pt x="558" y="466"/>
                  </a:lnTo>
                  <a:lnTo>
                    <a:pt x="563" y="466"/>
                  </a:lnTo>
                  <a:lnTo>
                    <a:pt x="567" y="457"/>
                  </a:lnTo>
                  <a:lnTo>
                    <a:pt x="576" y="452"/>
                  </a:lnTo>
                  <a:lnTo>
                    <a:pt x="576" y="448"/>
                  </a:lnTo>
                  <a:lnTo>
                    <a:pt x="576" y="443"/>
                  </a:lnTo>
                  <a:lnTo>
                    <a:pt x="581" y="443"/>
                  </a:lnTo>
                  <a:lnTo>
                    <a:pt x="585" y="443"/>
                  </a:lnTo>
                  <a:lnTo>
                    <a:pt x="599" y="434"/>
                  </a:lnTo>
                  <a:lnTo>
                    <a:pt x="604" y="430"/>
                  </a:lnTo>
                  <a:lnTo>
                    <a:pt x="604" y="425"/>
                  </a:lnTo>
                  <a:lnTo>
                    <a:pt x="608" y="425"/>
                  </a:lnTo>
                  <a:lnTo>
                    <a:pt x="608" y="420"/>
                  </a:lnTo>
                  <a:lnTo>
                    <a:pt x="608" y="420"/>
                  </a:lnTo>
                  <a:lnTo>
                    <a:pt x="608" y="416"/>
                  </a:lnTo>
                  <a:lnTo>
                    <a:pt x="604" y="411"/>
                  </a:lnTo>
                  <a:lnTo>
                    <a:pt x="599" y="407"/>
                  </a:lnTo>
                  <a:lnTo>
                    <a:pt x="599" y="402"/>
                  </a:lnTo>
                  <a:lnTo>
                    <a:pt x="590" y="407"/>
                  </a:lnTo>
                  <a:lnTo>
                    <a:pt x="585" y="407"/>
                  </a:lnTo>
                  <a:lnTo>
                    <a:pt x="585" y="411"/>
                  </a:lnTo>
                  <a:lnTo>
                    <a:pt x="581" y="411"/>
                  </a:lnTo>
                  <a:lnTo>
                    <a:pt x="576" y="411"/>
                  </a:lnTo>
                  <a:lnTo>
                    <a:pt x="576" y="416"/>
                  </a:lnTo>
                  <a:lnTo>
                    <a:pt x="576" y="416"/>
                  </a:lnTo>
                  <a:lnTo>
                    <a:pt x="576" y="420"/>
                  </a:lnTo>
                  <a:lnTo>
                    <a:pt x="567" y="420"/>
                  </a:lnTo>
                  <a:lnTo>
                    <a:pt x="558" y="425"/>
                  </a:lnTo>
                  <a:lnTo>
                    <a:pt x="558" y="430"/>
                  </a:lnTo>
                  <a:lnTo>
                    <a:pt x="553" y="434"/>
                  </a:lnTo>
                  <a:lnTo>
                    <a:pt x="553" y="439"/>
                  </a:lnTo>
                  <a:lnTo>
                    <a:pt x="549" y="439"/>
                  </a:lnTo>
                  <a:lnTo>
                    <a:pt x="544" y="439"/>
                  </a:lnTo>
                  <a:lnTo>
                    <a:pt x="540" y="439"/>
                  </a:lnTo>
                  <a:lnTo>
                    <a:pt x="535" y="434"/>
                  </a:lnTo>
                  <a:lnTo>
                    <a:pt x="531" y="434"/>
                  </a:lnTo>
                  <a:lnTo>
                    <a:pt x="531" y="430"/>
                  </a:lnTo>
                  <a:lnTo>
                    <a:pt x="526" y="430"/>
                  </a:lnTo>
                  <a:lnTo>
                    <a:pt x="521" y="425"/>
                  </a:lnTo>
                  <a:lnTo>
                    <a:pt x="517" y="425"/>
                  </a:lnTo>
                  <a:lnTo>
                    <a:pt x="512" y="420"/>
                  </a:lnTo>
                  <a:lnTo>
                    <a:pt x="512" y="420"/>
                  </a:lnTo>
                  <a:lnTo>
                    <a:pt x="508" y="420"/>
                  </a:lnTo>
                  <a:lnTo>
                    <a:pt x="508" y="416"/>
                  </a:lnTo>
                  <a:lnTo>
                    <a:pt x="503" y="407"/>
                  </a:lnTo>
                  <a:lnTo>
                    <a:pt x="499" y="407"/>
                  </a:lnTo>
                  <a:lnTo>
                    <a:pt x="499" y="402"/>
                  </a:lnTo>
                  <a:lnTo>
                    <a:pt x="494" y="402"/>
                  </a:lnTo>
                  <a:lnTo>
                    <a:pt x="494" y="402"/>
                  </a:lnTo>
                  <a:lnTo>
                    <a:pt x="489" y="398"/>
                  </a:lnTo>
                  <a:lnTo>
                    <a:pt x="485" y="398"/>
                  </a:lnTo>
                  <a:lnTo>
                    <a:pt x="485" y="393"/>
                  </a:lnTo>
                  <a:lnTo>
                    <a:pt x="480" y="393"/>
                  </a:lnTo>
                  <a:lnTo>
                    <a:pt x="476" y="388"/>
                  </a:lnTo>
                  <a:lnTo>
                    <a:pt x="476" y="384"/>
                  </a:lnTo>
                  <a:lnTo>
                    <a:pt x="471" y="379"/>
                  </a:lnTo>
                  <a:lnTo>
                    <a:pt x="476" y="375"/>
                  </a:lnTo>
                  <a:lnTo>
                    <a:pt x="471" y="375"/>
                  </a:lnTo>
                  <a:lnTo>
                    <a:pt x="471" y="370"/>
                  </a:lnTo>
                  <a:lnTo>
                    <a:pt x="467" y="365"/>
                  </a:lnTo>
                  <a:lnTo>
                    <a:pt x="467" y="361"/>
                  </a:lnTo>
                  <a:lnTo>
                    <a:pt x="467" y="356"/>
                  </a:lnTo>
                  <a:lnTo>
                    <a:pt x="467" y="356"/>
                  </a:lnTo>
                  <a:lnTo>
                    <a:pt x="467" y="356"/>
                  </a:lnTo>
                  <a:lnTo>
                    <a:pt x="453" y="347"/>
                  </a:lnTo>
                  <a:lnTo>
                    <a:pt x="448" y="343"/>
                  </a:lnTo>
                  <a:lnTo>
                    <a:pt x="444" y="338"/>
                  </a:lnTo>
                  <a:lnTo>
                    <a:pt x="444" y="338"/>
                  </a:lnTo>
                  <a:lnTo>
                    <a:pt x="435" y="338"/>
                  </a:lnTo>
                  <a:lnTo>
                    <a:pt x="430" y="338"/>
                  </a:lnTo>
                  <a:lnTo>
                    <a:pt x="425" y="338"/>
                  </a:lnTo>
                  <a:lnTo>
                    <a:pt x="421" y="338"/>
                  </a:lnTo>
                  <a:lnTo>
                    <a:pt x="421" y="338"/>
                  </a:lnTo>
                  <a:lnTo>
                    <a:pt x="421" y="343"/>
                  </a:lnTo>
                  <a:lnTo>
                    <a:pt x="416" y="343"/>
                  </a:lnTo>
                  <a:lnTo>
                    <a:pt x="412" y="343"/>
                  </a:lnTo>
                  <a:lnTo>
                    <a:pt x="412" y="347"/>
                  </a:lnTo>
                  <a:lnTo>
                    <a:pt x="407" y="347"/>
                  </a:lnTo>
                  <a:lnTo>
                    <a:pt x="403" y="347"/>
                  </a:lnTo>
                  <a:lnTo>
                    <a:pt x="403" y="352"/>
                  </a:lnTo>
                  <a:lnTo>
                    <a:pt x="398" y="356"/>
                  </a:lnTo>
                  <a:lnTo>
                    <a:pt x="398" y="356"/>
                  </a:lnTo>
                  <a:lnTo>
                    <a:pt x="389" y="361"/>
                  </a:lnTo>
                  <a:lnTo>
                    <a:pt x="389" y="365"/>
                  </a:lnTo>
                  <a:lnTo>
                    <a:pt x="384" y="370"/>
                  </a:lnTo>
                  <a:lnTo>
                    <a:pt x="384" y="375"/>
                  </a:lnTo>
                  <a:lnTo>
                    <a:pt x="384" y="379"/>
                  </a:lnTo>
                  <a:lnTo>
                    <a:pt x="384" y="379"/>
                  </a:lnTo>
                  <a:lnTo>
                    <a:pt x="384" y="384"/>
                  </a:lnTo>
                  <a:lnTo>
                    <a:pt x="384" y="393"/>
                  </a:lnTo>
                  <a:lnTo>
                    <a:pt x="380" y="398"/>
                  </a:lnTo>
                  <a:lnTo>
                    <a:pt x="380" y="402"/>
                  </a:lnTo>
                  <a:lnTo>
                    <a:pt x="380" y="402"/>
                  </a:lnTo>
                  <a:lnTo>
                    <a:pt x="380" y="402"/>
                  </a:lnTo>
                  <a:lnTo>
                    <a:pt x="375" y="407"/>
                  </a:lnTo>
                  <a:lnTo>
                    <a:pt x="371" y="407"/>
                  </a:lnTo>
                  <a:lnTo>
                    <a:pt x="371" y="411"/>
                  </a:lnTo>
                  <a:lnTo>
                    <a:pt x="366" y="411"/>
                  </a:lnTo>
                  <a:lnTo>
                    <a:pt x="366" y="416"/>
                  </a:lnTo>
                  <a:lnTo>
                    <a:pt x="361" y="416"/>
                  </a:lnTo>
                  <a:lnTo>
                    <a:pt x="357" y="416"/>
                  </a:lnTo>
                  <a:lnTo>
                    <a:pt x="357" y="420"/>
                  </a:lnTo>
                  <a:lnTo>
                    <a:pt x="357" y="420"/>
                  </a:lnTo>
                  <a:lnTo>
                    <a:pt x="352" y="420"/>
                  </a:lnTo>
                  <a:lnTo>
                    <a:pt x="348" y="420"/>
                  </a:lnTo>
                  <a:lnTo>
                    <a:pt x="348" y="425"/>
                  </a:lnTo>
                  <a:lnTo>
                    <a:pt x="343" y="425"/>
                  </a:lnTo>
                  <a:lnTo>
                    <a:pt x="339" y="425"/>
                  </a:lnTo>
                  <a:lnTo>
                    <a:pt x="329" y="434"/>
                  </a:lnTo>
                  <a:lnTo>
                    <a:pt x="320" y="439"/>
                  </a:lnTo>
                  <a:lnTo>
                    <a:pt x="307" y="443"/>
                  </a:lnTo>
                  <a:lnTo>
                    <a:pt x="302" y="443"/>
                  </a:lnTo>
                  <a:lnTo>
                    <a:pt x="288" y="443"/>
                  </a:lnTo>
                  <a:lnTo>
                    <a:pt x="288" y="448"/>
                  </a:lnTo>
                  <a:lnTo>
                    <a:pt x="279" y="452"/>
                  </a:lnTo>
                  <a:lnTo>
                    <a:pt x="275" y="452"/>
                  </a:lnTo>
                  <a:lnTo>
                    <a:pt x="270" y="457"/>
                  </a:lnTo>
                  <a:lnTo>
                    <a:pt x="265" y="462"/>
                  </a:lnTo>
                  <a:lnTo>
                    <a:pt x="261" y="462"/>
                  </a:lnTo>
                  <a:lnTo>
                    <a:pt x="256" y="466"/>
                  </a:lnTo>
                  <a:lnTo>
                    <a:pt x="256" y="466"/>
                  </a:lnTo>
                  <a:lnTo>
                    <a:pt x="252" y="466"/>
                  </a:lnTo>
                  <a:lnTo>
                    <a:pt x="247" y="471"/>
                  </a:lnTo>
                  <a:lnTo>
                    <a:pt x="238" y="475"/>
                  </a:lnTo>
                  <a:lnTo>
                    <a:pt x="233" y="475"/>
                  </a:lnTo>
                  <a:lnTo>
                    <a:pt x="229" y="475"/>
                  </a:lnTo>
                  <a:lnTo>
                    <a:pt x="224" y="475"/>
                  </a:lnTo>
                  <a:lnTo>
                    <a:pt x="224" y="475"/>
                  </a:lnTo>
                  <a:lnTo>
                    <a:pt x="220" y="480"/>
                  </a:lnTo>
                  <a:lnTo>
                    <a:pt x="215" y="480"/>
                  </a:lnTo>
                  <a:lnTo>
                    <a:pt x="215" y="484"/>
                  </a:lnTo>
                  <a:lnTo>
                    <a:pt x="206" y="489"/>
                  </a:lnTo>
                  <a:lnTo>
                    <a:pt x="201" y="489"/>
                  </a:lnTo>
                  <a:lnTo>
                    <a:pt x="201" y="489"/>
                  </a:lnTo>
                  <a:lnTo>
                    <a:pt x="197" y="489"/>
                  </a:lnTo>
                  <a:lnTo>
                    <a:pt x="192" y="489"/>
                  </a:lnTo>
                  <a:lnTo>
                    <a:pt x="183" y="489"/>
                  </a:lnTo>
                  <a:lnTo>
                    <a:pt x="179" y="489"/>
                  </a:lnTo>
                  <a:lnTo>
                    <a:pt x="179" y="489"/>
                  </a:lnTo>
                  <a:lnTo>
                    <a:pt x="179" y="489"/>
                  </a:lnTo>
                  <a:lnTo>
                    <a:pt x="174" y="489"/>
                  </a:lnTo>
                  <a:lnTo>
                    <a:pt x="169" y="489"/>
                  </a:lnTo>
                  <a:lnTo>
                    <a:pt x="165" y="489"/>
                  </a:lnTo>
                  <a:lnTo>
                    <a:pt x="160" y="489"/>
                  </a:lnTo>
                  <a:lnTo>
                    <a:pt x="160" y="489"/>
                  </a:lnTo>
                  <a:lnTo>
                    <a:pt x="156" y="489"/>
                  </a:lnTo>
                  <a:lnTo>
                    <a:pt x="151" y="489"/>
                  </a:lnTo>
                  <a:lnTo>
                    <a:pt x="147" y="489"/>
                  </a:lnTo>
                  <a:lnTo>
                    <a:pt x="142" y="489"/>
                  </a:lnTo>
                  <a:lnTo>
                    <a:pt x="137" y="494"/>
                  </a:lnTo>
                  <a:lnTo>
                    <a:pt x="137" y="494"/>
                  </a:lnTo>
                  <a:lnTo>
                    <a:pt x="137" y="498"/>
                  </a:lnTo>
                  <a:lnTo>
                    <a:pt x="133" y="498"/>
                  </a:lnTo>
                  <a:lnTo>
                    <a:pt x="128" y="503"/>
                  </a:lnTo>
                  <a:lnTo>
                    <a:pt x="124" y="503"/>
                  </a:lnTo>
                  <a:lnTo>
                    <a:pt x="119" y="507"/>
                  </a:lnTo>
                  <a:lnTo>
                    <a:pt x="119" y="512"/>
                  </a:lnTo>
                  <a:lnTo>
                    <a:pt x="115" y="512"/>
                  </a:lnTo>
                  <a:lnTo>
                    <a:pt x="115" y="512"/>
                  </a:lnTo>
                  <a:lnTo>
                    <a:pt x="110" y="512"/>
                  </a:lnTo>
                  <a:lnTo>
                    <a:pt x="110" y="516"/>
                  </a:lnTo>
                  <a:lnTo>
                    <a:pt x="105" y="521"/>
                  </a:lnTo>
                  <a:lnTo>
                    <a:pt x="101" y="526"/>
                  </a:lnTo>
                  <a:lnTo>
                    <a:pt x="96" y="526"/>
                  </a:lnTo>
                  <a:lnTo>
                    <a:pt x="92" y="530"/>
                  </a:lnTo>
                  <a:lnTo>
                    <a:pt x="87" y="535"/>
                  </a:lnTo>
                  <a:lnTo>
                    <a:pt x="83" y="535"/>
                  </a:lnTo>
                  <a:lnTo>
                    <a:pt x="78" y="544"/>
                  </a:lnTo>
                  <a:lnTo>
                    <a:pt x="73" y="544"/>
                  </a:lnTo>
                  <a:lnTo>
                    <a:pt x="73" y="548"/>
                  </a:lnTo>
                  <a:lnTo>
                    <a:pt x="69" y="548"/>
                  </a:lnTo>
                  <a:lnTo>
                    <a:pt x="69" y="553"/>
                  </a:lnTo>
                  <a:lnTo>
                    <a:pt x="69" y="553"/>
                  </a:lnTo>
                  <a:lnTo>
                    <a:pt x="69" y="553"/>
                  </a:lnTo>
                  <a:lnTo>
                    <a:pt x="64" y="553"/>
                  </a:lnTo>
                  <a:lnTo>
                    <a:pt x="60" y="558"/>
                  </a:lnTo>
                  <a:lnTo>
                    <a:pt x="55" y="553"/>
                  </a:lnTo>
                  <a:lnTo>
                    <a:pt x="51" y="553"/>
                  </a:lnTo>
                  <a:lnTo>
                    <a:pt x="46" y="553"/>
                  </a:lnTo>
                  <a:lnTo>
                    <a:pt x="37" y="553"/>
                  </a:lnTo>
                  <a:lnTo>
                    <a:pt x="28" y="553"/>
                  </a:lnTo>
                  <a:lnTo>
                    <a:pt x="28" y="553"/>
                  </a:lnTo>
                  <a:lnTo>
                    <a:pt x="23" y="562"/>
                  </a:lnTo>
                  <a:lnTo>
                    <a:pt x="19" y="567"/>
                  </a:lnTo>
                  <a:lnTo>
                    <a:pt x="14" y="571"/>
                  </a:lnTo>
                  <a:lnTo>
                    <a:pt x="9" y="571"/>
                  </a:lnTo>
                  <a:lnTo>
                    <a:pt x="9" y="571"/>
                  </a:lnTo>
                  <a:lnTo>
                    <a:pt x="9" y="567"/>
                  </a:lnTo>
                  <a:lnTo>
                    <a:pt x="9" y="567"/>
                  </a:lnTo>
                  <a:lnTo>
                    <a:pt x="9" y="558"/>
                  </a:lnTo>
                  <a:lnTo>
                    <a:pt x="9" y="553"/>
                  </a:lnTo>
                  <a:lnTo>
                    <a:pt x="9" y="548"/>
                  </a:lnTo>
                  <a:lnTo>
                    <a:pt x="9" y="544"/>
                  </a:lnTo>
                  <a:lnTo>
                    <a:pt x="5" y="544"/>
                  </a:lnTo>
                  <a:lnTo>
                    <a:pt x="5" y="544"/>
                  </a:lnTo>
                  <a:lnTo>
                    <a:pt x="5" y="539"/>
                  </a:lnTo>
                  <a:lnTo>
                    <a:pt x="9" y="539"/>
                  </a:lnTo>
                  <a:lnTo>
                    <a:pt x="9" y="535"/>
                  </a:lnTo>
                  <a:lnTo>
                    <a:pt x="9" y="530"/>
                  </a:lnTo>
                  <a:lnTo>
                    <a:pt x="9" y="526"/>
                  </a:lnTo>
                  <a:lnTo>
                    <a:pt x="9" y="521"/>
                  </a:lnTo>
                  <a:lnTo>
                    <a:pt x="9" y="516"/>
                  </a:lnTo>
                  <a:lnTo>
                    <a:pt x="9" y="512"/>
                  </a:lnTo>
                  <a:lnTo>
                    <a:pt x="9" y="507"/>
                  </a:lnTo>
                  <a:lnTo>
                    <a:pt x="9" y="507"/>
                  </a:lnTo>
                  <a:lnTo>
                    <a:pt x="5" y="503"/>
                  </a:lnTo>
                  <a:lnTo>
                    <a:pt x="5" y="498"/>
                  </a:lnTo>
                  <a:lnTo>
                    <a:pt x="0" y="498"/>
                  </a:lnTo>
                  <a:lnTo>
                    <a:pt x="5" y="494"/>
                  </a:lnTo>
                  <a:lnTo>
                    <a:pt x="5" y="494"/>
                  </a:lnTo>
                  <a:lnTo>
                    <a:pt x="5" y="489"/>
                  </a:lnTo>
                  <a:lnTo>
                    <a:pt x="9" y="489"/>
                  </a:lnTo>
                  <a:lnTo>
                    <a:pt x="14" y="484"/>
                  </a:lnTo>
                  <a:lnTo>
                    <a:pt x="14" y="484"/>
                  </a:lnTo>
                  <a:lnTo>
                    <a:pt x="14" y="484"/>
                  </a:lnTo>
                  <a:lnTo>
                    <a:pt x="14" y="484"/>
                  </a:lnTo>
                  <a:lnTo>
                    <a:pt x="14" y="480"/>
                  </a:lnTo>
                  <a:lnTo>
                    <a:pt x="14" y="475"/>
                  </a:lnTo>
                  <a:lnTo>
                    <a:pt x="14" y="466"/>
                  </a:lnTo>
                  <a:lnTo>
                    <a:pt x="14" y="466"/>
                  </a:lnTo>
                  <a:lnTo>
                    <a:pt x="14" y="466"/>
                  </a:lnTo>
                  <a:lnTo>
                    <a:pt x="14" y="462"/>
                  </a:lnTo>
                  <a:lnTo>
                    <a:pt x="14" y="462"/>
                  </a:lnTo>
                  <a:lnTo>
                    <a:pt x="19" y="462"/>
                  </a:lnTo>
                  <a:lnTo>
                    <a:pt x="19" y="452"/>
                  </a:lnTo>
                  <a:lnTo>
                    <a:pt x="19" y="448"/>
                  </a:lnTo>
                  <a:lnTo>
                    <a:pt x="14" y="448"/>
                  </a:lnTo>
                  <a:lnTo>
                    <a:pt x="14" y="448"/>
                  </a:lnTo>
                  <a:lnTo>
                    <a:pt x="14" y="448"/>
                  </a:lnTo>
                  <a:lnTo>
                    <a:pt x="14" y="448"/>
                  </a:lnTo>
                  <a:lnTo>
                    <a:pt x="14" y="443"/>
                  </a:lnTo>
                  <a:lnTo>
                    <a:pt x="14" y="443"/>
                  </a:lnTo>
                  <a:lnTo>
                    <a:pt x="19" y="443"/>
                  </a:lnTo>
                  <a:lnTo>
                    <a:pt x="19" y="443"/>
                  </a:lnTo>
                  <a:lnTo>
                    <a:pt x="23" y="434"/>
                  </a:lnTo>
                  <a:lnTo>
                    <a:pt x="23" y="430"/>
                  </a:lnTo>
                  <a:lnTo>
                    <a:pt x="19" y="430"/>
                  </a:lnTo>
                  <a:lnTo>
                    <a:pt x="19" y="430"/>
                  </a:lnTo>
                  <a:lnTo>
                    <a:pt x="23" y="425"/>
                  </a:lnTo>
                  <a:lnTo>
                    <a:pt x="23" y="420"/>
                  </a:lnTo>
                  <a:lnTo>
                    <a:pt x="23" y="420"/>
                  </a:lnTo>
                  <a:lnTo>
                    <a:pt x="23" y="420"/>
                  </a:lnTo>
                  <a:lnTo>
                    <a:pt x="23" y="416"/>
                  </a:lnTo>
                  <a:lnTo>
                    <a:pt x="23" y="416"/>
                  </a:lnTo>
                  <a:lnTo>
                    <a:pt x="23" y="416"/>
                  </a:lnTo>
                  <a:lnTo>
                    <a:pt x="23" y="416"/>
                  </a:lnTo>
                  <a:lnTo>
                    <a:pt x="23" y="416"/>
                  </a:lnTo>
                  <a:lnTo>
                    <a:pt x="23" y="411"/>
                  </a:lnTo>
                  <a:lnTo>
                    <a:pt x="23" y="411"/>
                  </a:lnTo>
                  <a:lnTo>
                    <a:pt x="23" y="411"/>
                  </a:lnTo>
                  <a:lnTo>
                    <a:pt x="19" y="407"/>
                  </a:lnTo>
                  <a:lnTo>
                    <a:pt x="19" y="407"/>
                  </a:lnTo>
                  <a:lnTo>
                    <a:pt x="23" y="407"/>
                  </a:lnTo>
                  <a:lnTo>
                    <a:pt x="23" y="402"/>
                  </a:lnTo>
                  <a:lnTo>
                    <a:pt x="23" y="402"/>
                  </a:lnTo>
                  <a:lnTo>
                    <a:pt x="19" y="402"/>
                  </a:lnTo>
                  <a:lnTo>
                    <a:pt x="19" y="402"/>
                  </a:lnTo>
                  <a:lnTo>
                    <a:pt x="19" y="402"/>
                  </a:lnTo>
                  <a:lnTo>
                    <a:pt x="23" y="398"/>
                  </a:lnTo>
                  <a:lnTo>
                    <a:pt x="23" y="398"/>
                  </a:lnTo>
                  <a:lnTo>
                    <a:pt x="23" y="393"/>
                  </a:lnTo>
                  <a:lnTo>
                    <a:pt x="23" y="393"/>
                  </a:lnTo>
                  <a:lnTo>
                    <a:pt x="23" y="393"/>
                  </a:lnTo>
                  <a:lnTo>
                    <a:pt x="23" y="388"/>
                  </a:lnTo>
                  <a:lnTo>
                    <a:pt x="41" y="388"/>
                  </a:lnTo>
                  <a:lnTo>
                    <a:pt x="51" y="388"/>
                  </a:lnTo>
                  <a:lnTo>
                    <a:pt x="55" y="388"/>
                  </a:lnTo>
                  <a:lnTo>
                    <a:pt x="60" y="388"/>
                  </a:lnTo>
                  <a:lnTo>
                    <a:pt x="60" y="384"/>
                  </a:lnTo>
                  <a:lnTo>
                    <a:pt x="64" y="379"/>
                  </a:lnTo>
                  <a:lnTo>
                    <a:pt x="64" y="379"/>
                  </a:lnTo>
                  <a:lnTo>
                    <a:pt x="73" y="379"/>
                  </a:lnTo>
                  <a:lnTo>
                    <a:pt x="87" y="375"/>
                  </a:lnTo>
                  <a:lnTo>
                    <a:pt x="87" y="375"/>
                  </a:lnTo>
                  <a:lnTo>
                    <a:pt x="92" y="379"/>
                  </a:lnTo>
                  <a:lnTo>
                    <a:pt x="101" y="384"/>
                  </a:lnTo>
                  <a:lnTo>
                    <a:pt x="101" y="384"/>
                  </a:lnTo>
                  <a:lnTo>
                    <a:pt x="110" y="384"/>
                  </a:lnTo>
                  <a:lnTo>
                    <a:pt x="110" y="384"/>
                  </a:lnTo>
                  <a:lnTo>
                    <a:pt x="119" y="379"/>
                  </a:lnTo>
                  <a:lnTo>
                    <a:pt x="119" y="379"/>
                  </a:lnTo>
                  <a:lnTo>
                    <a:pt x="124" y="379"/>
                  </a:lnTo>
                  <a:lnTo>
                    <a:pt x="128" y="379"/>
                  </a:lnTo>
                  <a:lnTo>
                    <a:pt x="137" y="375"/>
                  </a:lnTo>
                  <a:lnTo>
                    <a:pt x="137" y="375"/>
                  </a:lnTo>
                  <a:lnTo>
                    <a:pt x="142" y="361"/>
                  </a:lnTo>
                  <a:lnTo>
                    <a:pt x="142" y="352"/>
                  </a:lnTo>
                  <a:lnTo>
                    <a:pt x="151" y="338"/>
                  </a:lnTo>
                  <a:lnTo>
                    <a:pt x="151" y="338"/>
                  </a:lnTo>
                  <a:lnTo>
                    <a:pt x="151" y="329"/>
                  </a:lnTo>
                  <a:lnTo>
                    <a:pt x="151" y="320"/>
                  </a:lnTo>
                  <a:lnTo>
                    <a:pt x="151" y="315"/>
                  </a:lnTo>
                  <a:lnTo>
                    <a:pt x="156" y="315"/>
                  </a:lnTo>
                  <a:lnTo>
                    <a:pt x="160" y="306"/>
                  </a:lnTo>
                  <a:lnTo>
                    <a:pt x="165" y="306"/>
                  </a:lnTo>
                  <a:lnTo>
                    <a:pt x="165" y="301"/>
                  </a:lnTo>
                  <a:lnTo>
                    <a:pt x="165" y="292"/>
                  </a:lnTo>
                  <a:lnTo>
                    <a:pt x="165" y="288"/>
                  </a:lnTo>
                  <a:lnTo>
                    <a:pt x="160" y="283"/>
                  </a:lnTo>
                  <a:lnTo>
                    <a:pt x="165" y="279"/>
                  </a:lnTo>
                  <a:lnTo>
                    <a:pt x="165" y="274"/>
                  </a:lnTo>
                  <a:lnTo>
                    <a:pt x="160" y="269"/>
                  </a:lnTo>
                  <a:lnTo>
                    <a:pt x="156" y="251"/>
                  </a:lnTo>
                  <a:lnTo>
                    <a:pt x="156" y="247"/>
                  </a:lnTo>
                  <a:lnTo>
                    <a:pt x="156" y="237"/>
                  </a:lnTo>
                  <a:lnTo>
                    <a:pt x="160" y="228"/>
                  </a:lnTo>
                  <a:lnTo>
                    <a:pt x="165" y="224"/>
                  </a:lnTo>
                  <a:lnTo>
                    <a:pt x="165" y="224"/>
                  </a:lnTo>
                  <a:lnTo>
                    <a:pt x="174" y="219"/>
                  </a:lnTo>
                  <a:lnTo>
                    <a:pt x="174" y="219"/>
                  </a:lnTo>
                  <a:lnTo>
                    <a:pt x="179" y="215"/>
                  </a:lnTo>
                  <a:lnTo>
                    <a:pt x="183" y="205"/>
                  </a:lnTo>
                  <a:lnTo>
                    <a:pt x="188" y="201"/>
                  </a:lnTo>
                  <a:lnTo>
                    <a:pt x="192" y="196"/>
                  </a:lnTo>
                  <a:lnTo>
                    <a:pt x="192" y="192"/>
                  </a:lnTo>
                  <a:lnTo>
                    <a:pt x="197" y="187"/>
                  </a:lnTo>
                  <a:lnTo>
                    <a:pt x="201" y="183"/>
                  </a:lnTo>
                  <a:lnTo>
                    <a:pt x="201" y="183"/>
                  </a:lnTo>
                  <a:lnTo>
                    <a:pt x="201" y="169"/>
                  </a:lnTo>
                  <a:lnTo>
                    <a:pt x="206" y="164"/>
                  </a:lnTo>
                  <a:lnTo>
                    <a:pt x="206" y="164"/>
                  </a:lnTo>
                  <a:lnTo>
                    <a:pt x="206" y="160"/>
                  </a:lnTo>
                  <a:lnTo>
                    <a:pt x="211" y="160"/>
                  </a:lnTo>
                  <a:lnTo>
                    <a:pt x="215" y="160"/>
                  </a:lnTo>
                  <a:lnTo>
                    <a:pt x="224" y="164"/>
                  </a:lnTo>
                  <a:lnTo>
                    <a:pt x="224" y="164"/>
                  </a:lnTo>
                  <a:lnTo>
                    <a:pt x="233" y="155"/>
                  </a:lnTo>
                  <a:lnTo>
                    <a:pt x="238" y="151"/>
                  </a:lnTo>
                  <a:lnTo>
                    <a:pt x="238" y="146"/>
                  </a:lnTo>
                  <a:lnTo>
                    <a:pt x="238" y="146"/>
                  </a:lnTo>
                  <a:lnTo>
                    <a:pt x="233" y="137"/>
                  </a:lnTo>
                  <a:lnTo>
                    <a:pt x="233" y="137"/>
                  </a:lnTo>
                  <a:lnTo>
                    <a:pt x="229" y="128"/>
                  </a:lnTo>
                  <a:lnTo>
                    <a:pt x="229" y="123"/>
                  </a:lnTo>
                  <a:lnTo>
                    <a:pt x="229" y="119"/>
                  </a:lnTo>
                  <a:lnTo>
                    <a:pt x="229" y="109"/>
                  </a:lnTo>
                  <a:lnTo>
                    <a:pt x="238" y="100"/>
                  </a:lnTo>
                  <a:lnTo>
                    <a:pt x="238" y="100"/>
                  </a:lnTo>
                  <a:lnTo>
                    <a:pt x="247" y="96"/>
                  </a:lnTo>
                  <a:lnTo>
                    <a:pt x="252" y="96"/>
                  </a:lnTo>
                  <a:lnTo>
                    <a:pt x="265" y="91"/>
                  </a:lnTo>
                  <a:lnTo>
                    <a:pt x="279" y="87"/>
                  </a:lnTo>
                  <a:lnTo>
                    <a:pt x="284" y="87"/>
                  </a:lnTo>
                  <a:lnTo>
                    <a:pt x="288" y="87"/>
                  </a:lnTo>
                  <a:lnTo>
                    <a:pt x="293" y="87"/>
                  </a:lnTo>
                  <a:lnTo>
                    <a:pt x="297" y="87"/>
                  </a:lnTo>
                  <a:lnTo>
                    <a:pt x="302" y="87"/>
                  </a:lnTo>
                  <a:lnTo>
                    <a:pt x="307" y="87"/>
                  </a:lnTo>
                  <a:lnTo>
                    <a:pt x="311" y="82"/>
                  </a:lnTo>
                  <a:lnTo>
                    <a:pt x="311" y="77"/>
                  </a:lnTo>
                  <a:lnTo>
                    <a:pt x="311" y="77"/>
                  </a:lnTo>
                  <a:lnTo>
                    <a:pt x="316" y="77"/>
                  </a:lnTo>
                  <a:lnTo>
                    <a:pt x="320" y="73"/>
                  </a:lnTo>
                  <a:lnTo>
                    <a:pt x="320" y="73"/>
                  </a:lnTo>
                  <a:lnTo>
                    <a:pt x="320" y="64"/>
                  </a:lnTo>
                  <a:lnTo>
                    <a:pt x="320" y="59"/>
                  </a:lnTo>
                  <a:lnTo>
                    <a:pt x="329" y="55"/>
                  </a:lnTo>
                  <a:lnTo>
                    <a:pt x="334" y="50"/>
                  </a:lnTo>
                  <a:lnTo>
                    <a:pt x="334" y="41"/>
                  </a:lnTo>
                  <a:lnTo>
                    <a:pt x="339" y="36"/>
                  </a:lnTo>
                  <a:lnTo>
                    <a:pt x="339" y="32"/>
                  </a:lnTo>
                  <a:lnTo>
                    <a:pt x="339" y="27"/>
                  </a:lnTo>
                  <a:lnTo>
                    <a:pt x="339" y="27"/>
                  </a:lnTo>
                  <a:lnTo>
                    <a:pt x="334" y="18"/>
                  </a:lnTo>
                  <a:lnTo>
                    <a:pt x="339" y="9"/>
                  </a:lnTo>
                  <a:lnTo>
                    <a:pt x="339" y="4"/>
                  </a:lnTo>
                  <a:lnTo>
                    <a:pt x="343" y="0"/>
                  </a:lnTo>
                  <a:lnTo>
                    <a:pt x="343" y="0"/>
                  </a:lnTo>
                  <a:lnTo>
                    <a:pt x="343" y="0"/>
                  </a:lnTo>
                  <a:lnTo>
                    <a:pt x="343" y="4"/>
                  </a:lnTo>
                  <a:lnTo>
                    <a:pt x="348" y="4"/>
                  </a:lnTo>
                  <a:lnTo>
                    <a:pt x="352" y="9"/>
                  </a:lnTo>
                  <a:lnTo>
                    <a:pt x="357" y="9"/>
                  </a:lnTo>
                  <a:lnTo>
                    <a:pt x="361" y="9"/>
                  </a:lnTo>
                  <a:lnTo>
                    <a:pt x="380" y="9"/>
                  </a:lnTo>
                  <a:lnTo>
                    <a:pt x="389" y="9"/>
                  </a:lnTo>
                  <a:lnTo>
                    <a:pt x="393" y="13"/>
                  </a:lnTo>
                  <a:lnTo>
                    <a:pt x="398" y="18"/>
                  </a:lnTo>
                  <a:lnTo>
                    <a:pt x="398" y="23"/>
                  </a:lnTo>
                  <a:lnTo>
                    <a:pt x="398" y="27"/>
                  </a:lnTo>
                  <a:lnTo>
                    <a:pt x="403" y="27"/>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3" name="Freeform 30">
              <a:extLst>
                <a:ext uri="{FF2B5EF4-FFF2-40B4-BE49-F238E27FC236}">
                  <a16:creationId xmlns:a16="http://schemas.microsoft.com/office/drawing/2014/main" id="{AF1EBFF3-343D-4F9F-83EF-91A032D27A76}"/>
                </a:ext>
              </a:extLst>
            </p:cNvPr>
            <p:cNvSpPr>
              <a:spLocks/>
            </p:cNvSpPr>
            <p:nvPr>
              <p:custDataLst>
                <p:tags r:id="rId25"/>
              </p:custDataLst>
            </p:nvPr>
          </p:nvSpPr>
          <p:spPr bwMode="auto">
            <a:xfrm>
              <a:off x="152479" y="3556408"/>
              <a:ext cx="526035" cy="130697"/>
            </a:xfrm>
            <a:custGeom>
              <a:avLst/>
              <a:gdLst/>
              <a:ahLst/>
              <a:cxnLst>
                <a:cxn ang="0">
                  <a:pos x="265" y="0"/>
                </a:cxn>
                <a:cxn ang="0">
                  <a:pos x="379" y="0"/>
                </a:cxn>
                <a:cxn ang="0">
                  <a:pos x="530" y="0"/>
                </a:cxn>
                <a:cxn ang="0">
                  <a:pos x="530" y="14"/>
                </a:cxn>
                <a:cxn ang="0">
                  <a:pos x="512" y="27"/>
                </a:cxn>
                <a:cxn ang="0">
                  <a:pos x="512" y="41"/>
                </a:cxn>
                <a:cxn ang="0">
                  <a:pos x="516" y="50"/>
                </a:cxn>
                <a:cxn ang="0">
                  <a:pos x="535" y="46"/>
                </a:cxn>
                <a:cxn ang="0">
                  <a:pos x="553" y="41"/>
                </a:cxn>
                <a:cxn ang="0">
                  <a:pos x="562" y="41"/>
                </a:cxn>
                <a:cxn ang="0">
                  <a:pos x="557" y="59"/>
                </a:cxn>
                <a:cxn ang="0">
                  <a:pos x="548" y="64"/>
                </a:cxn>
                <a:cxn ang="0">
                  <a:pos x="535" y="73"/>
                </a:cxn>
                <a:cxn ang="0">
                  <a:pos x="553" y="87"/>
                </a:cxn>
                <a:cxn ang="0">
                  <a:pos x="576" y="96"/>
                </a:cxn>
                <a:cxn ang="0">
                  <a:pos x="599" y="91"/>
                </a:cxn>
                <a:cxn ang="0">
                  <a:pos x="599" y="123"/>
                </a:cxn>
                <a:cxn ang="0">
                  <a:pos x="576" y="123"/>
                </a:cxn>
                <a:cxn ang="0">
                  <a:pos x="548" y="119"/>
                </a:cxn>
                <a:cxn ang="0">
                  <a:pos x="503" y="105"/>
                </a:cxn>
                <a:cxn ang="0">
                  <a:pos x="452" y="105"/>
                </a:cxn>
                <a:cxn ang="0">
                  <a:pos x="407" y="100"/>
                </a:cxn>
                <a:cxn ang="0">
                  <a:pos x="361" y="110"/>
                </a:cxn>
                <a:cxn ang="0">
                  <a:pos x="311" y="110"/>
                </a:cxn>
                <a:cxn ang="0">
                  <a:pos x="274" y="110"/>
                </a:cxn>
                <a:cxn ang="0">
                  <a:pos x="265" y="110"/>
                </a:cxn>
                <a:cxn ang="0">
                  <a:pos x="256" y="119"/>
                </a:cxn>
                <a:cxn ang="0">
                  <a:pos x="219" y="114"/>
                </a:cxn>
                <a:cxn ang="0">
                  <a:pos x="160" y="119"/>
                </a:cxn>
                <a:cxn ang="0">
                  <a:pos x="119" y="119"/>
                </a:cxn>
                <a:cxn ang="0">
                  <a:pos x="73" y="119"/>
                </a:cxn>
                <a:cxn ang="0">
                  <a:pos x="27" y="123"/>
                </a:cxn>
                <a:cxn ang="0">
                  <a:pos x="0" y="114"/>
                </a:cxn>
                <a:cxn ang="0">
                  <a:pos x="4" y="87"/>
                </a:cxn>
                <a:cxn ang="0">
                  <a:pos x="4" y="78"/>
                </a:cxn>
                <a:cxn ang="0">
                  <a:pos x="32" y="82"/>
                </a:cxn>
                <a:cxn ang="0">
                  <a:pos x="41" y="73"/>
                </a:cxn>
                <a:cxn ang="0">
                  <a:pos x="55" y="64"/>
                </a:cxn>
                <a:cxn ang="0">
                  <a:pos x="73" y="59"/>
                </a:cxn>
                <a:cxn ang="0">
                  <a:pos x="96" y="64"/>
                </a:cxn>
                <a:cxn ang="0">
                  <a:pos x="119" y="64"/>
                </a:cxn>
                <a:cxn ang="0">
                  <a:pos x="141" y="64"/>
                </a:cxn>
                <a:cxn ang="0">
                  <a:pos x="160" y="64"/>
                </a:cxn>
                <a:cxn ang="0">
                  <a:pos x="173" y="50"/>
                </a:cxn>
                <a:cxn ang="0">
                  <a:pos x="183" y="27"/>
                </a:cxn>
                <a:cxn ang="0">
                  <a:pos x="192" y="14"/>
                </a:cxn>
                <a:cxn ang="0">
                  <a:pos x="196" y="0"/>
                </a:cxn>
                <a:cxn ang="0">
                  <a:pos x="228" y="0"/>
                </a:cxn>
                <a:cxn ang="0">
                  <a:pos x="237" y="14"/>
                </a:cxn>
                <a:cxn ang="0">
                  <a:pos x="251" y="18"/>
                </a:cxn>
              </a:cxnLst>
              <a:rect l="0" t="0" r="r" b="b"/>
              <a:pathLst>
                <a:path w="603" h="128">
                  <a:moveTo>
                    <a:pt x="265" y="14"/>
                  </a:moveTo>
                  <a:lnTo>
                    <a:pt x="265" y="9"/>
                  </a:lnTo>
                  <a:lnTo>
                    <a:pt x="265" y="4"/>
                  </a:lnTo>
                  <a:lnTo>
                    <a:pt x="265" y="0"/>
                  </a:lnTo>
                  <a:lnTo>
                    <a:pt x="269" y="0"/>
                  </a:lnTo>
                  <a:lnTo>
                    <a:pt x="274" y="0"/>
                  </a:lnTo>
                  <a:lnTo>
                    <a:pt x="375" y="0"/>
                  </a:lnTo>
                  <a:lnTo>
                    <a:pt x="379" y="0"/>
                  </a:lnTo>
                  <a:lnTo>
                    <a:pt x="393" y="0"/>
                  </a:lnTo>
                  <a:lnTo>
                    <a:pt x="461" y="0"/>
                  </a:lnTo>
                  <a:lnTo>
                    <a:pt x="507" y="0"/>
                  </a:lnTo>
                  <a:lnTo>
                    <a:pt x="530" y="0"/>
                  </a:lnTo>
                  <a:lnTo>
                    <a:pt x="535" y="4"/>
                  </a:lnTo>
                  <a:lnTo>
                    <a:pt x="535" y="9"/>
                  </a:lnTo>
                  <a:lnTo>
                    <a:pt x="530" y="9"/>
                  </a:lnTo>
                  <a:lnTo>
                    <a:pt x="530" y="14"/>
                  </a:lnTo>
                  <a:lnTo>
                    <a:pt x="525" y="18"/>
                  </a:lnTo>
                  <a:lnTo>
                    <a:pt x="521" y="18"/>
                  </a:lnTo>
                  <a:lnTo>
                    <a:pt x="512" y="23"/>
                  </a:lnTo>
                  <a:lnTo>
                    <a:pt x="512" y="27"/>
                  </a:lnTo>
                  <a:lnTo>
                    <a:pt x="507" y="27"/>
                  </a:lnTo>
                  <a:lnTo>
                    <a:pt x="507" y="32"/>
                  </a:lnTo>
                  <a:lnTo>
                    <a:pt x="507" y="36"/>
                  </a:lnTo>
                  <a:lnTo>
                    <a:pt x="512" y="41"/>
                  </a:lnTo>
                  <a:lnTo>
                    <a:pt x="512" y="46"/>
                  </a:lnTo>
                  <a:lnTo>
                    <a:pt x="512" y="50"/>
                  </a:lnTo>
                  <a:lnTo>
                    <a:pt x="512" y="50"/>
                  </a:lnTo>
                  <a:lnTo>
                    <a:pt x="516" y="50"/>
                  </a:lnTo>
                  <a:lnTo>
                    <a:pt x="521" y="50"/>
                  </a:lnTo>
                  <a:lnTo>
                    <a:pt x="525" y="50"/>
                  </a:lnTo>
                  <a:lnTo>
                    <a:pt x="530" y="46"/>
                  </a:lnTo>
                  <a:lnTo>
                    <a:pt x="535" y="46"/>
                  </a:lnTo>
                  <a:lnTo>
                    <a:pt x="539" y="46"/>
                  </a:lnTo>
                  <a:lnTo>
                    <a:pt x="539" y="41"/>
                  </a:lnTo>
                  <a:lnTo>
                    <a:pt x="548" y="41"/>
                  </a:lnTo>
                  <a:lnTo>
                    <a:pt x="553" y="41"/>
                  </a:lnTo>
                  <a:lnTo>
                    <a:pt x="557" y="41"/>
                  </a:lnTo>
                  <a:lnTo>
                    <a:pt x="557" y="41"/>
                  </a:lnTo>
                  <a:lnTo>
                    <a:pt x="557" y="41"/>
                  </a:lnTo>
                  <a:lnTo>
                    <a:pt x="562" y="41"/>
                  </a:lnTo>
                  <a:lnTo>
                    <a:pt x="562" y="46"/>
                  </a:lnTo>
                  <a:lnTo>
                    <a:pt x="562" y="50"/>
                  </a:lnTo>
                  <a:lnTo>
                    <a:pt x="562" y="55"/>
                  </a:lnTo>
                  <a:lnTo>
                    <a:pt x="557" y="59"/>
                  </a:lnTo>
                  <a:lnTo>
                    <a:pt x="557" y="64"/>
                  </a:lnTo>
                  <a:lnTo>
                    <a:pt x="557" y="64"/>
                  </a:lnTo>
                  <a:lnTo>
                    <a:pt x="553" y="64"/>
                  </a:lnTo>
                  <a:lnTo>
                    <a:pt x="548" y="64"/>
                  </a:lnTo>
                  <a:lnTo>
                    <a:pt x="544" y="64"/>
                  </a:lnTo>
                  <a:lnTo>
                    <a:pt x="539" y="64"/>
                  </a:lnTo>
                  <a:lnTo>
                    <a:pt x="535" y="68"/>
                  </a:lnTo>
                  <a:lnTo>
                    <a:pt x="535" y="73"/>
                  </a:lnTo>
                  <a:lnTo>
                    <a:pt x="535" y="78"/>
                  </a:lnTo>
                  <a:lnTo>
                    <a:pt x="539" y="82"/>
                  </a:lnTo>
                  <a:lnTo>
                    <a:pt x="544" y="87"/>
                  </a:lnTo>
                  <a:lnTo>
                    <a:pt x="553" y="87"/>
                  </a:lnTo>
                  <a:lnTo>
                    <a:pt x="557" y="87"/>
                  </a:lnTo>
                  <a:lnTo>
                    <a:pt x="562" y="91"/>
                  </a:lnTo>
                  <a:lnTo>
                    <a:pt x="567" y="91"/>
                  </a:lnTo>
                  <a:lnTo>
                    <a:pt x="576" y="96"/>
                  </a:lnTo>
                  <a:lnTo>
                    <a:pt x="580" y="96"/>
                  </a:lnTo>
                  <a:lnTo>
                    <a:pt x="585" y="91"/>
                  </a:lnTo>
                  <a:lnTo>
                    <a:pt x="594" y="91"/>
                  </a:lnTo>
                  <a:lnTo>
                    <a:pt x="599" y="91"/>
                  </a:lnTo>
                  <a:lnTo>
                    <a:pt x="603" y="91"/>
                  </a:lnTo>
                  <a:lnTo>
                    <a:pt x="603" y="96"/>
                  </a:lnTo>
                  <a:lnTo>
                    <a:pt x="603" y="105"/>
                  </a:lnTo>
                  <a:lnTo>
                    <a:pt x="599" y="123"/>
                  </a:lnTo>
                  <a:lnTo>
                    <a:pt x="594" y="123"/>
                  </a:lnTo>
                  <a:lnTo>
                    <a:pt x="594" y="123"/>
                  </a:lnTo>
                  <a:lnTo>
                    <a:pt x="585" y="123"/>
                  </a:lnTo>
                  <a:lnTo>
                    <a:pt x="576" y="123"/>
                  </a:lnTo>
                  <a:lnTo>
                    <a:pt x="571" y="119"/>
                  </a:lnTo>
                  <a:lnTo>
                    <a:pt x="567" y="119"/>
                  </a:lnTo>
                  <a:lnTo>
                    <a:pt x="548" y="119"/>
                  </a:lnTo>
                  <a:lnTo>
                    <a:pt x="548" y="119"/>
                  </a:lnTo>
                  <a:lnTo>
                    <a:pt x="535" y="114"/>
                  </a:lnTo>
                  <a:lnTo>
                    <a:pt x="516" y="110"/>
                  </a:lnTo>
                  <a:lnTo>
                    <a:pt x="503" y="110"/>
                  </a:lnTo>
                  <a:lnTo>
                    <a:pt x="503" y="105"/>
                  </a:lnTo>
                  <a:lnTo>
                    <a:pt x="489" y="105"/>
                  </a:lnTo>
                  <a:lnTo>
                    <a:pt x="461" y="105"/>
                  </a:lnTo>
                  <a:lnTo>
                    <a:pt x="457" y="105"/>
                  </a:lnTo>
                  <a:lnTo>
                    <a:pt x="452" y="105"/>
                  </a:lnTo>
                  <a:lnTo>
                    <a:pt x="434" y="105"/>
                  </a:lnTo>
                  <a:lnTo>
                    <a:pt x="420" y="100"/>
                  </a:lnTo>
                  <a:lnTo>
                    <a:pt x="416" y="100"/>
                  </a:lnTo>
                  <a:lnTo>
                    <a:pt x="407" y="100"/>
                  </a:lnTo>
                  <a:lnTo>
                    <a:pt x="402" y="100"/>
                  </a:lnTo>
                  <a:lnTo>
                    <a:pt x="393" y="105"/>
                  </a:lnTo>
                  <a:lnTo>
                    <a:pt x="365" y="110"/>
                  </a:lnTo>
                  <a:lnTo>
                    <a:pt x="361" y="110"/>
                  </a:lnTo>
                  <a:lnTo>
                    <a:pt x="352" y="110"/>
                  </a:lnTo>
                  <a:lnTo>
                    <a:pt x="338" y="110"/>
                  </a:lnTo>
                  <a:lnTo>
                    <a:pt x="315" y="110"/>
                  </a:lnTo>
                  <a:lnTo>
                    <a:pt x="311" y="110"/>
                  </a:lnTo>
                  <a:lnTo>
                    <a:pt x="306" y="110"/>
                  </a:lnTo>
                  <a:lnTo>
                    <a:pt x="292" y="110"/>
                  </a:lnTo>
                  <a:lnTo>
                    <a:pt x="283" y="110"/>
                  </a:lnTo>
                  <a:lnTo>
                    <a:pt x="274" y="110"/>
                  </a:lnTo>
                  <a:lnTo>
                    <a:pt x="274" y="96"/>
                  </a:lnTo>
                  <a:lnTo>
                    <a:pt x="274" y="96"/>
                  </a:lnTo>
                  <a:lnTo>
                    <a:pt x="274" y="110"/>
                  </a:lnTo>
                  <a:lnTo>
                    <a:pt x="265" y="110"/>
                  </a:lnTo>
                  <a:lnTo>
                    <a:pt x="260" y="114"/>
                  </a:lnTo>
                  <a:lnTo>
                    <a:pt x="260" y="114"/>
                  </a:lnTo>
                  <a:lnTo>
                    <a:pt x="260" y="119"/>
                  </a:lnTo>
                  <a:lnTo>
                    <a:pt x="256" y="119"/>
                  </a:lnTo>
                  <a:lnTo>
                    <a:pt x="251" y="119"/>
                  </a:lnTo>
                  <a:lnTo>
                    <a:pt x="247" y="119"/>
                  </a:lnTo>
                  <a:lnTo>
                    <a:pt x="242" y="114"/>
                  </a:lnTo>
                  <a:lnTo>
                    <a:pt x="219" y="114"/>
                  </a:lnTo>
                  <a:lnTo>
                    <a:pt x="196" y="114"/>
                  </a:lnTo>
                  <a:lnTo>
                    <a:pt x="187" y="114"/>
                  </a:lnTo>
                  <a:lnTo>
                    <a:pt x="173" y="119"/>
                  </a:lnTo>
                  <a:lnTo>
                    <a:pt x="160" y="119"/>
                  </a:lnTo>
                  <a:lnTo>
                    <a:pt x="155" y="119"/>
                  </a:lnTo>
                  <a:lnTo>
                    <a:pt x="151" y="119"/>
                  </a:lnTo>
                  <a:lnTo>
                    <a:pt x="132" y="119"/>
                  </a:lnTo>
                  <a:lnTo>
                    <a:pt x="119" y="119"/>
                  </a:lnTo>
                  <a:lnTo>
                    <a:pt x="109" y="119"/>
                  </a:lnTo>
                  <a:lnTo>
                    <a:pt x="100" y="119"/>
                  </a:lnTo>
                  <a:lnTo>
                    <a:pt x="100" y="119"/>
                  </a:lnTo>
                  <a:lnTo>
                    <a:pt x="73" y="119"/>
                  </a:lnTo>
                  <a:lnTo>
                    <a:pt x="59" y="119"/>
                  </a:lnTo>
                  <a:lnTo>
                    <a:pt x="55" y="119"/>
                  </a:lnTo>
                  <a:lnTo>
                    <a:pt x="50" y="119"/>
                  </a:lnTo>
                  <a:lnTo>
                    <a:pt x="27" y="123"/>
                  </a:lnTo>
                  <a:lnTo>
                    <a:pt x="4" y="123"/>
                  </a:lnTo>
                  <a:lnTo>
                    <a:pt x="4" y="128"/>
                  </a:lnTo>
                  <a:lnTo>
                    <a:pt x="0" y="128"/>
                  </a:lnTo>
                  <a:lnTo>
                    <a:pt x="0" y="114"/>
                  </a:lnTo>
                  <a:lnTo>
                    <a:pt x="0" y="110"/>
                  </a:lnTo>
                  <a:lnTo>
                    <a:pt x="0" y="105"/>
                  </a:lnTo>
                  <a:lnTo>
                    <a:pt x="0" y="96"/>
                  </a:lnTo>
                  <a:lnTo>
                    <a:pt x="4" y="87"/>
                  </a:lnTo>
                  <a:lnTo>
                    <a:pt x="4" y="87"/>
                  </a:lnTo>
                  <a:lnTo>
                    <a:pt x="4" y="82"/>
                  </a:lnTo>
                  <a:lnTo>
                    <a:pt x="4" y="82"/>
                  </a:lnTo>
                  <a:lnTo>
                    <a:pt x="4" y="78"/>
                  </a:lnTo>
                  <a:lnTo>
                    <a:pt x="9" y="78"/>
                  </a:lnTo>
                  <a:lnTo>
                    <a:pt x="13" y="78"/>
                  </a:lnTo>
                  <a:lnTo>
                    <a:pt x="23" y="78"/>
                  </a:lnTo>
                  <a:lnTo>
                    <a:pt x="32" y="82"/>
                  </a:lnTo>
                  <a:lnTo>
                    <a:pt x="32" y="78"/>
                  </a:lnTo>
                  <a:lnTo>
                    <a:pt x="36" y="78"/>
                  </a:lnTo>
                  <a:lnTo>
                    <a:pt x="36" y="73"/>
                  </a:lnTo>
                  <a:lnTo>
                    <a:pt x="41" y="73"/>
                  </a:lnTo>
                  <a:lnTo>
                    <a:pt x="45" y="73"/>
                  </a:lnTo>
                  <a:lnTo>
                    <a:pt x="45" y="68"/>
                  </a:lnTo>
                  <a:lnTo>
                    <a:pt x="55" y="64"/>
                  </a:lnTo>
                  <a:lnTo>
                    <a:pt x="55" y="64"/>
                  </a:lnTo>
                  <a:lnTo>
                    <a:pt x="55" y="59"/>
                  </a:lnTo>
                  <a:lnTo>
                    <a:pt x="59" y="59"/>
                  </a:lnTo>
                  <a:lnTo>
                    <a:pt x="68" y="59"/>
                  </a:lnTo>
                  <a:lnTo>
                    <a:pt x="73" y="59"/>
                  </a:lnTo>
                  <a:lnTo>
                    <a:pt x="77" y="64"/>
                  </a:lnTo>
                  <a:lnTo>
                    <a:pt x="82" y="64"/>
                  </a:lnTo>
                  <a:lnTo>
                    <a:pt x="87" y="64"/>
                  </a:lnTo>
                  <a:lnTo>
                    <a:pt x="96" y="64"/>
                  </a:lnTo>
                  <a:lnTo>
                    <a:pt x="100" y="64"/>
                  </a:lnTo>
                  <a:lnTo>
                    <a:pt x="109" y="64"/>
                  </a:lnTo>
                  <a:lnTo>
                    <a:pt x="114" y="64"/>
                  </a:lnTo>
                  <a:lnTo>
                    <a:pt x="119" y="64"/>
                  </a:lnTo>
                  <a:lnTo>
                    <a:pt x="119" y="64"/>
                  </a:lnTo>
                  <a:lnTo>
                    <a:pt x="128" y="64"/>
                  </a:lnTo>
                  <a:lnTo>
                    <a:pt x="132" y="64"/>
                  </a:lnTo>
                  <a:lnTo>
                    <a:pt x="141" y="64"/>
                  </a:lnTo>
                  <a:lnTo>
                    <a:pt x="141" y="64"/>
                  </a:lnTo>
                  <a:lnTo>
                    <a:pt x="151" y="64"/>
                  </a:lnTo>
                  <a:lnTo>
                    <a:pt x="155" y="64"/>
                  </a:lnTo>
                  <a:lnTo>
                    <a:pt x="160" y="64"/>
                  </a:lnTo>
                  <a:lnTo>
                    <a:pt x="164" y="64"/>
                  </a:lnTo>
                  <a:lnTo>
                    <a:pt x="164" y="59"/>
                  </a:lnTo>
                  <a:lnTo>
                    <a:pt x="169" y="55"/>
                  </a:lnTo>
                  <a:lnTo>
                    <a:pt x="173" y="50"/>
                  </a:lnTo>
                  <a:lnTo>
                    <a:pt x="178" y="41"/>
                  </a:lnTo>
                  <a:lnTo>
                    <a:pt x="178" y="36"/>
                  </a:lnTo>
                  <a:lnTo>
                    <a:pt x="183" y="32"/>
                  </a:lnTo>
                  <a:lnTo>
                    <a:pt x="183" y="27"/>
                  </a:lnTo>
                  <a:lnTo>
                    <a:pt x="183" y="27"/>
                  </a:lnTo>
                  <a:lnTo>
                    <a:pt x="183" y="23"/>
                  </a:lnTo>
                  <a:lnTo>
                    <a:pt x="187" y="23"/>
                  </a:lnTo>
                  <a:lnTo>
                    <a:pt x="192" y="14"/>
                  </a:lnTo>
                  <a:lnTo>
                    <a:pt x="192" y="9"/>
                  </a:lnTo>
                  <a:lnTo>
                    <a:pt x="192" y="4"/>
                  </a:lnTo>
                  <a:lnTo>
                    <a:pt x="196" y="0"/>
                  </a:lnTo>
                  <a:lnTo>
                    <a:pt x="196" y="0"/>
                  </a:lnTo>
                  <a:lnTo>
                    <a:pt x="201" y="0"/>
                  </a:lnTo>
                  <a:lnTo>
                    <a:pt x="205" y="0"/>
                  </a:lnTo>
                  <a:lnTo>
                    <a:pt x="219" y="0"/>
                  </a:lnTo>
                  <a:lnTo>
                    <a:pt x="228" y="0"/>
                  </a:lnTo>
                  <a:lnTo>
                    <a:pt x="228" y="0"/>
                  </a:lnTo>
                  <a:lnTo>
                    <a:pt x="233" y="9"/>
                  </a:lnTo>
                  <a:lnTo>
                    <a:pt x="237" y="14"/>
                  </a:lnTo>
                  <a:lnTo>
                    <a:pt x="237" y="14"/>
                  </a:lnTo>
                  <a:lnTo>
                    <a:pt x="242" y="18"/>
                  </a:lnTo>
                  <a:lnTo>
                    <a:pt x="247" y="18"/>
                  </a:lnTo>
                  <a:lnTo>
                    <a:pt x="251" y="18"/>
                  </a:lnTo>
                  <a:lnTo>
                    <a:pt x="251" y="18"/>
                  </a:lnTo>
                  <a:lnTo>
                    <a:pt x="256" y="14"/>
                  </a:lnTo>
                  <a:lnTo>
                    <a:pt x="265" y="14"/>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4" name="Freeform 31">
              <a:extLst>
                <a:ext uri="{FF2B5EF4-FFF2-40B4-BE49-F238E27FC236}">
                  <a16:creationId xmlns:a16="http://schemas.microsoft.com/office/drawing/2014/main" id="{92788295-A9EE-4F18-897D-3C4F4B6AFC49}"/>
                </a:ext>
              </a:extLst>
            </p:cNvPr>
            <p:cNvSpPr>
              <a:spLocks/>
            </p:cNvSpPr>
            <p:nvPr>
              <p:custDataLst>
                <p:tags r:id="rId26"/>
              </p:custDataLst>
            </p:nvPr>
          </p:nvSpPr>
          <p:spPr bwMode="auto">
            <a:xfrm>
              <a:off x="1556653" y="2540539"/>
              <a:ext cx="902179" cy="614868"/>
            </a:xfrm>
            <a:custGeom>
              <a:avLst/>
              <a:gdLst/>
              <a:ahLst/>
              <a:cxnLst>
                <a:cxn ang="0">
                  <a:pos x="402" y="9"/>
                </a:cxn>
                <a:cxn ang="0">
                  <a:pos x="420" y="50"/>
                </a:cxn>
                <a:cxn ang="0">
                  <a:pos x="439" y="82"/>
                </a:cxn>
                <a:cxn ang="0">
                  <a:pos x="443" y="146"/>
                </a:cxn>
                <a:cxn ang="0">
                  <a:pos x="475" y="128"/>
                </a:cxn>
                <a:cxn ang="0">
                  <a:pos x="503" y="101"/>
                </a:cxn>
                <a:cxn ang="0">
                  <a:pos x="548" y="114"/>
                </a:cxn>
                <a:cxn ang="0">
                  <a:pos x="576" y="146"/>
                </a:cxn>
                <a:cxn ang="0">
                  <a:pos x="622" y="137"/>
                </a:cxn>
                <a:cxn ang="0">
                  <a:pos x="640" y="96"/>
                </a:cxn>
                <a:cxn ang="0">
                  <a:pos x="658" y="64"/>
                </a:cxn>
                <a:cxn ang="0">
                  <a:pos x="704" y="128"/>
                </a:cxn>
                <a:cxn ang="0">
                  <a:pos x="786" y="128"/>
                </a:cxn>
                <a:cxn ang="0">
                  <a:pos x="782" y="192"/>
                </a:cxn>
                <a:cxn ang="0">
                  <a:pos x="736" y="261"/>
                </a:cxn>
                <a:cxn ang="0">
                  <a:pos x="768" y="325"/>
                </a:cxn>
                <a:cxn ang="0">
                  <a:pos x="814" y="352"/>
                </a:cxn>
                <a:cxn ang="0">
                  <a:pos x="910" y="343"/>
                </a:cxn>
                <a:cxn ang="0">
                  <a:pos x="1033" y="384"/>
                </a:cxn>
                <a:cxn ang="0">
                  <a:pos x="1006" y="412"/>
                </a:cxn>
                <a:cxn ang="0">
                  <a:pos x="955" y="412"/>
                </a:cxn>
                <a:cxn ang="0">
                  <a:pos x="910" y="412"/>
                </a:cxn>
                <a:cxn ang="0">
                  <a:pos x="923" y="476"/>
                </a:cxn>
                <a:cxn ang="0">
                  <a:pos x="923" y="512"/>
                </a:cxn>
                <a:cxn ang="0">
                  <a:pos x="896" y="540"/>
                </a:cxn>
                <a:cxn ang="0">
                  <a:pos x="855" y="562"/>
                </a:cxn>
                <a:cxn ang="0">
                  <a:pos x="832" y="526"/>
                </a:cxn>
                <a:cxn ang="0">
                  <a:pos x="795" y="498"/>
                </a:cxn>
                <a:cxn ang="0">
                  <a:pos x="750" y="498"/>
                </a:cxn>
                <a:cxn ang="0">
                  <a:pos x="681" y="485"/>
                </a:cxn>
                <a:cxn ang="0">
                  <a:pos x="631" y="466"/>
                </a:cxn>
                <a:cxn ang="0">
                  <a:pos x="576" y="476"/>
                </a:cxn>
                <a:cxn ang="0">
                  <a:pos x="539" y="521"/>
                </a:cxn>
                <a:cxn ang="0">
                  <a:pos x="553" y="562"/>
                </a:cxn>
                <a:cxn ang="0">
                  <a:pos x="567" y="608"/>
                </a:cxn>
                <a:cxn ang="0">
                  <a:pos x="526" y="594"/>
                </a:cxn>
                <a:cxn ang="0">
                  <a:pos x="494" y="576"/>
                </a:cxn>
                <a:cxn ang="0">
                  <a:pos x="434" y="553"/>
                </a:cxn>
                <a:cxn ang="0">
                  <a:pos x="398" y="540"/>
                </a:cxn>
                <a:cxn ang="0">
                  <a:pos x="311" y="521"/>
                </a:cxn>
                <a:cxn ang="0">
                  <a:pos x="256" y="503"/>
                </a:cxn>
                <a:cxn ang="0">
                  <a:pos x="192" y="503"/>
                </a:cxn>
                <a:cxn ang="0">
                  <a:pos x="123" y="521"/>
                </a:cxn>
                <a:cxn ang="0">
                  <a:pos x="78" y="530"/>
                </a:cxn>
                <a:cxn ang="0">
                  <a:pos x="36" y="549"/>
                </a:cxn>
                <a:cxn ang="0">
                  <a:pos x="4" y="553"/>
                </a:cxn>
                <a:cxn ang="0">
                  <a:pos x="18" y="503"/>
                </a:cxn>
                <a:cxn ang="0">
                  <a:pos x="23" y="457"/>
                </a:cxn>
                <a:cxn ang="0">
                  <a:pos x="4" y="421"/>
                </a:cxn>
                <a:cxn ang="0">
                  <a:pos x="55" y="361"/>
                </a:cxn>
                <a:cxn ang="0">
                  <a:pos x="151" y="334"/>
                </a:cxn>
                <a:cxn ang="0">
                  <a:pos x="174" y="320"/>
                </a:cxn>
                <a:cxn ang="0">
                  <a:pos x="196" y="288"/>
                </a:cxn>
                <a:cxn ang="0">
                  <a:pos x="219" y="261"/>
                </a:cxn>
                <a:cxn ang="0">
                  <a:pos x="242" y="160"/>
                </a:cxn>
                <a:cxn ang="0">
                  <a:pos x="242" y="41"/>
                </a:cxn>
                <a:cxn ang="0">
                  <a:pos x="274" y="14"/>
                </a:cxn>
                <a:cxn ang="0">
                  <a:pos x="302" y="18"/>
                </a:cxn>
                <a:cxn ang="0">
                  <a:pos x="343" y="27"/>
                </a:cxn>
              </a:cxnLst>
              <a:rect l="0" t="0" r="r" b="b"/>
              <a:pathLst>
                <a:path w="1033" h="608">
                  <a:moveTo>
                    <a:pt x="370" y="5"/>
                  </a:moveTo>
                  <a:lnTo>
                    <a:pt x="375" y="5"/>
                  </a:lnTo>
                  <a:lnTo>
                    <a:pt x="375" y="5"/>
                  </a:lnTo>
                  <a:lnTo>
                    <a:pt x="379" y="0"/>
                  </a:lnTo>
                  <a:lnTo>
                    <a:pt x="384" y="0"/>
                  </a:lnTo>
                  <a:lnTo>
                    <a:pt x="393" y="0"/>
                  </a:lnTo>
                  <a:lnTo>
                    <a:pt x="398" y="0"/>
                  </a:lnTo>
                  <a:lnTo>
                    <a:pt x="398" y="5"/>
                  </a:lnTo>
                  <a:lnTo>
                    <a:pt x="398" y="5"/>
                  </a:lnTo>
                  <a:lnTo>
                    <a:pt x="402" y="9"/>
                  </a:lnTo>
                  <a:lnTo>
                    <a:pt x="402" y="14"/>
                  </a:lnTo>
                  <a:lnTo>
                    <a:pt x="407" y="14"/>
                  </a:lnTo>
                  <a:lnTo>
                    <a:pt x="407" y="18"/>
                  </a:lnTo>
                  <a:lnTo>
                    <a:pt x="411" y="18"/>
                  </a:lnTo>
                  <a:lnTo>
                    <a:pt x="411" y="27"/>
                  </a:lnTo>
                  <a:lnTo>
                    <a:pt x="416" y="27"/>
                  </a:lnTo>
                  <a:lnTo>
                    <a:pt x="416" y="32"/>
                  </a:lnTo>
                  <a:lnTo>
                    <a:pt x="416" y="37"/>
                  </a:lnTo>
                  <a:lnTo>
                    <a:pt x="416" y="41"/>
                  </a:lnTo>
                  <a:lnTo>
                    <a:pt x="420" y="50"/>
                  </a:lnTo>
                  <a:lnTo>
                    <a:pt x="420" y="55"/>
                  </a:lnTo>
                  <a:lnTo>
                    <a:pt x="425" y="59"/>
                  </a:lnTo>
                  <a:lnTo>
                    <a:pt x="425" y="59"/>
                  </a:lnTo>
                  <a:lnTo>
                    <a:pt x="430" y="59"/>
                  </a:lnTo>
                  <a:lnTo>
                    <a:pt x="430" y="64"/>
                  </a:lnTo>
                  <a:lnTo>
                    <a:pt x="434" y="69"/>
                  </a:lnTo>
                  <a:lnTo>
                    <a:pt x="434" y="73"/>
                  </a:lnTo>
                  <a:lnTo>
                    <a:pt x="439" y="73"/>
                  </a:lnTo>
                  <a:lnTo>
                    <a:pt x="439" y="78"/>
                  </a:lnTo>
                  <a:lnTo>
                    <a:pt x="439" y="82"/>
                  </a:lnTo>
                  <a:lnTo>
                    <a:pt x="439" y="82"/>
                  </a:lnTo>
                  <a:lnTo>
                    <a:pt x="443" y="87"/>
                  </a:lnTo>
                  <a:lnTo>
                    <a:pt x="443" y="91"/>
                  </a:lnTo>
                  <a:lnTo>
                    <a:pt x="443" y="101"/>
                  </a:lnTo>
                  <a:lnTo>
                    <a:pt x="443" y="105"/>
                  </a:lnTo>
                  <a:lnTo>
                    <a:pt x="443" y="110"/>
                  </a:lnTo>
                  <a:lnTo>
                    <a:pt x="439" y="128"/>
                  </a:lnTo>
                  <a:lnTo>
                    <a:pt x="439" y="133"/>
                  </a:lnTo>
                  <a:lnTo>
                    <a:pt x="443" y="146"/>
                  </a:lnTo>
                  <a:lnTo>
                    <a:pt x="443" y="146"/>
                  </a:lnTo>
                  <a:lnTo>
                    <a:pt x="448" y="146"/>
                  </a:lnTo>
                  <a:lnTo>
                    <a:pt x="448" y="146"/>
                  </a:lnTo>
                  <a:lnTo>
                    <a:pt x="452" y="146"/>
                  </a:lnTo>
                  <a:lnTo>
                    <a:pt x="457" y="146"/>
                  </a:lnTo>
                  <a:lnTo>
                    <a:pt x="462" y="142"/>
                  </a:lnTo>
                  <a:lnTo>
                    <a:pt x="462" y="137"/>
                  </a:lnTo>
                  <a:lnTo>
                    <a:pt x="466" y="133"/>
                  </a:lnTo>
                  <a:lnTo>
                    <a:pt x="466" y="128"/>
                  </a:lnTo>
                  <a:lnTo>
                    <a:pt x="471" y="128"/>
                  </a:lnTo>
                  <a:lnTo>
                    <a:pt x="475" y="128"/>
                  </a:lnTo>
                  <a:lnTo>
                    <a:pt x="480" y="124"/>
                  </a:lnTo>
                  <a:lnTo>
                    <a:pt x="480" y="119"/>
                  </a:lnTo>
                  <a:lnTo>
                    <a:pt x="484" y="119"/>
                  </a:lnTo>
                  <a:lnTo>
                    <a:pt x="484" y="114"/>
                  </a:lnTo>
                  <a:lnTo>
                    <a:pt x="484" y="110"/>
                  </a:lnTo>
                  <a:lnTo>
                    <a:pt x="489" y="105"/>
                  </a:lnTo>
                  <a:lnTo>
                    <a:pt x="489" y="105"/>
                  </a:lnTo>
                  <a:lnTo>
                    <a:pt x="494" y="105"/>
                  </a:lnTo>
                  <a:lnTo>
                    <a:pt x="498" y="101"/>
                  </a:lnTo>
                  <a:lnTo>
                    <a:pt x="503" y="101"/>
                  </a:lnTo>
                  <a:lnTo>
                    <a:pt x="507" y="101"/>
                  </a:lnTo>
                  <a:lnTo>
                    <a:pt x="516" y="96"/>
                  </a:lnTo>
                  <a:lnTo>
                    <a:pt x="521" y="101"/>
                  </a:lnTo>
                  <a:lnTo>
                    <a:pt x="530" y="101"/>
                  </a:lnTo>
                  <a:lnTo>
                    <a:pt x="535" y="101"/>
                  </a:lnTo>
                  <a:lnTo>
                    <a:pt x="539" y="101"/>
                  </a:lnTo>
                  <a:lnTo>
                    <a:pt x="544" y="105"/>
                  </a:lnTo>
                  <a:lnTo>
                    <a:pt x="544" y="105"/>
                  </a:lnTo>
                  <a:lnTo>
                    <a:pt x="548" y="110"/>
                  </a:lnTo>
                  <a:lnTo>
                    <a:pt x="548" y="114"/>
                  </a:lnTo>
                  <a:lnTo>
                    <a:pt x="553" y="119"/>
                  </a:lnTo>
                  <a:lnTo>
                    <a:pt x="558" y="124"/>
                  </a:lnTo>
                  <a:lnTo>
                    <a:pt x="558" y="128"/>
                  </a:lnTo>
                  <a:lnTo>
                    <a:pt x="562" y="128"/>
                  </a:lnTo>
                  <a:lnTo>
                    <a:pt x="562" y="133"/>
                  </a:lnTo>
                  <a:lnTo>
                    <a:pt x="567" y="133"/>
                  </a:lnTo>
                  <a:lnTo>
                    <a:pt x="567" y="137"/>
                  </a:lnTo>
                  <a:lnTo>
                    <a:pt x="571" y="137"/>
                  </a:lnTo>
                  <a:lnTo>
                    <a:pt x="571" y="142"/>
                  </a:lnTo>
                  <a:lnTo>
                    <a:pt x="576" y="146"/>
                  </a:lnTo>
                  <a:lnTo>
                    <a:pt x="580" y="146"/>
                  </a:lnTo>
                  <a:lnTo>
                    <a:pt x="585" y="146"/>
                  </a:lnTo>
                  <a:lnTo>
                    <a:pt x="590" y="146"/>
                  </a:lnTo>
                  <a:lnTo>
                    <a:pt x="599" y="146"/>
                  </a:lnTo>
                  <a:lnTo>
                    <a:pt x="603" y="146"/>
                  </a:lnTo>
                  <a:lnTo>
                    <a:pt x="608" y="146"/>
                  </a:lnTo>
                  <a:lnTo>
                    <a:pt x="612" y="146"/>
                  </a:lnTo>
                  <a:lnTo>
                    <a:pt x="617" y="146"/>
                  </a:lnTo>
                  <a:lnTo>
                    <a:pt x="617" y="142"/>
                  </a:lnTo>
                  <a:lnTo>
                    <a:pt x="622" y="137"/>
                  </a:lnTo>
                  <a:lnTo>
                    <a:pt x="626" y="137"/>
                  </a:lnTo>
                  <a:lnTo>
                    <a:pt x="631" y="133"/>
                  </a:lnTo>
                  <a:lnTo>
                    <a:pt x="631" y="128"/>
                  </a:lnTo>
                  <a:lnTo>
                    <a:pt x="631" y="124"/>
                  </a:lnTo>
                  <a:lnTo>
                    <a:pt x="631" y="119"/>
                  </a:lnTo>
                  <a:lnTo>
                    <a:pt x="635" y="114"/>
                  </a:lnTo>
                  <a:lnTo>
                    <a:pt x="635" y="110"/>
                  </a:lnTo>
                  <a:lnTo>
                    <a:pt x="635" y="105"/>
                  </a:lnTo>
                  <a:lnTo>
                    <a:pt x="635" y="101"/>
                  </a:lnTo>
                  <a:lnTo>
                    <a:pt x="640" y="96"/>
                  </a:lnTo>
                  <a:lnTo>
                    <a:pt x="640" y="91"/>
                  </a:lnTo>
                  <a:lnTo>
                    <a:pt x="644" y="87"/>
                  </a:lnTo>
                  <a:lnTo>
                    <a:pt x="644" y="82"/>
                  </a:lnTo>
                  <a:lnTo>
                    <a:pt x="644" y="82"/>
                  </a:lnTo>
                  <a:lnTo>
                    <a:pt x="649" y="78"/>
                  </a:lnTo>
                  <a:lnTo>
                    <a:pt x="649" y="73"/>
                  </a:lnTo>
                  <a:lnTo>
                    <a:pt x="654" y="69"/>
                  </a:lnTo>
                  <a:lnTo>
                    <a:pt x="654" y="64"/>
                  </a:lnTo>
                  <a:lnTo>
                    <a:pt x="658" y="59"/>
                  </a:lnTo>
                  <a:lnTo>
                    <a:pt x="658" y="64"/>
                  </a:lnTo>
                  <a:lnTo>
                    <a:pt x="667" y="69"/>
                  </a:lnTo>
                  <a:lnTo>
                    <a:pt x="676" y="69"/>
                  </a:lnTo>
                  <a:lnTo>
                    <a:pt x="690" y="69"/>
                  </a:lnTo>
                  <a:lnTo>
                    <a:pt x="690" y="78"/>
                  </a:lnTo>
                  <a:lnTo>
                    <a:pt x="695" y="87"/>
                  </a:lnTo>
                  <a:lnTo>
                    <a:pt x="695" y="105"/>
                  </a:lnTo>
                  <a:lnTo>
                    <a:pt x="699" y="105"/>
                  </a:lnTo>
                  <a:lnTo>
                    <a:pt x="704" y="110"/>
                  </a:lnTo>
                  <a:lnTo>
                    <a:pt x="704" y="119"/>
                  </a:lnTo>
                  <a:lnTo>
                    <a:pt x="704" y="128"/>
                  </a:lnTo>
                  <a:lnTo>
                    <a:pt x="708" y="128"/>
                  </a:lnTo>
                  <a:lnTo>
                    <a:pt x="722" y="128"/>
                  </a:lnTo>
                  <a:lnTo>
                    <a:pt x="736" y="128"/>
                  </a:lnTo>
                  <a:lnTo>
                    <a:pt x="745" y="133"/>
                  </a:lnTo>
                  <a:lnTo>
                    <a:pt x="745" y="133"/>
                  </a:lnTo>
                  <a:lnTo>
                    <a:pt x="754" y="133"/>
                  </a:lnTo>
                  <a:lnTo>
                    <a:pt x="763" y="128"/>
                  </a:lnTo>
                  <a:lnTo>
                    <a:pt x="768" y="128"/>
                  </a:lnTo>
                  <a:lnTo>
                    <a:pt x="777" y="128"/>
                  </a:lnTo>
                  <a:lnTo>
                    <a:pt x="786" y="128"/>
                  </a:lnTo>
                  <a:lnTo>
                    <a:pt x="791" y="128"/>
                  </a:lnTo>
                  <a:lnTo>
                    <a:pt x="791" y="128"/>
                  </a:lnTo>
                  <a:lnTo>
                    <a:pt x="795" y="128"/>
                  </a:lnTo>
                  <a:lnTo>
                    <a:pt x="795" y="142"/>
                  </a:lnTo>
                  <a:lnTo>
                    <a:pt x="800" y="146"/>
                  </a:lnTo>
                  <a:lnTo>
                    <a:pt x="795" y="160"/>
                  </a:lnTo>
                  <a:lnTo>
                    <a:pt x="791" y="169"/>
                  </a:lnTo>
                  <a:lnTo>
                    <a:pt x="786" y="183"/>
                  </a:lnTo>
                  <a:lnTo>
                    <a:pt x="786" y="188"/>
                  </a:lnTo>
                  <a:lnTo>
                    <a:pt x="782" y="192"/>
                  </a:lnTo>
                  <a:lnTo>
                    <a:pt x="772" y="197"/>
                  </a:lnTo>
                  <a:lnTo>
                    <a:pt x="768" y="201"/>
                  </a:lnTo>
                  <a:lnTo>
                    <a:pt x="759" y="201"/>
                  </a:lnTo>
                  <a:lnTo>
                    <a:pt x="754" y="215"/>
                  </a:lnTo>
                  <a:lnTo>
                    <a:pt x="754" y="220"/>
                  </a:lnTo>
                  <a:lnTo>
                    <a:pt x="745" y="229"/>
                  </a:lnTo>
                  <a:lnTo>
                    <a:pt x="740" y="233"/>
                  </a:lnTo>
                  <a:lnTo>
                    <a:pt x="731" y="242"/>
                  </a:lnTo>
                  <a:lnTo>
                    <a:pt x="731" y="256"/>
                  </a:lnTo>
                  <a:lnTo>
                    <a:pt x="736" y="261"/>
                  </a:lnTo>
                  <a:lnTo>
                    <a:pt x="745" y="270"/>
                  </a:lnTo>
                  <a:lnTo>
                    <a:pt x="745" y="279"/>
                  </a:lnTo>
                  <a:lnTo>
                    <a:pt x="745" y="279"/>
                  </a:lnTo>
                  <a:lnTo>
                    <a:pt x="750" y="288"/>
                  </a:lnTo>
                  <a:lnTo>
                    <a:pt x="754" y="297"/>
                  </a:lnTo>
                  <a:lnTo>
                    <a:pt x="763" y="297"/>
                  </a:lnTo>
                  <a:lnTo>
                    <a:pt x="768" y="302"/>
                  </a:lnTo>
                  <a:lnTo>
                    <a:pt x="768" y="311"/>
                  </a:lnTo>
                  <a:lnTo>
                    <a:pt x="768" y="320"/>
                  </a:lnTo>
                  <a:lnTo>
                    <a:pt x="768" y="325"/>
                  </a:lnTo>
                  <a:lnTo>
                    <a:pt x="768" y="329"/>
                  </a:lnTo>
                  <a:lnTo>
                    <a:pt x="772" y="329"/>
                  </a:lnTo>
                  <a:lnTo>
                    <a:pt x="782" y="329"/>
                  </a:lnTo>
                  <a:lnTo>
                    <a:pt x="786" y="325"/>
                  </a:lnTo>
                  <a:lnTo>
                    <a:pt x="791" y="329"/>
                  </a:lnTo>
                  <a:lnTo>
                    <a:pt x="795" y="334"/>
                  </a:lnTo>
                  <a:lnTo>
                    <a:pt x="800" y="338"/>
                  </a:lnTo>
                  <a:lnTo>
                    <a:pt x="804" y="343"/>
                  </a:lnTo>
                  <a:lnTo>
                    <a:pt x="809" y="348"/>
                  </a:lnTo>
                  <a:lnTo>
                    <a:pt x="814" y="352"/>
                  </a:lnTo>
                  <a:lnTo>
                    <a:pt x="814" y="352"/>
                  </a:lnTo>
                  <a:lnTo>
                    <a:pt x="818" y="352"/>
                  </a:lnTo>
                  <a:lnTo>
                    <a:pt x="827" y="348"/>
                  </a:lnTo>
                  <a:lnTo>
                    <a:pt x="841" y="348"/>
                  </a:lnTo>
                  <a:lnTo>
                    <a:pt x="859" y="348"/>
                  </a:lnTo>
                  <a:lnTo>
                    <a:pt x="873" y="348"/>
                  </a:lnTo>
                  <a:lnTo>
                    <a:pt x="878" y="348"/>
                  </a:lnTo>
                  <a:lnTo>
                    <a:pt x="882" y="343"/>
                  </a:lnTo>
                  <a:lnTo>
                    <a:pt x="900" y="343"/>
                  </a:lnTo>
                  <a:lnTo>
                    <a:pt x="910" y="343"/>
                  </a:lnTo>
                  <a:lnTo>
                    <a:pt x="919" y="348"/>
                  </a:lnTo>
                  <a:lnTo>
                    <a:pt x="932" y="348"/>
                  </a:lnTo>
                  <a:lnTo>
                    <a:pt x="951" y="357"/>
                  </a:lnTo>
                  <a:lnTo>
                    <a:pt x="969" y="366"/>
                  </a:lnTo>
                  <a:lnTo>
                    <a:pt x="978" y="366"/>
                  </a:lnTo>
                  <a:lnTo>
                    <a:pt x="987" y="375"/>
                  </a:lnTo>
                  <a:lnTo>
                    <a:pt x="996" y="375"/>
                  </a:lnTo>
                  <a:lnTo>
                    <a:pt x="1010" y="380"/>
                  </a:lnTo>
                  <a:lnTo>
                    <a:pt x="1019" y="380"/>
                  </a:lnTo>
                  <a:lnTo>
                    <a:pt x="1033" y="384"/>
                  </a:lnTo>
                  <a:lnTo>
                    <a:pt x="1033" y="389"/>
                  </a:lnTo>
                  <a:lnTo>
                    <a:pt x="1033" y="389"/>
                  </a:lnTo>
                  <a:lnTo>
                    <a:pt x="1024" y="389"/>
                  </a:lnTo>
                  <a:lnTo>
                    <a:pt x="1019" y="389"/>
                  </a:lnTo>
                  <a:lnTo>
                    <a:pt x="1015" y="393"/>
                  </a:lnTo>
                  <a:lnTo>
                    <a:pt x="1010" y="398"/>
                  </a:lnTo>
                  <a:lnTo>
                    <a:pt x="1010" y="402"/>
                  </a:lnTo>
                  <a:lnTo>
                    <a:pt x="1010" y="407"/>
                  </a:lnTo>
                  <a:lnTo>
                    <a:pt x="1010" y="412"/>
                  </a:lnTo>
                  <a:lnTo>
                    <a:pt x="1006" y="412"/>
                  </a:lnTo>
                  <a:lnTo>
                    <a:pt x="1001" y="412"/>
                  </a:lnTo>
                  <a:lnTo>
                    <a:pt x="1001" y="416"/>
                  </a:lnTo>
                  <a:lnTo>
                    <a:pt x="992" y="416"/>
                  </a:lnTo>
                  <a:lnTo>
                    <a:pt x="987" y="416"/>
                  </a:lnTo>
                  <a:lnTo>
                    <a:pt x="978" y="416"/>
                  </a:lnTo>
                  <a:lnTo>
                    <a:pt x="974" y="416"/>
                  </a:lnTo>
                  <a:lnTo>
                    <a:pt x="969" y="416"/>
                  </a:lnTo>
                  <a:lnTo>
                    <a:pt x="964" y="412"/>
                  </a:lnTo>
                  <a:lnTo>
                    <a:pt x="964" y="412"/>
                  </a:lnTo>
                  <a:lnTo>
                    <a:pt x="955" y="412"/>
                  </a:lnTo>
                  <a:lnTo>
                    <a:pt x="951" y="412"/>
                  </a:lnTo>
                  <a:lnTo>
                    <a:pt x="946" y="412"/>
                  </a:lnTo>
                  <a:lnTo>
                    <a:pt x="946" y="407"/>
                  </a:lnTo>
                  <a:lnTo>
                    <a:pt x="942" y="407"/>
                  </a:lnTo>
                  <a:lnTo>
                    <a:pt x="937" y="407"/>
                  </a:lnTo>
                  <a:lnTo>
                    <a:pt x="928" y="402"/>
                  </a:lnTo>
                  <a:lnTo>
                    <a:pt x="923" y="402"/>
                  </a:lnTo>
                  <a:lnTo>
                    <a:pt x="923" y="407"/>
                  </a:lnTo>
                  <a:lnTo>
                    <a:pt x="914" y="407"/>
                  </a:lnTo>
                  <a:lnTo>
                    <a:pt x="910" y="412"/>
                  </a:lnTo>
                  <a:lnTo>
                    <a:pt x="905" y="421"/>
                  </a:lnTo>
                  <a:lnTo>
                    <a:pt x="905" y="434"/>
                  </a:lnTo>
                  <a:lnTo>
                    <a:pt x="910" y="434"/>
                  </a:lnTo>
                  <a:lnTo>
                    <a:pt x="910" y="444"/>
                  </a:lnTo>
                  <a:lnTo>
                    <a:pt x="914" y="453"/>
                  </a:lnTo>
                  <a:lnTo>
                    <a:pt x="914" y="457"/>
                  </a:lnTo>
                  <a:lnTo>
                    <a:pt x="919" y="457"/>
                  </a:lnTo>
                  <a:lnTo>
                    <a:pt x="923" y="462"/>
                  </a:lnTo>
                  <a:lnTo>
                    <a:pt x="923" y="471"/>
                  </a:lnTo>
                  <a:lnTo>
                    <a:pt x="923" y="476"/>
                  </a:lnTo>
                  <a:lnTo>
                    <a:pt x="923" y="476"/>
                  </a:lnTo>
                  <a:lnTo>
                    <a:pt x="928" y="480"/>
                  </a:lnTo>
                  <a:lnTo>
                    <a:pt x="928" y="485"/>
                  </a:lnTo>
                  <a:lnTo>
                    <a:pt x="928" y="489"/>
                  </a:lnTo>
                  <a:lnTo>
                    <a:pt x="928" y="498"/>
                  </a:lnTo>
                  <a:lnTo>
                    <a:pt x="932" y="503"/>
                  </a:lnTo>
                  <a:lnTo>
                    <a:pt x="928" y="503"/>
                  </a:lnTo>
                  <a:lnTo>
                    <a:pt x="928" y="508"/>
                  </a:lnTo>
                  <a:lnTo>
                    <a:pt x="928" y="512"/>
                  </a:lnTo>
                  <a:lnTo>
                    <a:pt x="923" y="512"/>
                  </a:lnTo>
                  <a:lnTo>
                    <a:pt x="923" y="512"/>
                  </a:lnTo>
                  <a:lnTo>
                    <a:pt x="923" y="517"/>
                  </a:lnTo>
                  <a:lnTo>
                    <a:pt x="919" y="521"/>
                  </a:lnTo>
                  <a:lnTo>
                    <a:pt x="914" y="521"/>
                  </a:lnTo>
                  <a:lnTo>
                    <a:pt x="910" y="521"/>
                  </a:lnTo>
                  <a:lnTo>
                    <a:pt x="900" y="530"/>
                  </a:lnTo>
                  <a:lnTo>
                    <a:pt x="900" y="530"/>
                  </a:lnTo>
                  <a:lnTo>
                    <a:pt x="900" y="535"/>
                  </a:lnTo>
                  <a:lnTo>
                    <a:pt x="896" y="535"/>
                  </a:lnTo>
                  <a:lnTo>
                    <a:pt x="896" y="540"/>
                  </a:lnTo>
                  <a:lnTo>
                    <a:pt x="891" y="544"/>
                  </a:lnTo>
                  <a:lnTo>
                    <a:pt x="887" y="544"/>
                  </a:lnTo>
                  <a:lnTo>
                    <a:pt x="887" y="544"/>
                  </a:lnTo>
                  <a:lnTo>
                    <a:pt x="882" y="544"/>
                  </a:lnTo>
                  <a:lnTo>
                    <a:pt x="882" y="549"/>
                  </a:lnTo>
                  <a:lnTo>
                    <a:pt x="878" y="549"/>
                  </a:lnTo>
                  <a:lnTo>
                    <a:pt x="878" y="553"/>
                  </a:lnTo>
                  <a:lnTo>
                    <a:pt x="864" y="562"/>
                  </a:lnTo>
                  <a:lnTo>
                    <a:pt x="855" y="562"/>
                  </a:lnTo>
                  <a:lnTo>
                    <a:pt x="855" y="562"/>
                  </a:lnTo>
                  <a:lnTo>
                    <a:pt x="850" y="562"/>
                  </a:lnTo>
                  <a:lnTo>
                    <a:pt x="846" y="558"/>
                  </a:lnTo>
                  <a:lnTo>
                    <a:pt x="841" y="558"/>
                  </a:lnTo>
                  <a:lnTo>
                    <a:pt x="841" y="553"/>
                  </a:lnTo>
                  <a:lnTo>
                    <a:pt x="841" y="549"/>
                  </a:lnTo>
                  <a:lnTo>
                    <a:pt x="836" y="549"/>
                  </a:lnTo>
                  <a:lnTo>
                    <a:pt x="836" y="544"/>
                  </a:lnTo>
                  <a:lnTo>
                    <a:pt x="836" y="544"/>
                  </a:lnTo>
                  <a:lnTo>
                    <a:pt x="832" y="535"/>
                  </a:lnTo>
                  <a:lnTo>
                    <a:pt x="832" y="526"/>
                  </a:lnTo>
                  <a:lnTo>
                    <a:pt x="827" y="526"/>
                  </a:lnTo>
                  <a:lnTo>
                    <a:pt x="823" y="521"/>
                  </a:lnTo>
                  <a:lnTo>
                    <a:pt x="823" y="517"/>
                  </a:lnTo>
                  <a:lnTo>
                    <a:pt x="818" y="517"/>
                  </a:lnTo>
                  <a:lnTo>
                    <a:pt x="818" y="512"/>
                  </a:lnTo>
                  <a:lnTo>
                    <a:pt x="814" y="512"/>
                  </a:lnTo>
                  <a:lnTo>
                    <a:pt x="814" y="508"/>
                  </a:lnTo>
                  <a:lnTo>
                    <a:pt x="804" y="503"/>
                  </a:lnTo>
                  <a:lnTo>
                    <a:pt x="800" y="498"/>
                  </a:lnTo>
                  <a:lnTo>
                    <a:pt x="795" y="498"/>
                  </a:lnTo>
                  <a:lnTo>
                    <a:pt x="791" y="498"/>
                  </a:lnTo>
                  <a:lnTo>
                    <a:pt x="791" y="498"/>
                  </a:lnTo>
                  <a:lnTo>
                    <a:pt x="786" y="498"/>
                  </a:lnTo>
                  <a:lnTo>
                    <a:pt x="782" y="498"/>
                  </a:lnTo>
                  <a:lnTo>
                    <a:pt x="777" y="503"/>
                  </a:lnTo>
                  <a:lnTo>
                    <a:pt x="768" y="503"/>
                  </a:lnTo>
                  <a:lnTo>
                    <a:pt x="768" y="503"/>
                  </a:lnTo>
                  <a:lnTo>
                    <a:pt x="763" y="503"/>
                  </a:lnTo>
                  <a:lnTo>
                    <a:pt x="759" y="503"/>
                  </a:lnTo>
                  <a:lnTo>
                    <a:pt x="750" y="498"/>
                  </a:lnTo>
                  <a:lnTo>
                    <a:pt x="745" y="498"/>
                  </a:lnTo>
                  <a:lnTo>
                    <a:pt x="731" y="498"/>
                  </a:lnTo>
                  <a:lnTo>
                    <a:pt x="722" y="498"/>
                  </a:lnTo>
                  <a:lnTo>
                    <a:pt x="718" y="498"/>
                  </a:lnTo>
                  <a:lnTo>
                    <a:pt x="708" y="498"/>
                  </a:lnTo>
                  <a:lnTo>
                    <a:pt x="708" y="494"/>
                  </a:lnTo>
                  <a:lnTo>
                    <a:pt x="699" y="494"/>
                  </a:lnTo>
                  <a:lnTo>
                    <a:pt x="695" y="489"/>
                  </a:lnTo>
                  <a:lnTo>
                    <a:pt x="681" y="485"/>
                  </a:lnTo>
                  <a:lnTo>
                    <a:pt x="681" y="485"/>
                  </a:lnTo>
                  <a:lnTo>
                    <a:pt x="676" y="485"/>
                  </a:lnTo>
                  <a:lnTo>
                    <a:pt x="672" y="485"/>
                  </a:lnTo>
                  <a:lnTo>
                    <a:pt x="658" y="476"/>
                  </a:lnTo>
                  <a:lnTo>
                    <a:pt x="654" y="476"/>
                  </a:lnTo>
                  <a:lnTo>
                    <a:pt x="649" y="476"/>
                  </a:lnTo>
                  <a:lnTo>
                    <a:pt x="649" y="476"/>
                  </a:lnTo>
                  <a:lnTo>
                    <a:pt x="640" y="476"/>
                  </a:lnTo>
                  <a:lnTo>
                    <a:pt x="635" y="471"/>
                  </a:lnTo>
                  <a:lnTo>
                    <a:pt x="635" y="471"/>
                  </a:lnTo>
                  <a:lnTo>
                    <a:pt x="631" y="466"/>
                  </a:lnTo>
                  <a:lnTo>
                    <a:pt x="626" y="466"/>
                  </a:lnTo>
                  <a:lnTo>
                    <a:pt x="622" y="462"/>
                  </a:lnTo>
                  <a:lnTo>
                    <a:pt x="617" y="462"/>
                  </a:lnTo>
                  <a:lnTo>
                    <a:pt x="617" y="462"/>
                  </a:lnTo>
                  <a:lnTo>
                    <a:pt x="603" y="466"/>
                  </a:lnTo>
                  <a:lnTo>
                    <a:pt x="599" y="466"/>
                  </a:lnTo>
                  <a:lnTo>
                    <a:pt x="594" y="471"/>
                  </a:lnTo>
                  <a:lnTo>
                    <a:pt x="590" y="476"/>
                  </a:lnTo>
                  <a:lnTo>
                    <a:pt x="585" y="476"/>
                  </a:lnTo>
                  <a:lnTo>
                    <a:pt x="576" y="476"/>
                  </a:lnTo>
                  <a:lnTo>
                    <a:pt x="553" y="498"/>
                  </a:lnTo>
                  <a:lnTo>
                    <a:pt x="548" y="498"/>
                  </a:lnTo>
                  <a:lnTo>
                    <a:pt x="548" y="498"/>
                  </a:lnTo>
                  <a:lnTo>
                    <a:pt x="548" y="503"/>
                  </a:lnTo>
                  <a:lnTo>
                    <a:pt x="548" y="508"/>
                  </a:lnTo>
                  <a:lnTo>
                    <a:pt x="544" y="512"/>
                  </a:lnTo>
                  <a:lnTo>
                    <a:pt x="544" y="517"/>
                  </a:lnTo>
                  <a:lnTo>
                    <a:pt x="544" y="521"/>
                  </a:lnTo>
                  <a:lnTo>
                    <a:pt x="539" y="521"/>
                  </a:lnTo>
                  <a:lnTo>
                    <a:pt x="539" y="521"/>
                  </a:lnTo>
                  <a:lnTo>
                    <a:pt x="539" y="530"/>
                  </a:lnTo>
                  <a:lnTo>
                    <a:pt x="539" y="535"/>
                  </a:lnTo>
                  <a:lnTo>
                    <a:pt x="544" y="540"/>
                  </a:lnTo>
                  <a:lnTo>
                    <a:pt x="544" y="544"/>
                  </a:lnTo>
                  <a:lnTo>
                    <a:pt x="544" y="544"/>
                  </a:lnTo>
                  <a:lnTo>
                    <a:pt x="548" y="544"/>
                  </a:lnTo>
                  <a:lnTo>
                    <a:pt x="548" y="549"/>
                  </a:lnTo>
                  <a:lnTo>
                    <a:pt x="548" y="553"/>
                  </a:lnTo>
                  <a:lnTo>
                    <a:pt x="548" y="562"/>
                  </a:lnTo>
                  <a:lnTo>
                    <a:pt x="553" y="562"/>
                  </a:lnTo>
                  <a:lnTo>
                    <a:pt x="553" y="567"/>
                  </a:lnTo>
                  <a:lnTo>
                    <a:pt x="558" y="572"/>
                  </a:lnTo>
                  <a:lnTo>
                    <a:pt x="558" y="576"/>
                  </a:lnTo>
                  <a:lnTo>
                    <a:pt x="562" y="585"/>
                  </a:lnTo>
                  <a:lnTo>
                    <a:pt x="562" y="585"/>
                  </a:lnTo>
                  <a:lnTo>
                    <a:pt x="567" y="590"/>
                  </a:lnTo>
                  <a:lnTo>
                    <a:pt x="567" y="594"/>
                  </a:lnTo>
                  <a:lnTo>
                    <a:pt x="571" y="599"/>
                  </a:lnTo>
                  <a:lnTo>
                    <a:pt x="571" y="604"/>
                  </a:lnTo>
                  <a:lnTo>
                    <a:pt x="567" y="608"/>
                  </a:lnTo>
                  <a:lnTo>
                    <a:pt x="567" y="608"/>
                  </a:lnTo>
                  <a:lnTo>
                    <a:pt x="562" y="608"/>
                  </a:lnTo>
                  <a:lnTo>
                    <a:pt x="558" y="608"/>
                  </a:lnTo>
                  <a:lnTo>
                    <a:pt x="553" y="608"/>
                  </a:lnTo>
                  <a:lnTo>
                    <a:pt x="548" y="608"/>
                  </a:lnTo>
                  <a:lnTo>
                    <a:pt x="548" y="608"/>
                  </a:lnTo>
                  <a:lnTo>
                    <a:pt x="548" y="604"/>
                  </a:lnTo>
                  <a:lnTo>
                    <a:pt x="535" y="594"/>
                  </a:lnTo>
                  <a:lnTo>
                    <a:pt x="530" y="594"/>
                  </a:lnTo>
                  <a:lnTo>
                    <a:pt x="526" y="594"/>
                  </a:lnTo>
                  <a:lnTo>
                    <a:pt x="526" y="590"/>
                  </a:lnTo>
                  <a:lnTo>
                    <a:pt x="526" y="590"/>
                  </a:lnTo>
                  <a:lnTo>
                    <a:pt x="521" y="585"/>
                  </a:lnTo>
                  <a:lnTo>
                    <a:pt x="516" y="585"/>
                  </a:lnTo>
                  <a:lnTo>
                    <a:pt x="512" y="585"/>
                  </a:lnTo>
                  <a:lnTo>
                    <a:pt x="507" y="585"/>
                  </a:lnTo>
                  <a:lnTo>
                    <a:pt x="507" y="581"/>
                  </a:lnTo>
                  <a:lnTo>
                    <a:pt x="503" y="576"/>
                  </a:lnTo>
                  <a:lnTo>
                    <a:pt x="498" y="576"/>
                  </a:lnTo>
                  <a:lnTo>
                    <a:pt x="494" y="576"/>
                  </a:lnTo>
                  <a:lnTo>
                    <a:pt x="489" y="572"/>
                  </a:lnTo>
                  <a:lnTo>
                    <a:pt x="484" y="572"/>
                  </a:lnTo>
                  <a:lnTo>
                    <a:pt x="475" y="567"/>
                  </a:lnTo>
                  <a:lnTo>
                    <a:pt x="471" y="567"/>
                  </a:lnTo>
                  <a:lnTo>
                    <a:pt x="462" y="567"/>
                  </a:lnTo>
                  <a:lnTo>
                    <a:pt x="462" y="562"/>
                  </a:lnTo>
                  <a:lnTo>
                    <a:pt x="452" y="562"/>
                  </a:lnTo>
                  <a:lnTo>
                    <a:pt x="439" y="553"/>
                  </a:lnTo>
                  <a:lnTo>
                    <a:pt x="439" y="553"/>
                  </a:lnTo>
                  <a:lnTo>
                    <a:pt x="434" y="553"/>
                  </a:lnTo>
                  <a:lnTo>
                    <a:pt x="434" y="549"/>
                  </a:lnTo>
                  <a:lnTo>
                    <a:pt x="430" y="549"/>
                  </a:lnTo>
                  <a:lnTo>
                    <a:pt x="425" y="549"/>
                  </a:lnTo>
                  <a:lnTo>
                    <a:pt x="420" y="544"/>
                  </a:lnTo>
                  <a:lnTo>
                    <a:pt x="416" y="544"/>
                  </a:lnTo>
                  <a:lnTo>
                    <a:pt x="416" y="544"/>
                  </a:lnTo>
                  <a:lnTo>
                    <a:pt x="411" y="544"/>
                  </a:lnTo>
                  <a:lnTo>
                    <a:pt x="407" y="544"/>
                  </a:lnTo>
                  <a:lnTo>
                    <a:pt x="402" y="544"/>
                  </a:lnTo>
                  <a:lnTo>
                    <a:pt x="398" y="540"/>
                  </a:lnTo>
                  <a:lnTo>
                    <a:pt x="388" y="540"/>
                  </a:lnTo>
                  <a:lnTo>
                    <a:pt x="384" y="535"/>
                  </a:lnTo>
                  <a:lnTo>
                    <a:pt x="375" y="530"/>
                  </a:lnTo>
                  <a:lnTo>
                    <a:pt x="370" y="530"/>
                  </a:lnTo>
                  <a:lnTo>
                    <a:pt x="356" y="530"/>
                  </a:lnTo>
                  <a:lnTo>
                    <a:pt x="338" y="526"/>
                  </a:lnTo>
                  <a:lnTo>
                    <a:pt x="329" y="526"/>
                  </a:lnTo>
                  <a:lnTo>
                    <a:pt x="329" y="521"/>
                  </a:lnTo>
                  <a:lnTo>
                    <a:pt x="315" y="521"/>
                  </a:lnTo>
                  <a:lnTo>
                    <a:pt x="311" y="521"/>
                  </a:lnTo>
                  <a:lnTo>
                    <a:pt x="306" y="521"/>
                  </a:lnTo>
                  <a:lnTo>
                    <a:pt x="297" y="517"/>
                  </a:lnTo>
                  <a:lnTo>
                    <a:pt x="292" y="517"/>
                  </a:lnTo>
                  <a:lnTo>
                    <a:pt x="288" y="512"/>
                  </a:lnTo>
                  <a:lnTo>
                    <a:pt x="279" y="512"/>
                  </a:lnTo>
                  <a:lnTo>
                    <a:pt x="274" y="508"/>
                  </a:lnTo>
                  <a:lnTo>
                    <a:pt x="270" y="508"/>
                  </a:lnTo>
                  <a:lnTo>
                    <a:pt x="265" y="508"/>
                  </a:lnTo>
                  <a:lnTo>
                    <a:pt x="260" y="503"/>
                  </a:lnTo>
                  <a:lnTo>
                    <a:pt x="256" y="503"/>
                  </a:lnTo>
                  <a:lnTo>
                    <a:pt x="247" y="503"/>
                  </a:lnTo>
                  <a:lnTo>
                    <a:pt x="242" y="503"/>
                  </a:lnTo>
                  <a:lnTo>
                    <a:pt x="228" y="498"/>
                  </a:lnTo>
                  <a:lnTo>
                    <a:pt x="219" y="498"/>
                  </a:lnTo>
                  <a:lnTo>
                    <a:pt x="219" y="498"/>
                  </a:lnTo>
                  <a:lnTo>
                    <a:pt x="215" y="498"/>
                  </a:lnTo>
                  <a:lnTo>
                    <a:pt x="210" y="503"/>
                  </a:lnTo>
                  <a:lnTo>
                    <a:pt x="206" y="503"/>
                  </a:lnTo>
                  <a:lnTo>
                    <a:pt x="201" y="503"/>
                  </a:lnTo>
                  <a:lnTo>
                    <a:pt x="192" y="503"/>
                  </a:lnTo>
                  <a:lnTo>
                    <a:pt x="183" y="503"/>
                  </a:lnTo>
                  <a:lnTo>
                    <a:pt x="178" y="503"/>
                  </a:lnTo>
                  <a:lnTo>
                    <a:pt x="169" y="508"/>
                  </a:lnTo>
                  <a:lnTo>
                    <a:pt x="160" y="508"/>
                  </a:lnTo>
                  <a:lnTo>
                    <a:pt x="155" y="512"/>
                  </a:lnTo>
                  <a:lnTo>
                    <a:pt x="151" y="512"/>
                  </a:lnTo>
                  <a:lnTo>
                    <a:pt x="146" y="512"/>
                  </a:lnTo>
                  <a:lnTo>
                    <a:pt x="132" y="517"/>
                  </a:lnTo>
                  <a:lnTo>
                    <a:pt x="128" y="517"/>
                  </a:lnTo>
                  <a:lnTo>
                    <a:pt x="123" y="521"/>
                  </a:lnTo>
                  <a:lnTo>
                    <a:pt x="119" y="521"/>
                  </a:lnTo>
                  <a:lnTo>
                    <a:pt x="110" y="521"/>
                  </a:lnTo>
                  <a:lnTo>
                    <a:pt x="105" y="521"/>
                  </a:lnTo>
                  <a:lnTo>
                    <a:pt x="100" y="526"/>
                  </a:lnTo>
                  <a:lnTo>
                    <a:pt x="91" y="526"/>
                  </a:lnTo>
                  <a:lnTo>
                    <a:pt x="91" y="526"/>
                  </a:lnTo>
                  <a:lnTo>
                    <a:pt x="91" y="530"/>
                  </a:lnTo>
                  <a:lnTo>
                    <a:pt x="87" y="530"/>
                  </a:lnTo>
                  <a:lnTo>
                    <a:pt x="82" y="530"/>
                  </a:lnTo>
                  <a:lnTo>
                    <a:pt x="78" y="530"/>
                  </a:lnTo>
                  <a:lnTo>
                    <a:pt x="78" y="535"/>
                  </a:lnTo>
                  <a:lnTo>
                    <a:pt x="68" y="535"/>
                  </a:lnTo>
                  <a:lnTo>
                    <a:pt x="64" y="535"/>
                  </a:lnTo>
                  <a:lnTo>
                    <a:pt x="64" y="540"/>
                  </a:lnTo>
                  <a:lnTo>
                    <a:pt x="59" y="540"/>
                  </a:lnTo>
                  <a:lnTo>
                    <a:pt x="55" y="540"/>
                  </a:lnTo>
                  <a:lnTo>
                    <a:pt x="46" y="544"/>
                  </a:lnTo>
                  <a:lnTo>
                    <a:pt x="46" y="544"/>
                  </a:lnTo>
                  <a:lnTo>
                    <a:pt x="41" y="544"/>
                  </a:lnTo>
                  <a:lnTo>
                    <a:pt x="36" y="549"/>
                  </a:lnTo>
                  <a:lnTo>
                    <a:pt x="32" y="549"/>
                  </a:lnTo>
                  <a:lnTo>
                    <a:pt x="27" y="553"/>
                  </a:lnTo>
                  <a:lnTo>
                    <a:pt x="23" y="553"/>
                  </a:lnTo>
                  <a:lnTo>
                    <a:pt x="23" y="558"/>
                  </a:lnTo>
                  <a:lnTo>
                    <a:pt x="18" y="562"/>
                  </a:lnTo>
                  <a:lnTo>
                    <a:pt x="9" y="567"/>
                  </a:lnTo>
                  <a:lnTo>
                    <a:pt x="4" y="567"/>
                  </a:lnTo>
                  <a:lnTo>
                    <a:pt x="4" y="562"/>
                  </a:lnTo>
                  <a:lnTo>
                    <a:pt x="4" y="558"/>
                  </a:lnTo>
                  <a:lnTo>
                    <a:pt x="4" y="553"/>
                  </a:lnTo>
                  <a:lnTo>
                    <a:pt x="4" y="549"/>
                  </a:lnTo>
                  <a:lnTo>
                    <a:pt x="4" y="540"/>
                  </a:lnTo>
                  <a:lnTo>
                    <a:pt x="9" y="530"/>
                  </a:lnTo>
                  <a:lnTo>
                    <a:pt x="9" y="521"/>
                  </a:lnTo>
                  <a:lnTo>
                    <a:pt x="14" y="521"/>
                  </a:lnTo>
                  <a:lnTo>
                    <a:pt x="14" y="517"/>
                  </a:lnTo>
                  <a:lnTo>
                    <a:pt x="14" y="512"/>
                  </a:lnTo>
                  <a:lnTo>
                    <a:pt x="14" y="508"/>
                  </a:lnTo>
                  <a:lnTo>
                    <a:pt x="14" y="503"/>
                  </a:lnTo>
                  <a:lnTo>
                    <a:pt x="18" y="503"/>
                  </a:lnTo>
                  <a:lnTo>
                    <a:pt x="18" y="498"/>
                  </a:lnTo>
                  <a:lnTo>
                    <a:pt x="18" y="498"/>
                  </a:lnTo>
                  <a:lnTo>
                    <a:pt x="23" y="494"/>
                  </a:lnTo>
                  <a:lnTo>
                    <a:pt x="23" y="485"/>
                  </a:lnTo>
                  <a:lnTo>
                    <a:pt x="18" y="480"/>
                  </a:lnTo>
                  <a:lnTo>
                    <a:pt x="18" y="476"/>
                  </a:lnTo>
                  <a:lnTo>
                    <a:pt x="18" y="476"/>
                  </a:lnTo>
                  <a:lnTo>
                    <a:pt x="18" y="471"/>
                  </a:lnTo>
                  <a:lnTo>
                    <a:pt x="23" y="462"/>
                  </a:lnTo>
                  <a:lnTo>
                    <a:pt x="23" y="457"/>
                  </a:lnTo>
                  <a:lnTo>
                    <a:pt x="23" y="457"/>
                  </a:lnTo>
                  <a:lnTo>
                    <a:pt x="23" y="457"/>
                  </a:lnTo>
                  <a:lnTo>
                    <a:pt x="23" y="453"/>
                  </a:lnTo>
                  <a:lnTo>
                    <a:pt x="18" y="448"/>
                  </a:lnTo>
                  <a:lnTo>
                    <a:pt x="14" y="444"/>
                  </a:lnTo>
                  <a:lnTo>
                    <a:pt x="14" y="439"/>
                  </a:lnTo>
                  <a:lnTo>
                    <a:pt x="9" y="434"/>
                  </a:lnTo>
                  <a:lnTo>
                    <a:pt x="9" y="434"/>
                  </a:lnTo>
                  <a:lnTo>
                    <a:pt x="9" y="425"/>
                  </a:lnTo>
                  <a:lnTo>
                    <a:pt x="4" y="421"/>
                  </a:lnTo>
                  <a:lnTo>
                    <a:pt x="0" y="412"/>
                  </a:lnTo>
                  <a:lnTo>
                    <a:pt x="0" y="407"/>
                  </a:lnTo>
                  <a:lnTo>
                    <a:pt x="4" y="398"/>
                  </a:lnTo>
                  <a:lnTo>
                    <a:pt x="9" y="384"/>
                  </a:lnTo>
                  <a:lnTo>
                    <a:pt x="18" y="375"/>
                  </a:lnTo>
                  <a:lnTo>
                    <a:pt x="23" y="370"/>
                  </a:lnTo>
                  <a:lnTo>
                    <a:pt x="27" y="361"/>
                  </a:lnTo>
                  <a:lnTo>
                    <a:pt x="46" y="361"/>
                  </a:lnTo>
                  <a:lnTo>
                    <a:pt x="46" y="361"/>
                  </a:lnTo>
                  <a:lnTo>
                    <a:pt x="55" y="361"/>
                  </a:lnTo>
                  <a:lnTo>
                    <a:pt x="68" y="357"/>
                  </a:lnTo>
                  <a:lnTo>
                    <a:pt x="82" y="357"/>
                  </a:lnTo>
                  <a:lnTo>
                    <a:pt x="87" y="357"/>
                  </a:lnTo>
                  <a:lnTo>
                    <a:pt x="91" y="352"/>
                  </a:lnTo>
                  <a:lnTo>
                    <a:pt x="114" y="348"/>
                  </a:lnTo>
                  <a:lnTo>
                    <a:pt x="119" y="348"/>
                  </a:lnTo>
                  <a:lnTo>
                    <a:pt x="132" y="343"/>
                  </a:lnTo>
                  <a:lnTo>
                    <a:pt x="137" y="338"/>
                  </a:lnTo>
                  <a:lnTo>
                    <a:pt x="142" y="334"/>
                  </a:lnTo>
                  <a:lnTo>
                    <a:pt x="151" y="334"/>
                  </a:lnTo>
                  <a:lnTo>
                    <a:pt x="151" y="329"/>
                  </a:lnTo>
                  <a:lnTo>
                    <a:pt x="155" y="329"/>
                  </a:lnTo>
                  <a:lnTo>
                    <a:pt x="155" y="329"/>
                  </a:lnTo>
                  <a:lnTo>
                    <a:pt x="155" y="325"/>
                  </a:lnTo>
                  <a:lnTo>
                    <a:pt x="160" y="325"/>
                  </a:lnTo>
                  <a:lnTo>
                    <a:pt x="160" y="325"/>
                  </a:lnTo>
                  <a:lnTo>
                    <a:pt x="164" y="325"/>
                  </a:lnTo>
                  <a:lnTo>
                    <a:pt x="169" y="325"/>
                  </a:lnTo>
                  <a:lnTo>
                    <a:pt x="169" y="320"/>
                  </a:lnTo>
                  <a:lnTo>
                    <a:pt x="174" y="320"/>
                  </a:lnTo>
                  <a:lnTo>
                    <a:pt x="178" y="316"/>
                  </a:lnTo>
                  <a:lnTo>
                    <a:pt x="178" y="311"/>
                  </a:lnTo>
                  <a:lnTo>
                    <a:pt x="183" y="306"/>
                  </a:lnTo>
                  <a:lnTo>
                    <a:pt x="187" y="306"/>
                  </a:lnTo>
                  <a:lnTo>
                    <a:pt x="192" y="302"/>
                  </a:lnTo>
                  <a:lnTo>
                    <a:pt x="192" y="302"/>
                  </a:lnTo>
                  <a:lnTo>
                    <a:pt x="196" y="297"/>
                  </a:lnTo>
                  <a:lnTo>
                    <a:pt x="196" y="293"/>
                  </a:lnTo>
                  <a:lnTo>
                    <a:pt x="196" y="293"/>
                  </a:lnTo>
                  <a:lnTo>
                    <a:pt x="196" y="288"/>
                  </a:lnTo>
                  <a:lnTo>
                    <a:pt x="201" y="288"/>
                  </a:lnTo>
                  <a:lnTo>
                    <a:pt x="201" y="284"/>
                  </a:lnTo>
                  <a:lnTo>
                    <a:pt x="206" y="284"/>
                  </a:lnTo>
                  <a:lnTo>
                    <a:pt x="206" y="279"/>
                  </a:lnTo>
                  <a:lnTo>
                    <a:pt x="210" y="279"/>
                  </a:lnTo>
                  <a:lnTo>
                    <a:pt x="215" y="274"/>
                  </a:lnTo>
                  <a:lnTo>
                    <a:pt x="215" y="270"/>
                  </a:lnTo>
                  <a:lnTo>
                    <a:pt x="219" y="270"/>
                  </a:lnTo>
                  <a:lnTo>
                    <a:pt x="219" y="265"/>
                  </a:lnTo>
                  <a:lnTo>
                    <a:pt x="219" y="261"/>
                  </a:lnTo>
                  <a:lnTo>
                    <a:pt x="224" y="256"/>
                  </a:lnTo>
                  <a:lnTo>
                    <a:pt x="238" y="233"/>
                  </a:lnTo>
                  <a:lnTo>
                    <a:pt x="238" y="224"/>
                  </a:lnTo>
                  <a:lnTo>
                    <a:pt x="238" y="215"/>
                  </a:lnTo>
                  <a:lnTo>
                    <a:pt x="238" y="210"/>
                  </a:lnTo>
                  <a:lnTo>
                    <a:pt x="238" y="206"/>
                  </a:lnTo>
                  <a:lnTo>
                    <a:pt x="242" y="192"/>
                  </a:lnTo>
                  <a:lnTo>
                    <a:pt x="242" y="183"/>
                  </a:lnTo>
                  <a:lnTo>
                    <a:pt x="242" y="169"/>
                  </a:lnTo>
                  <a:lnTo>
                    <a:pt x="242" y="160"/>
                  </a:lnTo>
                  <a:lnTo>
                    <a:pt x="242" y="146"/>
                  </a:lnTo>
                  <a:lnTo>
                    <a:pt x="242" y="142"/>
                  </a:lnTo>
                  <a:lnTo>
                    <a:pt x="242" y="128"/>
                  </a:lnTo>
                  <a:lnTo>
                    <a:pt x="242" y="110"/>
                  </a:lnTo>
                  <a:lnTo>
                    <a:pt x="242" y="73"/>
                  </a:lnTo>
                  <a:lnTo>
                    <a:pt x="242" y="59"/>
                  </a:lnTo>
                  <a:lnTo>
                    <a:pt x="242" y="59"/>
                  </a:lnTo>
                  <a:lnTo>
                    <a:pt x="242" y="50"/>
                  </a:lnTo>
                  <a:lnTo>
                    <a:pt x="242" y="46"/>
                  </a:lnTo>
                  <a:lnTo>
                    <a:pt x="242" y="41"/>
                  </a:lnTo>
                  <a:lnTo>
                    <a:pt x="247" y="37"/>
                  </a:lnTo>
                  <a:lnTo>
                    <a:pt x="251" y="37"/>
                  </a:lnTo>
                  <a:lnTo>
                    <a:pt x="256" y="32"/>
                  </a:lnTo>
                  <a:lnTo>
                    <a:pt x="265" y="27"/>
                  </a:lnTo>
                  <a:lnTo>
                    <a:pt x="270" y="23"/>
                  </a:lnTo>
                  <a:lnTo>
                    <a:pt x="260" y="18"/>
                  </a:lnTo>
                  <a:lnTo>
                    <a:pt x="265" y="14"/>
                  </a:lnTo>
                  <a:lnTo>
                    <a:pt x="265" y="14"/>
                  </a:lnTo>
                  <a:lnTo>
                    <a:pt x="270" y="14"/>
                  </a:lnTo>
                  <a:lnTo>
                    <a:pt x="274" y="14"/>
                  </a:lnTo>
                  <a:lnTo>
                    <a:pt x="274" y="9"/>
                  </a:lnTo>
                  <a:lnTo>
                    <a:pt x="279" y="9"/>
                  </a:lnTo>
                  <a:lnTo>
                    <a:pt x="283" y="9"/>
                  </a:lnTo>
                  <a:lnTo>
                    <a:pt x="288" y="9"/>
                  </a:lnTo>
                  <a:lnTo>
                    <a:pt x="288" y="9"/>
                  </a:lnTo>
                  <a:lnTo>
                    <a:pt x="292" y="14"/>
                  </a:lnTo>
                  <a:lnTo>
                    <a:pt x="292" y="18"/>
                  </a:lnTo>
                  <a:lnTo>
                    <a:pt x="292" y="18"/>
                  </a:lnTo>
                  <a:lnTo>
                    <a:pt x="297" y="23"/>
                  </a:lnTo>
                  <a:lnTo>
                    <a:pt x="302" y="18"/>
                  </a:lnTo>
                  <a:lnTo>
                    <a:pt x="306" y="18"/>
                  </a:lnTo>
                  <a:lnTo>
                    <a:pt x="306" y="18"/>
                  </a:lnTo>
                  <a:lnTo>
                    <a:pt x="311" y="18"/>
                  </a:lnTo>
                  <a:lnTo>
                    <a:pt x="315" y="23"/>
                  </a:lnTo>
                  <a:lnTo>
                    <a:pt x="320" y="23"/>
                  </a:lnTo>
                  <a:lnTo>
                    <a:pt x="320" y="27"/>
                  </a:lnTo>
                  <a:lnTo>
                    <a:pt x="329" y="27"/>
                  </a:lnTo>
                  <a:lnTo>
                    <a:pt x="329" y="32"/>
                  </a:lnTo>
                  <a:lnTo>
                    <a:pt x="334" y="32"/>
                  </a:lnTo>
                  <a:lnTo>
                    <a:pt x="343" y="27"/>
                  </a:lnTo>
                  <a:lnTo>
                    <a:pt x="352" y="23"/>
                  </a:lnTo>
                  <a:lnTo>
                    <a:pt x="352" y="18"/>
                  </a:lnTo>
                  <a:lnTo>
                    <a:pt x="356" y="18"/>
                  </a:lnTo>
                  <a:lnTo>
                    <a:pt x="356" y="14"/>
                  </a:lnTo>
                  <a:lnTo>
                    <a:pt x="361" y="14"/>
                  </a:lnTo>
                  <a:lnTo>
                    <a:pt x="361" y="9"/>
                  </a:lnTo>
                  <a:lnTo>
                    <a:pt x="366" y="9"/>
                  </a:lnTo>
                  <a:lnTo>
                    <a:pt x="366" y="5"/>
                  </a:lnTo>
                  <a:lnTo>
                    <a:pt x="370" y="5"/>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5" name="Freeform 32">
              <a:extLst>
                <a:ext uri="{FF2B5EF4-FFF2-40B4-BE49-F238E27FC236}">
                  <a16:creationId xmlns:a16="http://schemas.microsoft.com/office/drawing/2014/main" id="{1AA36068-F62F-4A87-A294-598D9281209B}"/>
                </a:ext>
              </a:extLst>
            </p:cNvPr>
            <p:cNvSpPr>
              <a:spLocks/>
            </p:cNvSpPr>
            <p:nvPr>
              <p:custDataLst>
                <p:tags r:id="rId27"/>
              </p:custDataLst>
            </p:nvPr>
          </p:nvSpPr>
          <p:spPr bwMode="auto">
            <a:xfrm>
              <a:off x="439535" y="1781608"/>
              <a:ext cx="1268424" cy="1203003"/>
            </a:xfrm>
            <a:custGeom>
              <a:avLst/>
              <a:gdLst/>
              <a:ahLst/>
              <a:cxnLst>
                <a:cxn ang="0">
                  <a:pos x="910" y="110"/>
                </a:cxn>
                <a:cxn ang="0">
                  <a:pos x="969" y="151"/>
                </a:cxn>
                <a:cxn ang="0">
                  <a:pos x="964" y="229"/>
                </a:cxn>
                <a:cxn ang="0">
                  <a:pos x="969" y="307"/>
                </a:cxn>
                <a:cxn ang="0">
                  <a:pos x="978" y="371"/>
                </a:cxn>
                <a:cxn ang="0">
                  <a:pos x="1033" y="339"/>
                </a:cxn>
                <a:cxn ang="0">
                  <a:pos x="1092" y="293"/>
                </a:cxn>
                <a:cxn ang="0">
                  <a:pos x="1152" y="307"/>
                </a:cxn>
                <a:cxn ang="0">
                  <a:pos x="1225" y="275"/>
                </a:cxn>
                <a:cxn ang="0">
                  <a:pos x="1266" y="316"/>
                </a:cxn>
                <a:cxn ang="0">
                  <a:pos x="1303" y="380"/>
                </a:cxn>
                <a:cxn ang="0">
                  <a:pos x="1284" y="439"/>
                </a:cxn>
                <a:cxn ang="0">
                  <a:pos x="1280" y="489"/>
                </a:cxn>
                <a:cxn ang="0">
                  <a:pos x="1371" y="503"/>
                </a:cxn>
                <a:cxn ang="0">
                  <a:pos x="1412" y="581"/>
                </a:cxn>
                <a:cxn ang="0">
                  <a:pos x="1408" y="617"/>
                </a:cxn>
                <a:cxn ang="0">
                  <a:pos x="1431" y="659"/>
                </a:cxn>
                <a:cxn ang="0">
                  <a:pos x="1385" y="713"/>
                </a:cxn>
                <a:cxn ang="0">
                  <a:pos x="1403" y="773"/>
                </a:cxn>
                <a:cxn ang="0">
                  <a:pos x="1303" y="809"/>
                </a:cxn>
                <a:cxn ang="0">
                  <a:pos x="1216" y="1148"/>
                </a:cxn>
                <a:cxn ang="0">
                  <a:pos x="1170" y="1171"/>
                </a:cxn>
                <a:cxn ang="0">
                  <a:pos x="1111" y="1120"/>
                </a:cxn>
                <a:cxn ang="0">
                  <a:pos x="1079" y="1052"/>
                </a:cxn>
                <a:cxn ang="0">
                  <a:pos x="1019" y="997"/>
                </a:cxn>
                <a:cxn ang="0">
                  <a:pos x="951" y="988"/>
                </a:cxn>
                <a:cxn ang="0">
                  <a:pos x="823" y="979"/>
                </a:cxn>
                <a:cxn ang="0">
                  <a:pos x="736" y="919"/>
                </a:cxn>
                <a:cxn ang="0">
                  <a:pos x="617" y="878"/>
                </a:cxn>
                <a:cxn ang="0">
                  <a:pos x="567" y="832"/>
                </a:cxn>
                <a:cxn ang="0">
                  <a:pos x="471" y="837"/>
                </a:cxn>
                <a:cxn ang="0">
                  <a:pos x="416" y="777"/>
                </a:cxn>
                <a:cxn ang="0">
                  <a:pos x="334" y="709"/>
                </a:cxn>
                <a:cxn ang="0">
                  <a:pos x="247" y="617"/>
                </a:cxn>
                <a:cxn ang="0">
                  <a:pos x="201" y="567"/>
                </a:cxn>
                <a:cxn ang="0">
                  <a:pos x="137" y="553"/>
                </a:cxn>
                <a:cxn ang="0">
                  <a:pos x="123" y="526"/>
                </a:cxn>
                <a:cxn ang="0">
                  <a:pos x="87" y="503"/>
                </a:cxn>
                <a:cxn ang="0">
                  <a:pos x="23" y="471"/>
                </a:cxn>
                <a:cxn ang="0">
                  <a:pos x="0" y="403"/>
                </a:cxn>
                <a:cxn ang="0">
                  <a:pos x="73" y="352"/>
                </a:cxn>
                <a:cxn ang="0">
                  <a:pos x="96" y="238"/>
                </a:cxn>
                <a:cxn ang="0">
                  <a:pos x="64" y="128"/>
                </a:cxn>
                <a:cxn ang="0">
                  <a:pos x="91" y="110"/>
                </a:cxn>
                <a:cxn ang="0">
                  <a:pos x="174" y="137"/>
                </a:cxn>
                <a:cxn ang="0">
                  <a:pos x="260" y="133"/>
                </a:cxn>
                <a:cxn ang="0">
                  <a:pos x="306" y="174"/>
                </a:cxn>
                <a:cxn ang="0">
                  <a:pos x="388" y="188"/>
                </a:cxn>
                <a:cxn ang="0">
                  <a:pos x="430" y="243"/>
                </a:cxn>
                <a:cxn ang="0">
                  <a:pos x="384" y="288"/>
                </a:cxn>
                <a:cxn ang="0">
                  <a:pos x="343" y="371"/>
                </a:cxn>
                <a:cxn ang="0">
                  <a:pos x="370" y="444"/>
                </a:cxn>
                <a:cxn ang="0">
                  <a:pos x="425" y="412"/>
                </a:cxn>
                <a:cxn ang="0">
                  <a:pos x="507" y="403"/>
                </a:cxn>
                <a:cxn ang="0">
                  <a:pos x="480" y="334"/>
                </a:cxn>
                <a:cxn ang="0">
                  <a:pos x="494" y="238"/>
                </a:cxn>
                <a:cxn ang="0">
                  <a:pos x="580" y="220"/>
                </a:cxn>
                <a:cxn ang="0">
                  <a:pos x="558" y="174"/>
                </a:cxn>
                <a:cxn ang="0">
                  <a:pos x="512" y="101"/>
                </a:cxn>
                <a:cxn ang="0">
                  <a:pos x="443" y="51"/>
                </a:cxn>
                <a:cxn ang="0">
                  <a:pos x="494" y="14"/>
                </a:cxn>
                <a:cxn ang="0">
                  <a:pos x="667" y="14"/>
                </a:cxn>
                <a:cxn ang="0">
                  <a:pos x="708" y="128"/>
                </a:cxn>
              </a:cxnLst>
              <a:rect l="0" t="0" r="r" b="b"/>
              <a:pathLst>
                <a:path w="1454" h="1189">
                  <a:moveTo>
                    <a:pt x="804" y="142"/>
                  </a:moveTo>
                  <a:lnTo>
                    <a:pt x="809" y="142"/>
                  </a:lnTo>
                  <a:lnTo>
                    <a:pt x="818" y="142"/>
                  </a:lnTo>
                  <a:lnTo>
                    <a:pt x="823" y="142"/>
                  </a:lnTo>
                  <a:lnTo>
                    <a:pt x="832" y="142"/>
                  </a:lnTo>
                  <a:lnTo>
                    <a:pt x="850" y="137"/>
                  </a:lnTo>
                  <a:lnTo>
                    <a:pt x="868" y="128"/>
                  </a:lnTo>
                  <a:lnTo>
                    <a:pt x="873" y="128"/>
                  </a:lnTo>
                  <a:lnTo>
                    <a:pt x="878" y="128"/>
                  </a:lnTo>
                  <a:lnTo>
                    <a:pt x="882" y="128"/>
                  </a:lnTo>
                  <a:lnTo>
                    <a:pt x="887" y="128"/>
                  </a:lnTo>
                  <a:lnTo>
                    <a:pt x="887" y="124"/>
                  </a:lnTo>
                  <a:lnTo>
                    <a:pt x="891" y="124"/>
                  </a:lnTo>
                  <a:lnTo>
                    <a:pt x="896" y="119"/>
                  </a:lnTo>
                  <a:lnTo>
                    <a:pt x="900" y="119"/>
                  </a:lnTo>
                  <a:lnTo>
                    <a:pt x="900" y="115"/>
                  </a:lnTo>
                  <a:lnTo>
                    <a:pt x="905" y="115"/>
                  </a:lnTo>
                  <a:lnTo>
                    <a:pt x="910" y="110"/>
                  </a:lnTo>
                  <a:lnTo>
                    <a:pt x="910" y="110"/>
                  </a:lnTo>
                  <a:lnTo>
                    <a:pt x="914" y="105"/>
                  </a:lnTo>
                  <a:lnTo>
                    <a:pt x="923" y="101"/>
                  </a:lnTo>
                  <a:lnTo>
                    <a:pt x="923" y="96"/>
                  </a:lnTo>
                  <a:lnTo>
                    <a:pt x="928" y="96"/>
                  </a:lnTo>
                  <a:lnTo>
                    <a:pt x="932" y="96"/>
                  </a:lnTo>
                  <a:lnTo>
                    <a:pt x="932" y="96"/>
                  </a:lnTo>
                  <a:lnTo>
                    <a:pt x="932" y="101"/>
                  </a:lnTo>
                  <a:lnTo>
                    <a:pt x="937" y="101"/>
                  </a:lnTo>
                  <a:lnTo>
                    <a:pt x="937" y="105"/>
                  </a:lnTo>
                  <a:lnTo>
                    <a:pt x="946" y="115"/>
                  </a:lnTo>
                  <a:lnTo>
                    <a:pt x="951" y="119"/>
                  </a:lnTo>
                  <a:lnTo>
                    <a:pt x="951" y="124"/>
                  </a:lnTo>
                  <a:lnTo>
                    <a:pt x="951" y="128"/>
                  </a:lnTo>
                  <a:lnTo>
                    <a:pt x="955" y="128"/>
                  </a:lnTo>
                  <a:lnTo>
                    <a:pt x="955" y="133"/>
                  </a:lnTo>
                  <a:lnTo>
                    <a:pt x="960" y="137"/>
                  </a:lnTo>
                  <a:lnTo>
                    <a:pt x="960" y="142"/>
                  </a:lnTo>
                  <a:lnTo>
                    <a:pt x="964" y="142"/>
                  </a:lnTo>
                  <a:lnTo>
                    <a:pt x="969" y="151"/>
                  </a:lnTo>
                  <a:lnTo>
                    <a:pt x="974" y="151"/>
                  </a:lnTo>
                  <a:lnTo>
                    <a:pt x="974" y="156"/>
                  </a:lnTo>
                  <a:lnTo>
                    <a:pt x="974" y="160"/>
                  </a:lnTo>
                  <a:lnTo>
                    <a:pt x="978" y="160"/>
                  </a:lnTo>
                  <a:lnTo>
                    <a:pt x="978" y="169"/>
                  </a:lnTo>
                  <a:lnTo>
                    <a:pt x="983" y="174"/>
                  </a:lnTo>
                  <a:lnTo>
                    <a:pt x="983" y="174"/>
                  </a:lnTo>
                  <a:lnTo>
                    <a:pt x="983" y="179"/>
                  </a:lnTo>
                  <a:lnTo>
                    <a:pt x="987" y="188"/>
                  </a:lnTo>
                  <a:lnTo>
                    <a:pt x="983" y="188"/>
                  </a:lnTo>
                  <a:lnTo>
                    <a:pt x="974" y="197"/>
                  </a:lnTo>
                  <a:lnTo>
                    <a:pt x="974" y="197"/>
                  </a:lnTo>
                  <a:lnTo>
                    <a:pt x="974" y="201"/>
                  </a:lnTo>
                  <a:lnTo>
                    <a:pt x="969" y="215"/>
                  </a:lnTo>
                  <a:lnTo>
                    <a:pt x="969" y="220"/>
                  </a:lnTo>
                  <a:lnTo>
                    <a:pt x="969" y="220"/>
                  </a:lnTo>
                  <a:lnTo>
                    <a:pt x="964" y="220"/>
                  </a:lnTo>
                  <a:lnTo>
                    <a:pt x="964" y="224"/>
                  </a:lnTo>
                  <a:lnTo>
                    <a:pt x="964" y="229"/>
                  </a:lnTo>
                  <a:lnTo>
                    <a:pt x="964" y="233"/>
                  </a:lnTo>
                  <a:lnTo>
                    <a:pt x="964" y="238"/>
                  </a:lnTo>
                  <a:lnTo>
                    <a:pt x="960" y="238"/>
                  </a:lnTo>
                  <a:lnTo>
                    <a:pt x="960" y="243"/>
                  </a:lnTo>
                  <a:lnTo>
                    <a:pt x="960" y="247"/>
                  </a:lnTo>
                  <a:lnTo>
                    <a:pt x="960" y="252"/>
                  </a:lnTo>
                  <a:lnTo>
                    <a:pt x="964" y="252"/>
                  </a:lnTo>
                  <a:lnTo>
                    <a:pt x="964" y="256"/>
                  </a:lnTo>
                  <a:lnTo>
                    <a:pt x="969" y="261"/>
                  </a:lnTo>
                  <a:lnTo>
                    <a:pt x="969" y="261"/>
                  </a:lnTo>
                  <a:lnTo>
                    <a:pt x="974" y="261"/>
                  </a:lnTo>
                  <a:lnTo>
                    <a:pt x="974" y="265"/>
                  </a:lnTo>
                  <a:lnTo>
                    <a:pt x="974" y="275"/>
                  </a:lnTo>
                  <a:lnTo>
                    <a:pt x="969" y="279"/>
                  </a:lnTo>
                  <a:lnTo>
                    <a:pt x="969" y="284"/>
                  </a:lnTo>
                  <a:lnTo>
                    <a:pt x="974" y="293"/>
                  </a:lnTo>
                  <a:lnTo>
                    <a:pt x="974" y="302"/>
                  </a:lnTo>
                  <a:lnTo>
                    <a:pt x="969" y="302"/>
                  </a:lnTo>
                  <a:lnTo>
                    <a:pt x="969" y="307"/>
                  </a:lnTo>
                  <a:lnTo>
                    <a:pt x="960" y="316"/>
                  </a:lnTo>
                  <a:lnTo>
                    <a:pt x="960" y="320"/>
                  </a:lnTo>
                  <a:lnTo>
                    <a:pt x="955" y="325"/>
                  </a:lnTo>
                  <a:lnTo>
                    <a:pt x="955" y="329"/>
                  </a:lnTo>
                  <a:lnTo>
                    <a:pt x="955" y="329"/>
                  </a:lnTo>
                  <a:lnTo>
                    <a:pt x="955" y="334"/>
                  </a:lnTo>
                  <a:lnTo>
                    <a:pt x="955" y="339"/>
                  </a:lnTo>
                  <a:lnTo>
                    <a:pt x="955" y="343"/>
                  </a:lnTo>
                  <a:lnTo>
                    <a:pt x="960" y="343"/>
                  </a:lnTo>
                  <a:lnTo>
                    <a:pt x="964" y="348"/>
                  </a:lnTo>
                  <a:lnTo>
                    <a:pt x="969" y="348"/>
                  </a:lnTo>
                  <a:lnTo>
                    <a:pt x="974" y="348"/>
                  </a:lnTo>
                  <a:lnTo>
                    <a:pt x="974" y="348"/>
                  </a:lnTo>
                  <a:lnTo>
                    <a:pt x="974" y="348"/>
                  </a:lnTo>
                  <a:lnTo>
                    <a:pt x="974" y="352"/>
                  </a:lnTo>
                  <a:lnTo>
                    <a:pt x="974" y="357"/>
                  </a:lnTo>
                  <a:lnTo>
                    <a:pt x="974" y="361"/>
                  </a:lnTo>
                  <a:lnTo>
                    <a:pt x="978" y="371"/>
                  </a:lnTo>
                  <a:lnTo>
                    <a:pt x="978" y="371"/>
                  </a:lnTo>
                  <a:lnTo>
                    <a:pt x="983" y="371"/>
                  </a:lnTo>
                  <a:lnTo>
                    <a:pt x="987" y="371"/>
                  </a:lnTo>
                  <a:lnTo>
                    <a:pt x="992" y="375"/>
                  </a:lnTo>
                  <a:lnTo>
                    <a:pt x="996" y="375"/>
                  </a:lnTo>
                  <a:lnTo>
                    <a:pt x="1001" y="375"/>
                  </a:lnTo>
                  <a:lnTo>
                    <a:pt x="1001" y="371"/>
                  </a:lnTo>
                  <a:lnTo>
                    <a:pt x="1006" y="371"/>
                  </a:lnTo>
                  <a:lnTo>
                    <a:pt x="1010" y="371"/>
                  </a:lnTo>
                  <a:lnTo>
                    <a:pt x="1010" y="366"/>
                  </a:lnTo>
                  <a:lnTo>
                    <a:pt x="1015" y="366"/>
                  </a:lnTo>
                  <a:lnTo>
                    <a:pt x="1019" y="357"/>
                  </a:lnTo>
                  <a:lnTo>
                    <a:pt x="1019" y="357"/>
                  </a:lnTo>
                  <a:lnTo>
                    <a:pt x="1019" y="352"/>
                  </a:lnTo>
                  <a:lnTo>
                    <a:pt x="1019" y="348"/>
                  </a:lnTo>
                  <a:lnTo>
                    <a:pt x="1024" y="348"/>
                  </a:lnTo>
                  <a:lnTo>
                    <a:pt x="1024" y="348"/>
                  </a:lnTo>
                  <a:lnTo>
                    <a:pt x="1028" y="343"/>
                  </a:lnTo>
                  <a:lnTo>
                    <a:pt x="1028" y="339"/>
                  </a:lnTo>
                  <a:lnTo>
                    <a:pt x="1033" y="339"/>
                  </a:lnTo>
                  <a:lnTo>
                    <a:pt x="1038" y="334"/>
                  </a:lnTo>
                  <a:lnTo>
                    <a:pt x="1042" y="334"/>
                  </a:lnTo>
                  <a:lnTo>
                    <a:pt x="1042" y="329"/>
                  </a:lnTo>
                  <a:lnTo>
                    <a:pt x="1042" y="329"/>
                  </a:lnTo>
                  <a:lnTo>
                    <a:pt x="1042" y="329"/>
                  </a:lnTo>
                  <a:lnTo>
                    <a:pt x="1047" y="329"/>
                  </a:lnTo>
                  <a:lnTo>
                    <a:pt x="1047" y="325"/>
                  </a:lnTo>
                  <a:lnTo>
                    <a:pt x="1051" y="325"/>
                  </a:lnTo>
                  <a:lnTo>
                    <a:pt x="1056" y="325"/>
                  </a:lnTo>
                  <a:lnTo>
                    <a:pt x="1056" y="320"/>
                  </a:lnTo>
                  <a:lnTo>
                    <a:pt x="1060" y="316"/>
                  </a:lnTo>
                  <a:lnTo>
                    <a:pt x="1060" y="316"/>
                  </a:lnTo>
                  <a:lnTo>
                    <a:pt x="1074" y="307"/>
                  </a:lnTo>
                  <a:lnTo>
                    <a:pt x="1074" y="302"/>
                  </a:lnTo>
                  <a:lnTo>
                    <a:pt x="1079" y="302"/>
                  </a:lnTo>
                  <a:lnTo>
                    <a:pt x="1083" y="297"/>
                  </a:lnTo>
                  <a:lnTo>
                    <a:pt x="1083" y="297"/>
                  </a:lnTo>
                  <a:lnTo>
                    <a:pt x="1083" y="293"/>
                  </a:lnTo>
                  <a:lnTo>
                    <a:pt x="1092" y="293"/>
                  </a:lnTo>
                  <a:lnTo>
                    <a:pt x="1092" y="288"/>
                  </a:lnTo>
                  <a:lnTo>
                    <a:pt x="1097" y="288"/>
                  </a:lnTo>
                  <a:lnTo>
                    <a:pt x="1102" y="288"/>
                  </a:lnTo>
                  <a:lnTo>
                    <a:pt x="1102" y="284"/>
                  </a:lnTo>
                  <a:lnTo>
                    <a:pt x="1106" y="284"/>
                  </a:lnTo>
                  <a:lnTo>
                    <a:pt x="1106" y="284"/>
                  </a:lnTo>
                  <a:lnTo>
                    <a:pt x="1111" y="288"/>
                  </a:lnTo>
                  <a:lnTo>
                    <a:pt x="1115" y="288"/>
                  </a:lnTo>
                  <a:lnTo>
                    <a:pt x="1115" y="293"/>
                  </a:lnTo>
                  <a:lnTo>
                    <a:pt x="1120" y="293"/>
                  </a:lnTo>
                  <a:lnTo>
                    <a:pt x="1120" y="302"/>
                  </a:lnTo>
                  <a:lnTo>
                    <a:pt x="1124" y="307"/>
                  </a:lnTo>
                  <a:lnTo>
                    <a:pt x="1124" y="307"/>
                  </a:lnTo>
                  <a:lnTo>
                    <a:pt x="1129" y="311"/>
                  </a:lnTo>
                  <a:lnTo>
                    <a:pt x="1129" y="311"/>
                  </a:lnTo>
                  <a:lnTo>
                    <a:pt x="1134" y="307"/>
                  </a:lnTo>
                  <a:lnTo>
                    <a:pt x="1138" y="307"/>
                  </a:lnTo>
                  <a:lnTo>
                    <a:pt x="1143" y="307"/>
                  </a:lnTo>
                  <a:lnTo>
                    <a:pt x="1152" y="307"/>
                  </a:lnTo>
                  <a:lnTo>
                    <a:pt x="1152" y="307"/>
                  </a:lnTo>
                  <a:lnTo>
                    <a:pt x="1152" y="302"/>
                  </a:lnTo>
                  <a:lnTo>
                    <a:pt x="1161" y="302"/>
                  </a:lnTo>
                  <a:lnTo>
                    <a:pt x="1170" y="302"/>
                  </a:lnTo>
                  <a:lnTo>
                    <a:pt x="1170" y="297"/>
                  </a:lnTo>
                  <a:lnTo>
                    <a:pt x="1184" y="297"/>
                  </a:lnTo>
                  <a:lnTo>
                    <a:pt x="1198" y="297"/>
                  </a:lnTo>
                  <a:lnTo>
                    <a:pt x="1198" y="293"/>
                  </a:lnTo>
                  <a:lnTo>
                    <a:pt x="1198" y="288"/>
                  </a:lnTo>
                  <a:lnTo>
                    <a:pt x="1193" y="284"/>
                  </a:lnTo>
                  <a:lnTo>
                    <a:pt x="1193" y="284"/>
                  </a:lnTo>
                  <a:lnTo>
                    <a:pt x="1193" y="279"/>
                  </a:lnTo>
                  <a:lnTo>
                    <a:pt x="1193" y="275"/>
                  </a:lnTo>
                  <a:lnTo>
                    <a:pt x="1198" y="275"/>
                  </a:lnTo>
                  <a:lnTo>
                    <a:pt x="1202" y="270"/>
                  </a:lnTo>
                  <a:lnTo>
                    <a:pt x="1207" y="270"/>
                  </a:lnTo>
                  <a:lnTo>
                    <a:pt x="1211" y="270"/>
                  </a:lnTo>
                  <a:lnTo>
                    <a:pt x="1216" y="270"/>
                  </a:lnTo>
                  <a:lnTo>
                    <a:pt x="1225" y="275"/>
                  </a:lnTo>
                  <a:lnTo>
                    <a:pt x="1234" y="275"/>
                  </a:lnTo>
                  <a:lnTo>
                    <a:pt x="1239" y="279"/>
                  </a:lnTo>
                  <a:lnTo>
                    <a:pt x="1239" y="284"/>
                  </a:lnTo>
                  <a:lnTo>
                    <a:pt x="1239" y="284"/>
                  </a:lnTo>
                  <a:lnTo>
                    <a:pt x="1239" y="284"/>
                  </a:lnTo>
                  <a:lnTo>
                    <a:pt x="1243" y="288"/>
                  </a:lnTo>
                  <a:lnTo>
                    <a:pt x="1243" y="293"/>
                  </a:lnTo>
                  <a:lnTo>
                    <a:pt x="1239" y="297"/>
                  </a:lnTo>
                  <a:lnTo>
                    <a:pt x="1239" y="302"/>
                  </a:lnTo>
                  <a:lnTo>
                    <a:pt x="1239" y="307"/>
                  </a:lnTo>
                  <a:lnTo>
                    <a:pt x="1239" y="307"/>
                  </a:lnTo>
                  <a:lnTo>
                    <a:pt x="1239" y="307"/>
                  </a:lnTo>
                  <a:lnTo>
                    <a:pt x="1239" y="311"/>
                  </a:lnTo>
                  <a:lnTo>
                    <a:pt x="1239" y="316"/>
                  </a:lnTo>
                  <a:lnTo>
                    <a:pt x="1243" y="316"/>
                  </a:lnTo>
                  <a:lnTo>
                    <a:pt x="1248" y="316"/>
                  </a:lnTo>
                  <a:lnTo>
                    <a:pt x="1262" y="316"/>
                  </a:lnTo>
                  <a:lnTo>
                    <a:pt x="1262" y="316"/>
                  </a:lnTo>
                  <a:lnTo>
                    <a:pt x="1266" y="316"/>
                  </a:lnTo>
                  <a:lnTo>
                    <a:pt x="1271" y="316"/>
                  </a:lnTo>
                  <a:lnTo>
                    <a:pt x="1271" y="320"/>
                  </a:lnTo>
                  <a:lnTo>
                    <a:pt x="1275" y="325"/>
                  </a:lnTo>
                  <a:lnTo>
                    <a:pt x="1280" y="329"/>
                  </a:lnTo>
                  <a:lnTo>
                    <a:pt x="1280" y="339"/>
                  </a:lnTo>
                  <a:lnTo>
                    <a:pt x="1280" y="343"/>
                  </a:lnTo>
                  <a:lnTo>
                    <a:pt x="1280" y="348"/>
                  </a:lnTo>
                  <a:lnTo>
                    <a:pt x="1280" y="348"/>
                  </a:lnTo>
                  <a:lnTo>
                    <a:pt x="1275" y="352"/>
                  </a:lnTo>
                  <a:lnTo>
                    <a:pt x="1275" y="357"/>
                  </a:lnTo>
                  <a:lnTo>
                    <a:pt x="1275" y="361"/>
                  </a:lnTo>
                  <a:lnTo>
                    <a:pt x="1271" y="371"/>
                  </a:lnTo>
                  <a:lnTo>
                    <a:pt x="1271" y="371"/>
                  </a:lnTo>
                  <a:lnTo>
                    <a:pt x="1275" y="375"/>
                  </a:lnTo>
                  <a:lnTo>
                    <a:pt x="1280" y="380"/>
                  </a:lnTo>
                  <a:lnTo>
                    <a:pt x="1284" y="380"/>
                  </a:lnTo>
                  <a:lnTo>
                    <a:pt x="1289" y="380"/>
                  </a:lnTo>
                  <a:lnTo>
                    <a:pt x="1298" y="380"/>
                  </a:lnTo>
                  <a:lnTo>
                    <a:pt x="1303" y="380"/>
                  </a:lnTo>
                  <a:lnTo>
                    <a:pt x="1303" y="380"/>
                  </a:lnTo>
                  <a:lnTo>
                    <a:pt x="1307" y="384"/>
                  </a:lnTo>
                  <a:lnTo>
                    <a:pt x="1312" y="389"/>
                  </a:lnTo>
                  <a:lnTo>
                    <a:pt x="1316" y="393"/>
                  </a:lnTo>
                  <a:lnTo>
                    <a:pt x="1316" y="393"/>
                  </a:lnTo>
                  <a:lnTo>
                    <a:pt x="1321" y="393"/>
                  </a:lnTo>
                  <a:lnTo>
                    <a:pt x="1321" y="398"/>
                  </a:lnTo>
                  <a:lnTo>
                    <a:pt x="1321" y="403"/>
                  </a:lnTo>
                  <a:lnTo>
                    <a:pt x="1316" y="407"/>
                  </a:lnTo>
                  <a:lnTo>
                    <a:pt x="1316" y="412"/>
                  </a:lnTo>
                  <a:lnTo>
                    <a:pt x="1316" y="416"/>
                  </a:lnTo>
                  <a:lnTo>
                    <a:pt x="1307" y="416"/>
                  </a:lnTo>
                  <a:lnTo>
                    <a:pt x="1307" y="421"/>
                  </a:lnTo>
                  <a:lnTo>
                    <a:pt x="1303" y="421"/>
                  </a:lnTo>
                  <a:lnTo>
                    <a:pt x="1303" y="425"/>
                  </a:lnTo>
                  <a:lnTo>
                    <a:pt x="1298" y="425"/>
                  </a:lnTo>
                  <a:lnTo>
                    <a:pt x="1289" y="435"/>
                  </a:lnTo>
                  <a:lnTo>
                    <a:pt x="1289" y="439"/>
                  </a:lnTo>
                  <a:lnTo>
                    <a:pt x="1284" y="439"/>
                  </a:lnTo>
                  <a:lnTo>
                    <a:pt x="1280" y="439"/>
                  </a:lnTo>
                  <a:lnTo>
                    <a:pt x="1280" y="444"/>
                  </a:lnTo>
                  <a:lnTo>
                    <a:pt x="1280" y="444"/>
                  </a:lnTo>
                  <a:lnTo>
                    <a:pt x="1280" y="448"/>
                  </a:lnTo>
                  <a:lnTo>
                    <a:pt x="1275" y="448"/>
                  </a:lnTo>
                  <a:lnTo>
                    <a:pt x="1275" y="453"/>
                  </a:lnTo>
                  <a:lnTo>
                    <a:pt x="1271" y="457"/>
                  </a:lnTo>
                  <a:lnTo>
                    <a:pt x="1266" y="457"/>
                  </a:lnTo>
                  <a:lnTo>
                    <a:pt x="1266" y="457"/>
                  </a:lnTo>
                  <a:lnTo>
                    <a:pt x="1262" y="457"/>
                  </a:lnTo>
                  <a:lnTo>
                    <a:pt x="1262" y="462"/>
                  </a:lnTo>
                  <a:lnTo>
                    <a:pt x="1262" y="467"/>
                  </a:lnTo>
                  <a:lnTo>
                    <a:pt x="1262" y="467"/>
                  </a:lnTo>
                  <a:lnTo>
                    <a:pt x="1262" y="471"/>
                  </a:lnTo>
                  <a:lnTo>
                    <a:pt x="1262" y="480"/>
                  </a:lnTo>
                  <a:lnTo>
                    <a:pt x="1266" y="480"/>
                  </a:lnTo>
                  <a:lnTo>
                    <a:pt x="1266" y="480"/>
                  </a:lnTo>
                  <a:lnTo>
                    <a:pt x="1271" y="480"/>
                  </a:lnTo>
                  <a:lnTo>
                    <a:pt x="1280" y="489"/>
                  </a:lnTo>
                  <a:lnTo>
                    <a:pt x="1284" y="494"/>
                  </a:lnTo>
                  <a:lnTo>
                    <a:pt x="1289" y="499"/>
                  </a:lnTo>
                  <a:lnTo>
                    <a:pt x="1294" y="499"/>
                  </a:lnTo>
                  <a:lnTo>
                    <a:pt x="1298" y="499"/>
                  </a:lnTo>
                  <a:lnTo>
                    <a:pt x="1303" y="499"/>
                  </a:lnTo>
                  <a:lnTo>
                    <a:pt x="1303" y="499"/>
                  </a:lnTo>
                  <a:lnTo>
                    <a:pt x="1307" y="499"/>
                  </a:lnTo>
                  <a:lnTo>
                    <a:pt x="1312" y="499"/>
                  </a:lnTo>
                  <a:lnTo>
                    <a:pt x="1321" y="503"/>
                  </a:lnTo>
                  <a:lnTo>
                    <a:pt x="1326" y="503"/>
                  </a:lnTo>
                  <a:lnTo>
                    <a:pt x="1326" y="503"/>
                  </a:lnTo>
                  <a:lnTo>
                    <a:pt x="1330" y="503"/>
                  </a:lnTo>
                  <a:lnTo>
                    <a:pt x="1339" y="503"/>
                  </a:lnTo>
                  <a:lnTo>
                    <a:pt x="1344" y="508"/>
                  </a:lnTo>
                  <a:lnTo>
                    <a:pt x="1348" y="508"/>
                  </a:lnTo>
                  <a:lnTo>
                    <a:pt x="1358" y="508"/>
                  </a:lnTo>
                  <a:lnTo>
                    <a:pt x="1367" y="503"/>
                  </a:lnTo>
                  <a:lnTo>
                    <a:pt x="1371" y="503"/>
                  </a:lnTo>
                  <a:lnTo>
                    <a:pt x="1371" y="503"/>
                  </a:lnTo>
                  <a:lnTo>
                    <a:pt x="1380" y="503"/>
                  </a:lnTo>
                  <a:lnTo>
                    <a:pt x="1390" y="503"/>
                  </a:lnTo>
                  <a:lnTo>
                    <a:pt x="1394" y="503"/>
                  </a:lnTo>
                  <a:lnTo>
                    <a:pt x="1399" y="503"/>
                  </a:lnTo>
                  <a:lnTo>
                    <a:pt x="1403" y="503"/>
                  </a:lnTo>
                  <a:lnTo>
                    <a:pt x="1408" y="508"/>
                  </a:lnTo>
                  <a:lnTo>
                    <a:pt x="1408" y="512"/>
                  </a:lnTo>
                  <a:lnTo>
                    <a:pt x="1412" y="512"/>
                  </a:lnTo>
                  <a:lnTo>
                    <a:pt x="1412" y="517"/>
                  </a:lnTo>
                  <a:lnTo>
                    <a:pt x="1412" y="521"/>
                  </a:lnTo>
                  <a:lnTo>
                    <a:pt x="1412" y="526"/>
                  </a:lnTo>
                  <a:lnTo>
                    <a:pt x="1408" y="535"/>
                  </a:lnTo>
                  <a:lnTo>
                    <a:pt x="1408" y="540"/>
                  </a:lnTo>
                  <a:lnTo>
                    <a:pt x="1408" y="544"/>
                  </a:lnTo>
                  <a:lnTo>
                    <a:pt x="1412" y="549"/>
                  </a:lnTo>
                  <a:lnTo>
                    <a:pt x="1412" y="558"/>
                  </a:lnTo>
                  <a:lnTo>
                    <a:pt x="1412" y="563"/>
                  </a:lnTo>
                  <a:lnTo>
                    <a:pt x="1412" y="572"/>
                  </a:lnTo>
                  <a:lnTo>
                    <a:pt x="1412" y="581"/>
                  </a:lnTo>
                  <a:lnTo>
                    <a:pt x="1412" y="585"/>
                  </a:lnTo>
                  <a:lnTo>
                    <a:pt x="1412" y="590"/>
                  </a:lnTo>
                  <a:lnTo>
                    <a:pt x="1408" y="590"/>
                  </a:lnTo>
                  <a:lnTo>
                    <a:pt x="1403" y="595"/>
                  </a:lnTo>
                  <a:lnTo>
                    <a:pt x="1399" y="595"/>
                  </a:lnTo>
                  <a:lnTo>
                    <a:pt x="1394" y="599"/>
                  </a:lnTo>
                  <a:lnTo>
                    <a:pt x="1390" y="599"/>
                  </a:lnTo>
                  <a:lnTo>
                    <a:pt x="1390" y="604"/>
                  </a:lnTo>
                  <a:lnTo>
                    <a:pt x="1385" y="604"/>
                  </a:lnTo>
                  <a:lnTo>
                    <a:pt x="1385" y="608"/>
                  </a:lnTo>
                  <a:lnTo>
                    <a:pt x="1380" y="608"/>
                  </a:lnTo>
                  <a:lnTo>
                    <a:pt x="1380" y="613"/>
                  </a:lnTo>
                  <a:lnTo>
                    <a:pt x="1385" y="613"/>
                  </a:lnTo>
                  <a:lnTo>
                    <a:pt x="1390" y="617"/>
                  </a:lnTo>
                  <a:lnTo>
                    <a:pt x="1390" y="617"/>
                  </a:lnTo>
                  <a:lnTo>
                    <a:pt x="1394" y="617"/>
                  </a:lnTo>
                  <a:lnTo>
                    <a:pt x="1399" y="617"/>
                  </a:lnTo>
                  <a:lnTo>
                    <a:pt x="1403" y="617"/>
                  </a:lnTo>
                  <a:lnTo>
                    <a:pt x="1408" y="617"/>
                  </a:lnTo>
                  <a:lnTo>
                    <a:pt x="1408" y="622"/>
                  </a:lnTo>
                  <a:lnTo>
                    <a:pt x="1412" y="622"/>
                  </a:lnTo>
                  <a:lnTo>
                    <a:pt x="1412" y="627"/>
                  </a:lnTo>
                  <a:lnTo>
                    <a:pt x="1408" y="627"/>
                  </a:lnTo>
                  <a:lnTo>
                    <a:pt x="1408" y="631"/>
                  </a:lnTo>
                  <a:lnTo>
                    <a:pt x="1403" y="636"/>
                  </a:lnTo>
                  <a:lnTo>
                    <a:pt x="1403" y="636"/>
                  </a:lnTo>
                  <a:lnTo>
                    <a:pt x="1403" y="640"/>
                  </a:lnTo>
                  <a:lnTo>
                    <a:pt x="1408" y="645"/>
                  </a:lnTo>
                  <a:lnTo>
                    <a:pt x="1412" y="645"/>
                  </a:lnTo>
                  <a:lnTo>
                    <a:pt x="1412" y="645"/>
                  </a:lnTo>
                  <a:lnTo>
                    <a:pt x="1412" y="649"/>
                  </a:lnTo>
                  <a:lnTo>
                    <a:pt x="1417" y="649"/>
                  </a:lnTo>
                  <a:lnTo>
                    <a:pt x="1417" y="654"/>
                  </a:lnTo>
                  <a:lnTo>
                    <a:pt x="1422" y="654"/>
                  </a:lnTo>
                  <a:lnTo>
                    <a:pt x="1426" y="654"/>
                  </a:lnTo>
                  <a:lnTo>
                    <a:pt x="1426" y="659"/>
                  </a:lnTo>
                  <a:lnTo>
                    <a:pt x="1431" y="659"/>
                  </a:lnTo>
                  <a:lnTo>
                    <a:pt x="1431" y="659"/>
                  </a:lnTo>
                  <a:lnTo>
                    <a:pt x="1426" y="663"/>
                  </a:lnTo>
                  <a:lnTo>
                    <a:pt x="1422" y="663"/>
                  </a:lnTo>
                  <a:lnTo>
                    <a:pt x="1422" y="668"/>
                  </a:lnTo>
                  <a:lnTo>
                    <a:pt x="1417" y="668"/>
                  </a:lnTo>
                  <a:lnTo>
                    <a:pt x="1417" y="672"/>
                  </a:lnTo>
                  <a:lnTo>
                    <a:pt x="1412" y="677"/>
                  </a:lnTo>
                  <a:lnTo>
                    <a:pt x="1412" y="677"/>
                  </a:lnTo>
                  <a:lnTo>
                    <a:pt x="1412" y="681"/>
                  </a:lnTo>
                  <a:lnTo>
                    <a:pt x="1412" y="686"/>
                  </a:lnTo>
                  <a:lnTo>
                    <a:pt x="1408" y="691"/>
                  </a:lnTo>
                  <a:lnTo>
                    <a:pt x="1403" y="695"/>
                  </a:lnTo>
                  <a:lnTo>
                    <a:pt x="1403" y="700"/>
                  </a:lnTo>
                  <a:lnTo>
                    <a:pt x="1399" y="700"/>
                  </a:lnTo>
                  <a:lnTo>
                    <a:pt x="1394" y="700"/>
                  </a:lnTo>
                  <a:lnTo>
                    <a:pt x="1390" y="704"/>
                  </a:lnTo>
                  <a:lnTo>
                    <a:pt x="1390" y="704"/>
                  </a:lnTo>
                  <a:lnTo>
                    <a:pt x="1390" y="709"/>
                  </a:lnTo>
                  <a:lnTo>
                    <a:pt x="1385" y="709"/>
                  </a:lnTo>
                  <a:lnTo>
                    <a:pt x="1385" y="713"/>
                  </a:lnTo>
                  <a:lnTo>
                    <a:pt x="1380" y="718"/>
                  </a:lnTo>
                  <a:lnTo>
                    <a:pt x="1380" y="723"/>
                  </a:lnTo>
                  <a:lnTo>
                    <a:pt x="1380" y="727"/>
                  </a:lnTo>
                  <a:lnTo>
                    <a:pt x="1380" y="732"/>
                  </a:lnTo>
                  <a:lnTo>
                    <a:pt x="1385" y="736"/>
                  </a:lnTo>
                  <a:lnTo>
                    <a:pt x="1385" y="741"/>
                  </a:lnTo>
                  <a:lnTo>
                    <a:pt x="1390" y="745"/>
                  </a:lnTo>
                  <a:lnTo>
                    <a:pt x="1390" y="745"/>
                  </a:lnTo>
                  <a:lnTo>
                    <a:pt x="1399" y="741"/>
                  </a:lnTo>
                  <a:lnTo>
                    <a:pt x="1403" y="741"/>
                  </a:lnTo>
                  <a:lnTo>
                    <a:pt x="1408" y="745"/>
                  </a:lnTo>
                  <a:lnTo>
                    <a:pt x="1408" y="745"/>
                  </a:lnTo>
                  <a:lnTo>
                    <a:pt x="1408" y="750"/>
                  </a:lnTo>
                  <a:lnTo>
                    <a:pt x="1399" y="759"/>
                  </a:lnTo>
                  <a:lnTo>
                    <a:pt x="1399" y="764"/>
                  </a:lnTo>
                  <a:lnTo>
                    <a:pt x="1394" y="764"/>
                  </a:lnTo>
                  <a:lnTo>
                    <a:pt x="1394" y="768"/>
                  </a:lnTo>
                  <a:lnTo>
                    <a:pt x="1399" y="768"/>
                  </a:lnTo>
                  <a:lnTo>
                    <a:pt x="1403" y="773"/>
                  </a:lnTo>
                  <a:lnTo>
                    <a:pt x="1408" y="773"/>
                  </a:lnTo>
                  <a:lnTo>
                    <a:pt x="1412" y="773"/>
                  </a:lnTo>
                  <a:lnTo>
                    <a:pt x="1417" y="768"/>
                  </a:lnTo>
                  <a:lnTo>
                    <a:pt x="1426" y="768"/>
                  </a:lnTo>
                  <a:lnTo>
                    <a:pt x="1431" y="768"/>
                  </a:lnTo>
                  <a:lnTo>
                    <a:pt x="1435" y="768"/>
                  </a:lnTo>
                  <a:lnTo>
                    <a:pt x="1435" y="768"/>
                  </a:lnTo>
                  <a:lnTo>
                    <a:pt x="1435" y="764"/>
                  </a:lnTo>
                  <a:lnTo>
                    <a:pt x="1440" y="764"/>
                  </a:lnTo>
                  <a:lnTo>
                    <a:pt x="1444" y="764"/>
                  </a:lnTo>
                  <a:lnTo>
                    <a:pt x="1454" y="764"/>
                  </a:lnTo>
                  <a:lnTo>
                    <a:pt x="1454" y="768"/>
                  </a:lnTo>
                  <a:lnTo>
                    <a:pt x="1449" y="768"/>
                  </a:lnTo>
                  <a:lnTo>
                    <a:pt x="1440" y="777"/>
                  </a:lnTo>
                  <a:lnTo>
                    <a:pt x="1376" y="860"/>
                  </a:lnTo>
                  <a:lnTo>
                    <a:pt x="1371" y="855"/>
                  </a:lnTo>
                  <a:lnTo>
                    <a:pt x="1353" y="841"/>
                  </a:lnTo>
                  <a:lnTo>
                    <a:pt x="1307" y="809"/>
                  </a:lnTo>
                  <a:lnTo>
                    <a:pt x="1303" y="809"/>
                  </a:lnTo>
                  <a:lnTo>
                    <a:pt x="1284" y="809"/>
                  </a:lnTo>
                  <a:lnTo>
                    <a:pt x="1252" y="805"/>
                  </a:lnTo>
                  <a:lnTo>
                    <a:pt x="1225" y="809"/>
                  </a:lnTo>
                  <a:lnTo>
                    <a:pt x="1225" y="832"/>
                  </a:lnTo>
                  <a:lnTo>
                    <a:pt x="1216" y="938"/>
                  </a:lnTo>
                  <a:lnTo>
                    <a:pt x="1216" y="1111"/>
                  </a:lnTo>
                  <a:lnTo>
                    <a:pt x="1239" y="1111"/>
                  </a:lnTo>
                  <a:lnTo>
                    <a:pt x="1239" y="1116"/>
                  </a:lnTo>
                  <a:lnTo>
                    <a:pt x="1239" y="1120"/>
                  </a:lnTo>
                  <a:lnTo>
                    <a:pt x="1239" y="1125"/>
                  </a:lnTo>
                  <a:lnTo>
                    <a:pt x="1234" y="1125"/>
                  </a:lnTo>
                  <a:lnTo>
                    <a:pt x="1234" y="1130"/>
                  </a:lnTo>
                  <a:lnTo>
                    <a:pt x="1230" y="1134"/>
                  </a:lnTo>
                  <a:lnTo>
                    <a:pt x="1230" y="1139"/>
                  </a:lnTo>
                  <a:lnTo>
                    <a:pt x="1225" y="1139"/>
                  </a:lnTo>
                  <a:lnTo>
                    <a:pt x="1220" y="1139"/>
                  </a:lnTo>
                  <a:lnTo>
                    <a:pt x="1220" y="1143"/>
                  </a:lnTo>
                  <a:lnTo>
                    <a:pt x="1216" y="1143"/>
                  </a:lnTo>
                  <a:lnTo>
                    <a:pt x="1216" y="1148"/>
                  </a:lnTo>
                  <a:lnTo>
                    <a:pt x="1216" y="1157"/>
                  </a:lnTo>
                  <a:lnTo>
                    <a:pt x="1216" y="1162"/>
                  </a:lnTo>
                  <a:lnTo>
                    <a:pt x="1211" y="1166"/>
                  </a:lnTo>
                  <a:lnTo>
                    <a:pt x="1207" y="1166"/>
                  </a:lnTo>
                  <a:lnTo>
                    <a:pt x="1207" y="1171"/>
                  </a:lnTo>
                  <a:lnTo>
                    <a:pt x="1202" y="1175"/>
                  </a:lnTo>
                  <a:lnTo>
                    <a:pt x="1202" y="1180"/>
                  </a:lnTo>
                  <a:lnTo>
                    <a:pt x="1198" y="1180"/>
                  </a:lnTo>
                  <a:lnTo>
                    <a:pt x="1198" y="1184"/>
                  </a:lnTo>
                  <a:lnTo>
                    <a:pt x="1193" y="1184"/>
                  </a:lnTo>
                  <a:lnTo>
                    <a:pt x="1193" y="1184"/>
                  </a:lnTo>
                  <a:lnTo>
                    <a:pt x="1188" y="1189"/>
                  </a:lnTo>
                  <a:lnTo>
                    <a:pt x="1184" y="1184"/>
                  </a:lnTo>
                  <a:lnTo>
                    <a:pt x="1179" y="1184"/>
                  </a:lnTo>
                  <a:lnTo>
                    <a:pt x="1175" y="1180"/>
                  </a:lnTo>
                  <a:lnTo>
                    <a:pt x="1170" y="1180"/>
                  </a:lnTo>
                  <a:lnTo>
                    <a:pt x="1170" y="1175"/>
                  </a:lnTo>
                  <a:lnTo>
                    <a:pt x="1170" y="1171"/>
                  </a:lnTo>
                  <a:lnTo>
                    <a:pt x="1170" y="1171"/>
                  </a:lnTo>
                  <a:lnTo>
                    <a:pt x="1170" y="1166"/>
                  </a:lnTo>
                  <a:lnTo>
                    <a:pt x="1166" y="1162"/>
                  </a:lnTo>
                  <a:lnTo>
                    <a:pt x="1161" y="1162"/>
                  </a:lnTo>
                  <a:lnTo>
                    <a:pt x="1156" y="1157"/>
                  </a:lnTo>
                  <a:lnTo>
                    <a:pt x="1152" y="1152"/>
                  </a:lnTo>
                  <a:lnTo>
                    <a:pt x="1152" y="1148"/>
                  </a:lnTo>
                  <a:lnTo>
                    <a:pt x="1152" y="1148"/>
                  </a:lnTo>
                  <a:lnTo>
                    <a:pt x="1147" y="1143"/>
                  </a:lnTo>
                  <a:lnTo>
                    <a:pt x="1143" y="1143"/>
                  </a:lnTo>
                  <a:lnTo>
                    <a:pt x="1143" y="1139"/>
                  </a:lnTo>
                  <a:lnTo>
                    <a:pt x="1138" y="1139"/>
                  </a:lnTo>
                  <a:lnTo>
                    <a:pt x="1134" y="1139"/>
                  </a:lnTo>
                  <a:lnTo>
                    <a:pt x="1134" y="1139"/>
                  </a:lnTo>
                  <a:lnTo>
                    <a:pt x="1129" y="1134"/>
                  </a:lnTo>
                  <a:lnTo>
                    <a:pt x="1124" y="1134"/>
                  </a:lnTo>
                  <a:lnTo>
                    <a:pt x="1124" y="1130"/>
                  </a:lnTo>
                  <a:lnTo>
                    <a:pt x="1120" y="1130"/>
                  </a:lnTo>
                  <a:lnTo>
                    <a:pt x="1120" y="1125"/>
                  </a:lnTo>
                  <a:lnTo>
                    <a:pt x="1111" y="1120"/>
                  </a:lnTo>
                  <a:lnTo>
                    <a:pt x="1111" y="1116"/>
                  </a:lnTo>
                  <a:lnTo>
                    <a:pt x="1106" y="1116"/>
                  </a:lnTo>
                  <a:lnTo>
                    <a:pt x="1106" y="1116"/>
                  </a:lnTo>
                  <a:lnTo>
                    <a:pt x="1106" y="1116"/>
                  </a:lnTo>
                  <a:lnTo>
                    <a:pt x="1102" y="1111"/>
                  </a:lnTo>
                  <a:lnTo>
                    <a:pt x="1097" y="1107"/>
                  </a:lnTo>
                  <a:lnTo>
                    <a:pt x="1092" y="1107"/>
                  </a:lnTo>
                  <a:lnTo>
                    <a:pt x="1092" y="1102"/>
                  </a:lnTo>
                  <a:lnTo>
                    <a:pt x="1088" y="1098"/>
                  </a:lnTo>
                  <a:lnTo>
                    <a:pt x="1088" y="1098"/>
                  </a:lnTo>
                  <a:lnTo>
                    <a:pt x="1083" y="1084"/>
                  </a:lnTo>
                  <a:lnTo>
                    <a:pt x="1083" y="1079"/>
                  </a:lnTo>
                  <a:lnTo>
                    <a:pt x="1083" y="1075"/>
                  </a:lnTo>
                  <a:lnTo>
                    <a:pt x="1083" y="1075"/>
                  </a:lnTo>
                  <a:lnTo>
                    <a:pt x="1083" y="1066"/>
                  </a:lnTo>
                  <a:lnTo>
                    <a:pt x="1079" y="1066"/>
                  </a:lnTo>
                  <a:lnTo>
                    <a:pt x="1079" y="1061"/>
                  </a:lnTo>
                  <a:lnTo>
                    <a:pt x="1079" y="1052"/>
                  </a:lnTo>
                  <a:lnTo>
                    <a:pt x="1079" y="1052"/>
                  </a:lnTo>
                  <a:lnTo>
                    <a:pt x="1074" y="1047"/>
                  </a:lnTo>
                  <a:lnTo>
                    <a:pt x="1070" y="1043"/>
                  </a:lnTo>
                  <a:lnTo>
                    <a:pt x="1070" y="1038"/>
                  </a:lnTo>
                  <a:lnTo>
                    <a:pt x="1065" y="1034"/>
                  </a:lnTo>
                  <a:lnTo>
                    <a:pt x="1065" y="1029"/>
                  </a:lnTo>
                  <a:lnTo>
                    <a:pt x="1065" y="1029"/>
                  </a:lnTo>
                  <a:lnTo>
                    <a:pt x="1060" y="1024"/>
                  </a:lnTo>
                  <a:lnTo>
                    <a:pt x="1060" y="1020"/>
                  </a:lnTo>
                  <a:lnTo>
                    <a:pt x="1060" y="1015"/>
                  </a:lnTo>
                  <a:lnTo>
                    <a:pt x="1056" y="1011"/>
                  </a:lnTo>
                  <a:lnTo>
                    <a:pt x="1051" y="1011"/>
                  </a:lnTo>
                  <a:lnTo>
                    <a:pt x="1047" y="1006"/>
                  </a:lnTo>
                  <a:lnTo>
                    <a:pt x="1047" y="1006"/>
                  </a:lnTo>
                  <a:lnTo>
                    <a:pt x="1042" y="1006"/>
                  </a:lnTo>
                  <a:lnTo>
                    <a:pt x="1042" y="1002"/>
                  </a:lnTo>
                  <a:lnTo>
                    <a:pt x="1038" y="1002"/>
                  </a:lnTo>
                  <a:lnTo>
                    <a:pt x="1028" y="997"/>
                  </a:lnTo>
                  <a:lnTo>
                    <a:pt x="1024" y="997"/>
                  </a:lnTo>
                  <a:lnTo>
                    <a:pt x="1019" y="997"/>
                  </a:lnTo>
                  <a:lnTo>
                    <a:pt x="1019" y="992"/>
                  </a:lnTo>
                  <a:lnTo>
                    <a:pt x="1015" y="992"/>
                  </a:lnTo>
                  <a:lnTo>
                    <a:pt x="1010" y="997"/>
                  </a:lnTo>
                  <a:lnTo>
                    <a:pt x="996" y="1002"/>
                  </a:lnTo>
                  <a:lnTo>
                    <a:pt x="996" y="997"/>
                  </a:lnTo>
                  <a:lnTo>
                    <a:pt x="996" y="1002"/>
                  </a:lnTo>
                  <a:lnTo>
                    <a:pt x="992" y="1002"/>
                  </a:lnTo>
                  <a:lnTo>
                    <a:pt x="987" y="1002"/>
                  </a:lnTo>
                  <a:lnTo>
                    <a:pt x="983" y="1002"/>
                  </a:lnTo>
                  <a:lnTo>
                    <a:pt x="974" y="997"/>
                  </a:lnTo>
                  <a:lnTo>
                    <a:pt x="974" y="997"/>
                  </a:lnTo>
                  <a:lnTo>
                    <a:pt x="974" y="992"/>
                  </a:lnTo>
                  <a:lnTo>
                    <a:pt x="969" y="992"/>
                  </a:lnTo>
                  <a:lnTo>
                    <a:pt x="964" y="992"/>
                  </a:lnTo>
                  <a:lnTo>
                    <a:pt x="964" y="988"/>
                  </a:lnTo>
                  <a:lnTo>
                    <a:pt x="960" y="988"/>
                  </a:lnTo>
                  <a:lnTo>
                    <a:pt x="960" y="988"/>
                  </a:lnTo>
                  <a:lnTo>
                    <a:pt x="955" y="988"/>
                  </a:lnTo>
                  <a:lnTo>
                    <a:pt x="951" y="988"/>
                  </a:lnTo>
                  <a:lnTo>
                    <a:pt x="946" y="983"/>
                  </a:lnTo>
                  <a:lnTo>
                    <a:pt x="942" y="983"/>
                  </a:lnTo>
                  <a:lnTo>
                    <a:pt x="932" y="988"/>
                  </a:lnTo>
                  <a:lnTo>
                    <a:pt x="928" y="988"/>
                  </a:lnTo>
                  <a:lnTo>
                    <a:pt x="923" y="988"/>
                  </a:lnTo>
                  <a:lnTo>
                    <a:pt x="914" y="988"/>
                  </a:lnTo>
                  <a:lnTo>
                    <a:pt x="905" y="992"/>
                  </a:lnTo>
                  <a:lnTo>
                    <a:pt x="900" y="992"/>
                  </a:lnTo>
                  <a:lnTo>
                    <a:pt x="891" y="988"/>
                  </a:lnTo>
                  <a:lnTo>
                    <a:pt x="878" y="988"/>
                  </a:lnTo>
                  <a:lnTo>
                    <a:pt x="873" y="992"/>
                  </a:lnTo>
                  <a:lnTo>
                    <a:pt x="850" y="992"/>
                  </a:lnTo>
                  <a:lnTo>
                    <a:pt x="846" y="988"/>
                  </a:lnTo>
                  <a:lnTo>
                    <a:pt x="841" y="988"/>
                  </a:lnTo>
                  <a:lnTo>
                    <a:pt x="832" y="988"/>
                  </a:lnTo>
                  <a:lnTo>
                    <a:pt x="827" y="988"/>
                  </a:lnTo>
                  <a:lnTo>
                    <a:pt x="827" y="983"/>
                  </a:lnTo>
                  <a:lnTo>
                    <a:pt x="823" y="983"/>
                  </a:lnTo>
                  <a:lnTo>
                    <a:pt x="823" y="979"/>
                  </a:lnTo>
                  <a:lnTo>
                    <a:pt x="823" y="974"/>
                  </a:lnTo>
                  <a:lnTo>
                    <a:pt x="823" y="970"/>
                  </a:lnTo>
                  <a:lnTo>
                    <a:pt x="818" y="970"/>
                  </a:lnTo>
                  <a:lnTo>
                    <a:pt x="818" y="965"/>
                  </a:lnTo>
                  <a:lnTo>
                    <a:pt x="814" y="965"/>
                  </a:lnTo>
                  <a:lnTo>
                    <a:pt x="804" y="960"/>
                  </a:lnTo>
                  <a:lnTo>
                    <a:pt x="804" y="960"/>
                  </a:lnTo>
                  <a:lnTo>
                    <a:pt x="800" y="956"/>
                  </a:lnTo>
                  <a:lnTo>
                    <a:pt x="795" y="956"/>
                  </a:lnTo>
                  <a:lnTo>
                    <a:pt x="786" y="956"/>
                  </a:lnTo>
                  <a:lnTo>
                    <a:pt x="777" y="951"/>
                  </a:lnTo>
                  <a:lnTo>
                    <a:pt x="777" y="951"/>
                  </a:lnTo>
                  <a:lnTo>
                    <a:pt x="772" y="947"/>
                  </a:lnTo>
                  <a:lnTo>
                    <a:pt x="768" y="947"/>
                  </a:lnTo>
                  <a:lnTo>
                    <a:pt x="768" y="942"/>
                  </a:lnTo>
                  <a:lnTo>
                    <a:pt x="763" y="942"/>
                  </a:lnTo>
                  <a:lnTo>
                    <a:pt x="759" y="942"/>
                  </a:lnTo>
                  <a:lnTo>
                    <a:pt x="754" y="933"/>
                  </a:lnTo>
                  <a:lnTo>
                    <a:pt x="736" y="919"/>
                  </a:lnTo>
                  <a:lnTo>
                    <a:pt x="731" y="919"/>
                  </a:lnTo>
                  <a:lnTo>
                    <a:pt x="727" y="915"/>
                  </a:lnTo>
                  <a:lnTo>
                    <a:pt x="722" y="915"/>
                  </a:lnTo>
                  <a:lnTo>
                    <a:pt x="718" y="910"/>
                  </a:lnTo>
                  <a:lnTo>
                    <a:pt x="713" y="910"/>
                  </a:lnTo>
                  <a:lnTo>
                    <a:pt x="713" y="910"/>
                  </a:lnTo>
                  <a:lnTo>
                    <a:pt x="708" y="906"/>
                  </a:lnTo>
                  <a:lnTo>
                    <a:pt x="704" y="906"/>
                  </a:lnTo>
                  <a:lnTo>
                    <a:pt x="690" y="896"/>
                  </a:lnTo>
                  <a:lnTo>
                    <a:pt x="676" y="896"/>
                  </a:lnTo>
                  <a:lnTo>
                    <a:pt x="667" y="892"/>
                  </a:lnTo>
                  <a:lnTo>
                    <a:pt x="658" y="892"/>
                  </a:lnTo>
                  <a:lnTo>
                    <a:pt x="644" y="887"/>
                  </a:lnTo>
                  <a:lnTo>
                    <a:pt x="631" y="887"/>
                  </a:lnTo>
                  <a:lnTo>
                    <a:pt x="626" y="887"/>
                  </a:lnTo>
                  <a:lnTo>
                    <a:pt x="622" y="887"/>
                  </a:lnTo>
                  <a:lnTo>
                    <a:pt x="622" y="883"/>
                  </a:lnTo>
                  <a:lnTo>
                    <a:pt x="622" y="883"/>
                  </a:lnTo>
                  <a:lnTo>
                    <a:pt x="617" y="878"/>
                  </a:lnTo>
                  <a:lnTo>
                    <a:pt x="612" y="878"/>
                  </a:lnTo>
                  <a:lnTo>
                    <a:pt x="608" y="874"/>
                  </a:lnTo>
                  <a:lnTo>
                    <a:pt x="603" y="869"/>
                  </a:lnTo>
                  <a:lnTo>
                    <a:pt x="603" y="864"/>
                  </a:lnTo>
                  <a:lnTo>
                    <a:pt x="603" y="860"/>
                  </a:lnTo>
                  <a:lnTo>
                    <a:pt x="603" y="855"/>
                  </a:lnTo>
                  <a:lnTo>
                    <a:pt x="599" y="855"/>
                  </a:lnTo>
                  <a:lnTo>
                    <a:pt x="599" y="855"/>
                  </a:lnTo>
                  <a:lnTo>
                    <a:pt x="594" y="855"/>
                  </a:lnTo>
                  <a:lnTo>
                    <a:pt x="590" y="851"/>
                  </a:lnTo>
                  <a:lnTo>
                    <a:pt x="585" y="846"/>
                  </a:lnTo>
                  <a:lnTo>
                    <a:pt x="580" y="846"/>
                  </a:lnTo>
                  <a:lnTo>
                    <a:pt x="580" y="841"/>
                  </a:lnTo>
                  <a:lnTo>
                    <a:pt x="580" y="841"/>
                  </a:lnTo>
                  <a:lnTo>
                    <a:pt x="576" y="841"/>
                  </a:lnTo>
                  <a:lnTo>
                    <a:pt x="576" y="837"/>
                  </a:lnTo>
                  <a:lnTo>
                    <a:pt x="571" y="832"/>
                  </a:lnTo>
                  <a:lnTo>
                    <a:pt x="567" y="832"/>
                  </a:lnTo>
                  <a:lnTo>
                    <a:pt x="567" y="832"/>
                  </a:lnTo>
                  <a:lnTo>
                    <a:pt x="562" y="828"/>
                  </a:lnTo>
                  <a:lnTo>
                    <a:pt x="558" y="828"/>
                  </a:lnTo>
                  <a:lnTo>
                    <a:pt x="558" y="823"/>
                  </a:lnTo>
                  <a:lnTo>
                    <a:pt x="558" y="823"/>
                  </a:lnTo>
                  <a:lnTo>
                    <a:pt x="553" y="819"/>
                  </a:lnTo>
                  <a:lnTo>
                    <a:pt x="548" y="819"/>
                  </a:lnTo>
                  <a:lnTo>
                    <a:pt x="544" y="814"/>
                  </a:lnTo>
                  <a:lnTo>
                    <a:pt x="539" y="814"/>
                  </a:lnTo>
                  <a:lnTo>
                    <a:pt x="535" y="814"/>
                  </a:lnTo>
                  <a:lnTo>
                    <a:pt x="521" y="814"/>
                  </a:lnTo>
                  <a:lnTo>
                    <a:pt x="516" y="814"/>
                  </a:lnTo>
                  <a:lnTo>
                    <a:pt x="516" y="819"/>
                  </a:lnTo>
                  <a:lnTo>
                    <a:pt x="512" y="819"/>
                  </a:lnTo>
                  <a:lnTo>
                    <a:pt x="512" y="823"/>
                  </a:lnTo>
                  <a:lnTo>
                    <a:pt x="507" y="823"/>
                  </a:lnTo>
                  <a:lnTo>
                    <a:pt x="503" y="823"/>
                  </a:lnTo>
                  <a:lnTo>
                    <a:pt x="498" y="828"/>
                  </a:lnTo>
                  <a:lnTo>
                    <a:pt x="494" y="828"/>
                  </a:lnTo>
                  <a:lnTo>
                    <a:pt x="471" y="837"/>
                  </a:lnTo>
                  <a:lnTo>
                    <a:pt x="466" y="837"/>
                  </a:lnTo>
                  <a:lnTo>
                    <a:pt x="462" y="837"/>
                  </a:lnTo>
                  <a:lnTo>
                    <a:pt x="457" y="837"/>
                  </a:lnTo>
                  <a:lnTo>
                    <a:pt x="452" y="832"/>
                  </a:lnTo>
                  <a:lnTo>
                    <a:pt x="448" y="832"/>
                  </a:lnTo>
                  <a:lnTo>
                    <a:pt x="448" y="828"/>
                  </a:lnTo>
                  <a:lnTo>
                    <a:pt x="448" y="828"/>
                  </a:lnTo>
                  <a:lnTo>
                    <a:pt x="448" y="823"/>
                  </a:lnTo>
                  <a:lnTo>
                    <a:pt x="448" y="819"/>
                  </a:lnTo>
                  <a:lnTo>
                    <a:pt x="448" y="814"/>
                  </a:lnTo>
                  <a:lnTo>
                    <a:pt x="443" y="800"/>
                  </a:lnTo>
                  <a:lnTo>
                    <a:pt x="443" y="796"/>
                  </a:lnTo>
                  <a:lnTo>
                    <a:pt x="443" y="791"/>
                  </a:lnTo>
                  <a:lnTo>
                    <a:pt x="443" y="787"/>
                  </a:lnTo>
                  <a:lnTo>
                    <a:pt x="439" y="787"/>
                  </a:lnTo>
                  <a:lnTo>
                    <a:pt x="434" y="787"/>
                  </a:lnTo>
                  <a:lnTo>
                    <a:pt x="430" y="782"/>
                  </a:lnTo>
                  <a:lnTo>
                    <a:pt x="425" y="782"/>
                  </a:lnTo>
                  <a:lnTo>
                    <a:pt x="416" y="777"/>
                  </a:lnTo>
                  <a:lnTo>
                    <a:pt x="411" y="777"/>
                  </a:lnTo>
                  <a:lnTo>
                    <a:pt x="407" y="777"/>
                  </a:lnTo>
                  <a:lnTo>
                    <a:pt x="407" y="773"/>
                  </a:lnTo>
                  <a:lnTo>
                    <a:pt x="402" y="773"/>
                  </a:lnTo>
                  <a:lnTo>
                    <a:pt x="402" y="773"/>
                  </a:lnTo>
                  <a:lnTo>
                    <a:pt x="398" y="768"/>
                  </a:lnTo>
                  <a:lnTo>
                    <a:pt x="393" y="768"/>
                  </a:lnTo>
                  <a:lnTo>
                    <a:pt x="388" y="768"/>
                  </a:lnTo>
                  <a:lnTo>
                    <a:pt x="379" y="759"/>
                  </a:lnTo>
                  <a:lnTo>
                    <a:pt x="375" y="755"/>
                  </a:lnTo>
                  <a:lnTo>
                    <a:pt x="370" y="750"/>
                  </a:lnTo>
                  <a:lnTo>
                    <a:pt x="361" y="741"/>
                  </a:lnTo>
                  <a:lnTo>
                    <a:pt x="356" y="736"/>
                  </a:lnTo>
                  <a:lnTo>
                    <a:pt x="352" y="727"/>
                  </a:lnTo>
                  <a:lnTo>
                    <a:pt x="347" y="723"/>
                  </a:lnTo>
                  <a:lnTo>
                    <a:pt x="343" y="723"/>
                  </a:lnTo>
                  <a:lnTo>
                    <a:pt x="338" y="723"/>
                  </a:lnTo>
                  <a:lnTo>
                    <a:pt x="338" y="718"/>
                  </a:lnTo>
                  <a:lnTo>
                    <a:pt x="334" y="709"/>
                  </a:lnTo>
                  <a:lnTo>
                    <a:pt x="329" y="709"/>
                  </a:lnTo>
                  <a:lnTo>
                    <a:pt x="329" y="704"/>
                  </a:lnTo>
                  <a:lnTo>
                    <a:pt x="324" y="700"/>
                  </a:lnTo>
                  <a:lnTo>
                    <a:pt x="315" y="700"/>
                  </a:lnTo>
                  <a:lnTo>
                    <a:pt x="306" y="681"/>
                  </a:lnTo>
                  <a:lnTo>
                    <a:pt x="302" y="681"/>
                  </a:lnTo>
                  <a:lnTo>
                    <a:pt x="302" y="677"/>
                  </a:lnTo>
                  <a:lnTo>
                    <a:pt x="292" y="672"/>
                  </a:lnTo>
                  <a:lnTo>
                    <a:pt x="292" y="668"/>
                  </a:lnTo>
                  <a:lnTo>
                    <a:pt x="288" y="663"/>
                  </a:lnTo>
                  <a:lnTo>
                    <a:pt x="283" y="659"/>
                  </a:lnTo>
                  <a:lnTo>
                    <a:pt x="274" y="649"/>
                  </a:lnTo>
                  <a:lnTo>
                    <a:pt x="274" y="649"/>
                  </a:lnTo>
                  <a:lnTo>
                    <a:pt x="274" y="645"/>
                  </a:lnTo>
                  <a:lnTo>
                    <a:pt x="270" y="640"/>
                  </a:lnTo>
                  <a:lnTo>
                    <a:pt x="260" y="636"/>
                  </a:lnTo>
                  <a:lnTo>
                    <a:pt x="251" y="622"/>
                  </a:lnTo>
                  <a:lnTo>
                    <a:pt x="251" y="617"/>
                  </a:lnTo>
                  <a:lnTo>
                    <a:pt x="247" y="617"/>
                  </a:lnTo>
                  <a:lnTo>
                    <a:pt x="247" y="613"/>
                  </a:lnTo>
                  <a:lnTo>
                    <a:pt x="238" y="613"/>
                  </a:lnTo>
                  <a:lnTo>
                    <a:pt x="238" y="608"/>
                  </a:lnTo>
                  <a:lnTo>
                    <a:pt x="233" y="604"/>
                  </a:lnTo>
                  <a:lnTo>
                    <a:pt x="228" y="599"/>
                  </a:lnTo>
                  <a:lnTo>
                    <a:pt x="228" y="595"/>
                  </a:lnTo>
                  <a:lnTo>
                    <a:pt x="228" y="590"/>
                  </a:lnTo>
                  <a:lnTo>
                    <a:pt x="224" y="590"/>
                  </a:lnTo>
                  <a:lnTo>
                    <a:pt x="224" y="590"/>
                  </a:lnTo>
                  <a:lnTo>
                    <a:pt x="224" y="585"/>
                  </a:lnTo>
                  <a:lnTo>
                    <a:pt x="219" y="576"/>
                  </a:lnTo>
                  <a:lnTo>
                    <a:pt x="215" y="572"/>
                  </a:lnTo>
                  <a:lnTo>
                    <a:pt x="206" y="572"/>
                  </a:lnTo>
                  <a:lnTo>
                    <a:pt x="206" y="572"/>
                  </a:lnTo>
                  <a:lnTo>
                    <a:pt x="206" y="567"/>
                  </a:lnTo>
                  <a:lnTo>
                    <a:pt x="206" y="567"/>
                  </a:lnTo>
                  <a:lnTo>
                    <a:pt x="206" y="563"/>
                  </a:lnTo>
                  <a:lnTo>
                    <a:pt x="201" y="563"/>
                  </a:lnTo>
                  <a:lnTo>
                    <a:pt x="201" y="567"/>
                  </a:lnTo>
                  <a:lnTo>
                    <a:pt x="196" y="567"/>
                  </a:lnTo>
                  <a:lnTo>
                    <a:pt x="192" y="567"/>
                  </a:lnTo>
                  <a:lnTo>
                    <a:pt x="192" y="572"/>
                  </a:lnTo>
                  <a:lnTo>
                    <a:pt x="192" y="576"/>
                  </a:lnTo>
                  <a:lnTo>
                    <a:pt x="187" y="576"/>
                  </a:lnTo>
                  <a:lnTo>
                    <a:pt x="183" y="572"/>
                  </a:lnTo>
                  <a:lnTo>
                    <a:pt x="178" y="572"/>
                  </a:lnTo>
                  <a:lnTo>
                    <a:pt x="174" y="572"/>
                  </a:lnTo>
                  <a:lnTo>
                    <a:pt x="169" y="572"/>
                  </a:lnTo>
                  <a:lnTo>
                    <a:pt x="164" y="567"/>
                  </a:lnTo>
                  <a:lnTo>
                    <a:pt x="164" y="563"/>
                  </a:lnTo>
                  <a:lnTo>
                    <a:pt x="164" y="558"/>
                  </a:lnTo>
                  <a:lnTo>
                    <a:pt x="164" y="558"/>
                  </a:lnTo>
                  <a:lnTo>
                    <a:pt x="160" y="558"/>
                  </a:lnTo>
                  <a:lnTo>
                    <a:pt x="155" y="558"/>
                  </a:lnTo>
                  <a:lnTo>
                    <a:pt x="146" y="558"/>
                  </a:lnTo>
                  <a:lnTo>
                    <a:pt x="142" y="558"/>
                  </a:lnTo>
                  <a:lnTo>
                    <a:pt x="142" y="553"/>
                  </a:lnTo>
                  <a:lnTo>
                    <a:pt x="137" y="553"/>
                  </a:lnTo>
                  <a:lnTo>
                    <a:pt x="137" y="549"/>
                  </a:lnTo>
                  <a:lnTo>
                    <a:pt x="132" y="549"/>
                  </a:lnTo>
                  <a:lnTo>
                    <a:pt x="137" y="549"/>
                  </a:lnTo>
                  <a:lnTo>
                    <a:pt x="137" y="544"/>
                  </a:lnTo>
                  <a:lnTo>
                    <a:pt x="142" y="549"/>
                  </a:lnTo>
                  <a:lnTo>
                    <a:pt x="146" y="549"/>
                  </a:lnTo>
                  <a:lnTo>
                    <a:pt x="151" y="544"/>
                  </a:lnTo>
                  <a:lnTo>
                    <a:pt x="151" y="540"/>
                  </a:lnTo>
                  <a:lnTo>
                    <a:pt x="146" y="540"/>
                  </a:lnTo>
                  <a:lnTo>
                    <a:pt x="142" y="535"/>
                  </a:lnTo>
                  <a:lnTo>
                    <a:pt x="142" y="535"/>
                  </a:lnTo>
                  <a:lnTo>
                    <a:pt x="137" y="535"/>
                  </a:lnTo>
                  <a:lnTo>
                    <a:pt x="137" y="531"/>
                  </a:lnTo>
                  <a:lnTo>
                    <a:pt x="137" y="526"/>
                  </a:lnTo>
                  <a:lnTo>
                    <a:pt x="142" y="526"/>
                  </a:lnTo>
                  <a:lnTo>
                    <a:pt x="137" y="526"/>
                  </a:lnTo>
                  <a:lnTo>
                    <a:pt x="132" y="521"/>
                  </a:lnTo>
                  <a:lnTo>
                    <a:pt x="128" y="526"/>
                  </a:lnTo>
                  <a:lnTo>
                    <a:pt x="123" y="526"/>
                  </a:lnTo>
                  <a:lnTo>
                    <a:pt x="119" y="526"/>
                  </a:lnTo>
                  <a:lnTo>
                    <a:pt x="114" y="521"/>
                  </a:lnTo>
                  <a:lnTo>
                    <a:pt x="114" y="517"/>
                  </a:lnTo>
                  <a:lnTo>
                    <a:pt x="119" y="512"/>
                  </a:lnTo>
                  <a:lnTo>
                    <a:pt x="119" y="508"/>
                  </a:lnTo>
                  <a:lnTo>
                    <a:pt x="123" y="503"/>
                  </a:lnTo>
                  <a:lnTo>
                    <a:pt x="119" y="503"/>
                  </a:lnTo>
                  <a:lnTo>
                    <a:pt x="119" y="503"/>
                  </a:lnTo>
                  <a:lnTo>
                    <a:pt x="114" y="499"/>
                  </a:lnTo>
                  <a:lnTo>
                    <a:pt x="110" y="489"/>
                  </a:lnTo>
                  <a:lnTo>
                    <a:pt x="105" y="485"/>
                  </a:lnTo>
                  <a:lnTo>
                    <a:pt x="100" y="480"/>
                  </a:lnTo>
                  <a:lnTo>
                    <a:pt x="100" y="485"/>
                  </a:lnTo>
                  <a:lnTo>
                    <a:pt x="96" y="485"/>
                  </a:lnTo>
                  <a:lnTo>
                    <a:pt x="96" y="489"/>
                  </a:lnTo>
                  <a:lnTo>
                    <a:pt x="96" y="494"/>
                  </a:lnTo>
                  <a:lnTo>
                    <a:pt x="96" y="499"/>
                  </a:lnTo>
                  <a:lnTo>
                    <a:pt x="91" y="503"/>
                  </a:lnTo>
                  <a:lnTo>
                    <a:pt x="87" y="503"/>
                  </a:lnTo>
                  <a:lnTo>
                    <a:pt x="87" y="503"/>
                  </a:lnTo>
                  <a:lnTo>
                    <a:pt x="82" y="503"/>
                  </a:lnTo>
                  <a:lnTo>
                    <a:pt x="78" y="503"/>
                  </a:lnTo>
                  <a:lnTo>
                    <a:pt x="73" y="503"/>
                  </a:lnTo>
                  <a:lnTo>
                    <a:pt x="73" y="499"/>
                  </a:lnTo>
                  <a:lnTo>
                    <a:pt x="73" y="494"/>
                  </a:lnTo>
                  <a:lnTo>
                    <a:pt x="68" y="489"/>
                  </a:lnTo>
                  <a:lnTo>
                    <a:pt x="64" y="485"/>
                  </a:lnTo>
                  <a:lnTo>
                    <a:pt x="55" y="485"/>
                  </a:lnTo>
                  <a:lnTo>
                    <a:pt x="36" y="485"/>
                  </a:lnTo>
                  <a:lnTo>
                    <a:pt x="32" y="485"/>
                  </a:lnTo>
                  <a:lnTo>
                    <a:pt x="27" y="485"/>
                  </a:lnTo>
                  <a:lnTo>
                    <a:pt x="23" y="480"/>
                  </a:lnTo>
                  <a:lnTo>
                    <a:pt x="18" y="480"/>
                  </a:lnTo>
                  <a:lnTo>
                    <a:pt x="18" y="476"/>
                  </a:lnTo>
                  <a:lnTo>
                    <a:pt x="18" y="476"/>
                  </a:lnTo>
                  <a:lnTo>
                    <a:pt x="18" y="476"/>
                  </a:lnTo>
                  <a:lnTo>
                    <a:pt x="18" y="476"/>
                  </a:lnTo>
                  <a:lnTo>
                    <a:pt x="23" y="471"/>
                  </a:lnTo>
                  <a:lnTo>
                    <a:pt x="23" y="471"/>
                  </a:lnTo>
                  <a:lnTo>
                    <a:pt x="23" y="471"/>
                  </a:lnTo>
                  <a:lnTo>
                    <a:pt x="27" y="471"/>
                  </a:lnTo>
                  <a:lnTo>
                    <a:pt x="32" y="467"/>
                  </a:lnTo>
                  <a:lnTo>
                    <a:pt x="32" y="462"/>
                  </a:lnTo>
                  <a:lnTo>
                    <a:pt x="36" y="453"/>
                  </a:lnTo>
                  <a:lnTo>
                    <a:pt x="36" y="453"/>
                  </a:lnTo>
                  <a:lnTo>
                    <a:pt x="36" y="448"/>
                  </a:lnTo>
                  <a:lnTo>
                    <a:pt x="36" y="444"/>
                  </a:lnTo>
                  <a:lnTo>
                    <a:pt x="36" y="439"/>
                  </a:lnTo>
                  <a:lnTo>
                    <a:pt x="36" y="439"/>
                  </a:lnTo>
                  <a:lnTo>
                    <a:pt x="27" y="439"/>
                  </a:lnTo>
                  <a:lnTo>
                    <a:pt x="23" y="439"/>
                  </a:lnTo>
                  <a:lnTo>
                    <a:pt x="18" y="430"/>
                  </a:lnTo>
                  <a:lnTo>
                    <a:pt x="14" y="425"/>
                  </a:lnTo>
                  <a:lnTo>
                    <a:pt x="4" y="416"/>
                  </a:lnTo>
                  <a:lnTo>
                    <a:pt x="4" y="412"/>
                  </a:lnTo>
                  <a:lnTo>
                    <a:pt x="0" y="403"/>
                  </a:lnTo>
                  <a:lnTo>
                    <a:pt x="0" y="403"/>
                  </a:lnTo>
                  <a:lnTo>
                    <a:pt x="9" y="384"/>
                  </a:lnTo>
                  <a:lnTo>
                    <a:pt x="14" y="375"/>
                  </a:lnTo>
                  <a:lnTo>
                    <a:pt x="18" y="366"/>
                  </a:lnTo>
                  <a:lnTo>
                    <a:pt x="18" y="366"/>
                  </a:lnTo>
                  <a:lnTo>
                    <a:pt x="18" y="361"/>
                  </a:lnTo>
                  <a:lnTo>
                    <a:pt x="18" y="357"/>
                  </a:lnTo>
                  <a:lnTo>
                    <a:pt x="18" y="352"/>
                  </a:lnTo>
                  <a:lnTo>
                    <a:pt x="18" y="352"/>
                  </a:lnTo>
                  <a:lnTo>
                    <a:pt x="23" y="348"/>
                  </a:lnTo>
                  <a:lnTo>
                    <a:pt x="23" y="343"/>
                  </a:lnTo>
                  <a:lnTo>
                    <a:pt x="32" y="343"/>
                  </a:lnTo>
                  <a:lnTo>
                    <a:pt x="41" y="334"/>
                  </a:lnTo>
                  <a:lnTo>
                    <a:pt x="41" y="339"/>
                  </a:lnTo>
                  <a:lnTo>
                    <a:pt x="50" y="343"/>
                  </a:lnTo>
                  <a:lnTo>
                    <a:pt x="55" y="343"/>
                  </a:lnTo>
                  <a:lnTo>
                    <a:pt x="64" y="348"/>
                  </a:lnTo>
                  <a:lnTo>
                    <a:pt x="68" y="352"/>
                  </a:lnTo>
                  <a:lnTo>
                    <a:pt x="73" y="352"/>
                  </a:lnTo>
                  <a:lnTo>
                    <a:pt x="73" y="352"/>
                  </a:lnTo>
                  <a:lnTo>
                    <a:pt x="78" y="357"/>
                  </a:lnTo>
                  <a:lnTo>
                    <a:pt x="82" y="343"/>
                  </a:lnTo>
                  <a:lnTo>
                    <a:pt x="82" y="334"/>
                  </a:lnTo>
                  <a:lnTo>
                    <a:pt x="82" y="329"/>
                  </a:lnTo>
                  <a:lnTo>
                    <a:pt x="82" y="325"/>
                  </a:lnTo>
                  <a:lnTo>
                    <a:pt x="87" y="320"/>
                  </a:lnTo>
                  <a:lnTo>
                    <a:pt x="87" y="311"/>
                  </a:lnTo>
                  <a:lnTo>
                    <a:pt x="91" y="307"/>
                  </a:lnTo>
                  <a:lnTo>
                    <a:pt x="96" y="293"/>
                  </a:lnTo>
                  <a:lnTo>
                    <a:pt x="100" y="288"/>
                  </a:lnTo>
                  <a:lnTo>
                    <a:pt x="100" y="284"/>
                  </a:lnTo>
                  <a:lnTo>
                    <a:pt x="100" y="279"/>
                  </a:lnTo>
                  <a:lnTo>
                    <a:pt x="100" y="275"/>
                  </a:lnTo>
                  <a:lnTo>
                    <a:pt x="100" y="261"/>
                  </a:lnTo>
                  <a:lnTo>
                    <a:pt x="100" y="256"/>
                  </a:lnTo>
                  <a:lnTo>
                    <a:pt x="100" y="256"/>
                  </a:lnTo>
                  <a:lnTo>
                    <a:pt x="100" y="247"/>
                  </a:lnTo>
                  <a:lnTo>
                    <a:pt x="100" y="243"/>
                  </a:lnTo>
                  <a:lnTo>
                    <a:pt x="96" y="238"/>
                  </a:lnTo>
                  <a:lnTo>
                    <a:pt x="87" y="233"/>
                  </a:lnTo>
                  <a:lnTo>
                    <a:pt x="82" y="229"/>
                  </a:lnTo>
                  <a:lnTo>
                    <a:pt x="78" y="224"/>
                  </a:lnTo>
                  <a:lnTo>
                    <a:pt x="73" y="215"/>
                  </a:lnTo>
                  <a:lnTo>
                    <a:pt x="73" y="211"/>
                  </a:lnTo>
                  <a:lnTo>
                    <a:pt x="68" y="206"/>
                  </a:lnTo>
                  <a:lnTo>
                    <a:pt x="68" y="201"/>
                  </a:lnTo>
                  <a:lnTo>
                    <a:pt x="64" y="201"/>
                  </a:lnTo>
                  <a:lnTo>
                    <a:pt x="64" y="197"/>
                  </a:lnTo>
                  <a:lnTo>
                    <a:pt x="64" y="192"/>
                  </a:lnTo>
                  <a:lnTo>
                    <a:pt x="64" y="183"/>
                  </a:lnTo>
                  <a:lnTo>
                    <a:pt x="68" y="174"/>
                  </a:lnTo>
                  <a:lnTo>
                    <a:pt x="73" y="169"/>
                  </a:lnTo>
                  <a:lnTo>
                    <a:pt x="73" y="160"/>
                  </a:lnTo>
                  <a:lnTo>
                    <a:pt x="73" y="156"/>
                  </a:lnTo>
                  <a:lnTo>
                    <a:pt x="68" y="151"/>
                  </a:lnTo>
                  <a:lnTo>
                    <a:pt x="68" y="147"/>
                  </a:lnTo>
                  <a:lnTo>
                    <a:pt x="68" y="133"/>
                  </a:lnTo>
                  <a:lnTo>
                    <a:pt x="64" y="128"/>
                  </a:lnTo>
                  <a:lnTo>
                    <a:pt x="59" y="124"/>
                  </a:lnTo>
                  <a:lnTo>
                    <a:pt x="55" y="124"/>
                  </a:lnTo>
                  <a:lnTo>
                    <a:pt x="50" y="124"/>
                  </a:lnTo>
                  <a:lnTo>
                    <a:pt x="50" y="119"/>
                  </a:lnTo>
                  <a:lnTo>
                    <a:pt x="50" y="119"/>
                  </a:lnTo>
                  <a:lnTo>
                    <a:pt x="55" y="115"/>
                  </a:lnTo>
                  <a:lnTo>
                    <a:pt x="55" y="110"/>
                  </a:lnTo>
                  <a:lnTo>
                    <a:pt x="55" y="105"/>
                  </a:lnTo>
                  <a:lnTo>
                    <a:pt x="55" y="101"/>
                  </a:lnTo>
                  <a:lnTo>
                    <a:pt x="50" y="96"/>
                  </a:lnTo>
                  <a:lnTo>
                    <a:pt x="55" y="96"/>
                  </a:lnTo>
                  <a:lnTo>
                    <a:pt x="64" y="92"/>
                  </a:lnTo>
                  <a:lnTo>
                    <a:pt x="68" y="96"/>
                  </a:lnTo>
                  <a:lnTo>
                    <a:pt x="73" y="101"/>
                  </a:lnTo>
                  <a:lnTo>
                    <a:pt x="78" y="105"/>
                  </a:lnTo>
                  <a:lnTo>
                    <a:pt x="82" y="105"/>
                  </a:lnTo>
                  <a:lnTo>
                    <a:pt x="82" y="110"/>
                  </a:lnTo>
                  <a:lnTo>
                    <a:pt x="87" y="110"/>
                  </a:lnTo>
                  <a:lnTo>
                    <a:pt x="91" y="110"/>
                  </a:lnTo>
                  <a:lnTo>
                    <a:pt x="91" y="110"/>
                  </a:lnTo>
                  <a:lnTo>
                    <a:pt x="96" y="110"/>
                  </a:lnTo>
                  <a:lnTo>
                    <a:pt x="96" y="110"/>
                  </a:lnTo>
                  <a:lnTo>
                    <a:pt x="96" y="115"/>
                  </a:lnTo>
                  <a:lnTo>
                    <a:pt x="100" y="115"/>
                  </a:lnTo>
                  <a:lnTo>
                    <a:pt x="105" y="115"/>
                  </a:lnTo>
                  <a:lnTo>
                    <a:pt x="105" y="119"/>
                  </a:lnTo>
                  <a:lnTo>
                    <a:pt x="110" y="119"/>
                  </a:lnTo>
                  <a:lnTo>
                    <a:pt x="114" y="119"/>
                  </a:lnTo>
                  <a:lnTo>
                    <a:pt x="114" y="124"/>
                  </a:lnTo>
                  <a:lnTo>
                    <a:pt x="119" y="124"/>
                  </a:lnTo>
                  <a:lnTo>
                    <a:pt x="119" y="128"/>
                  </a:lnTo>
                  <a:lnTo>
                    <a:pt x="119" y="128"/>
                  </a:lnTo>
                  <a:lnTo>
                    <a:pt x="128" y="128"/>
                  </a:lnTo>
                  <a:lnTo>
                    <a:pt x="132" y="133"/>
                  </a:lnTo>
                  <a:lnTo>
                    <a:pt x="142" y="137"/>
                  </a:lnTo>
                  <a:lnTo>
                    <a:pt x="160" y="137"/>
                  </a:lnTo>
                  <a:lnTo>
                    <a:pt x="164" y="137"/>
                  </a:lnTo>
                  <a:lnTo>
                    <a:pt x="174" y="137"/>
                  </a:lnTo>
                  <a:lnTo>
                    <a:pt x="178" y="137"/>
                  </a:lnTo>
                  <a:lnTo>
                    <a:pt x="187" y="137"/>
                  </a:lnTo>
                  <a:lnTo>
                    <a:pt x="196" y="137"/>
                  </a:lnTo>
                  <a:lnTo>
                    <a:pt x="201" y="137"/>
                  </a:lnTo>
                  <a:lnTo>
                    <a:pt x="206" y="133"/>
                  </a:lnTo>
                  <a:lnTo>
                    <a:pt x="206" y="128"/>
                  </a:lnTo>
                  <a:lnTo>
                    <a:pt x="210" y="128"/>
                  </a:lnTo>
                  <a:lnTo>
                    <a:pt x="215" y="128"/>
                  </a:lnTo>
                  <a:lnTo>
                    <a:pt x="224" y="128"/>
                  </a:lnTo>
                  <a:lnTo>
                    <a:pt x="228" y="128"/>
                  </a:lnTo>
                  <a:lnTo>
                    <a:pt x="228" y="128"/>
                  </a:lnTo>
                  <a:lnTo>
                    <a:pt x="233" y="128"/>
                  </a:lnTo>
                  <a:lnTo>
                    <a:pt x="233" y="128"/>
                  </a:lnTo>
                  <a:lnTo>
                    <a:pt x="238" y="128"/>
                  </a:lnTo>
                  <a:lnTo>
                    <a:pt x="242" y="133"/>
                  </a:lnTo>
                  <a:lnTo>
                    <a:pt x="247" y="133"/>
                  </a:lnTo>
                  <a:lnTo>
                    <a:pt x="251" y="133"/>
                  </a:lnTo>
                  <a:lnTo>
                    <a:pt x="256" y="133"/>
                  </a:lnTo>
                  <a:lnTo>
                    <a:pt x="260" y="133"/>
                  </a:lnTo>
                  <a:lnTo>
                    <a:pt x="260" y="137"/>
                  </a:lnTo>
                  <a:lnTo>
                    <a:pt x="265" y="137"/>
                  </a:lnTo>
                  <a:lnTo>
                    <a:pt x="270" y="142"/>
                  </a:lnTo>
                  <a:lnTo>
                    <a:pt x="270" y="147"/>
                  </a:lnTo>
                  <a:lnTo>
                    <a:pt x="274" y="151"/>
                  </a:lnTo>
                  <a:lnTo>
                    <a:pt x="274" y="151"/>
                  </a:lnTo>
                  <a:lnTo>
                    <a:pt x="274" y="151"/>
                  </a:lnTo>
                  <a:lnTo>
                    <a:pt x="279" y="151"/>
                  </a:lnTo>
                  <a:lnTo>
                    <a:pt x="279" y="156"/>
                  </a:lnTo>
                  <a:lnTo>
                    <a:pt x="283" y="156"/>
                  </a:lnTo>
                  <a:lnTo>
                    <a:pt x="283" y="160"/>
                  </a:lnTo>
                  <a:lnTo>
                    <a:pt x="288" y="165"/>
                  </a:lnTo>
                  <a:lnTo>
                    <a:pt x="292" y="165"/>
                  </a:lnTo>
                  <a:lnTo>
                    <a:pt x="292" y="169"/>
                  </a:lnTo>
                  <a:lnTo>
                    <a:pt x="292" y="169"/>
                  </a:lnTo>
                  <a:lnTo>
                    <a:pt x="297" y="174"/>
                  </a:lnTo>
                  <a:lnTo>
                    <a:pt x="297" y="174"/>
                  </a:lnTo>
                  <a:lnTo>
                    <a:pt x="302" y="174"/>
                  </a:lnTo>
                  <a:lnTo>
                    <a:pt x="306" y="174"/>
                  </a:lnTo>
                  <a:lnTo>
                    <a:pt x="311" y="179"/>
                  </a:lnTo>
                  <a:lnTo>
                    <a:pt x="315" y="183"/>
                  </a:lnTo>
                  <a:lnTo>
                    <a:pt x="315" y="183"/>
                  </a:lnTo>
                  <a:lnTo>
                    <a:pt x="320" y="188"/>
                  </a:lnTo>
                  <a:lnTo>
                    <a:pt x="334" y="188"/>
                  </a:lnTo>
                  <a:lnTo>
                    <a:pt x="338" y="188"/>
                  </a:lnTo>
                  <a:lnTo>
                    <a:pt x="338" y="188"/>
                  </a:lnTo>
                  <a:lnTo>
                    <a:pt x="343" y="188"/>
                  </a:lnTo>
                  <a:lnTo>
                    <a:pt x="343" y="192"/>
                  </a:lnTo>
                  <a:lnTo>
                    <a:pt x="352" y="197"/>
                  </a:lnTo>
                  <a:lnTo>
                    <a:pt x="356" y="197"/>
                  </a:lnTo>
                  <a:lnTo>
                    <a:pt x="361" y="197"/>
                  </a:lnTo>
                  <a:lnTo>
                    <a:pt x="361" y="197"/>
                  </a:lnTo>
                  <a:lnTo>
                    <a:pt x="366" y="197"/>
                  </a:lnTo>
                  <a:lnTo>
                    <a:pt x="370" y="197"/>
                  </a:lnTo>
                  <a:lnTo>
                    <a:pt x="375" y="197"/>
                  </a:lnTo>
                  <a:lnTo>
                    <a:pt x="379" y="192"/>
                  </a:lnTo>
                  <a:lnTo>
                    <a:pt x="384" y="192"/>
                  </a:lnTo>
                  <a:lnTo>
                    <a:pt x="388" y="188"/>
                  </a:lnTo>
                  <a:lnTo>
                    <a:pt x="393" y="183"/>
                  </a:lnTo>
                  <a:lnTo>
                    <a:pt x="398" y="183"/>
                  </a:lnTo>
                  <a:lnTo>
                    <a:pt x="398" y="179"/>
                  </a:lnTo>
                  <a:lnTo>
                    <a:pt x="402" y="179"/>
                  </a:lnTo>
                  <a:lnTo>
                    <a:pt x="402" y="174"/>
                  </a:lnTo>
                  <a:lnTo>
                    <a:pt x="407" y="174"/>
                  </a:lnTo>
                  <a:lnTo>
                    <a:pt x="411" y="174"/>
                  </a:lnTo>
                  <a:lnTo>
                    <a:pt x="420" y="174"/>
                  </a:lnTo>
                  <a:lnTo>
                    <a:pt x="425" y="174"/>
                  </a:lnTo>
                  <a:lnTo>
                    <a:pt x="425" y="174"/>
                  </a:lnTo>
                  <a:lnTo>
                    <a:pt x="425" y="174"/>
                  </a:lnTo>
                  <a:lnTo>
                    <a:pt x="430" y="174"/>
                  </a:lnTo>
                  <a:lnTo>
                    <a:pt x="430" y="179"/>
                  </a:lnTo>
                  <a:lnTo>
                    <a:pt x="430" y="188"/>
                  </a:lnTo>
                  <a:lnTo>
                    <a:pt x="434" y="192"/>
                  </a:lnTo>
                  <a:lnTo>
                    <a:pt x="434" y="197"/>
                  </a:lnTo>
                  <a:lnTo>
                    <a:pt x="430" y="220"/>
                  </a:lnTo>
                  <a:lnTo>
                    <a:pt x="430" y="238"/>
                  </a:lnTo>
                  <a:lnTo>
                    <a:pt x="430" y="243"/>
                  </a:lnTo>
                  <a:lnTo>
                    <a:pt x="425" y="247"/>
                  </a:lnTo>
                  <a:lnTo>
                    <a:pt x="425" y="252"/>
                  </a:lnTo>
                  <a:lnTo>
                    <a:pt x="425" y="256"/>
                  </a:lnTo>
                  <a:lnTo>
                    <a:pt x="425" y="256"/>
                  </a:lnTo>
                  <a:lnTo>
                    <a:pt x="420" y="261"/>
                  </a:lnTo>
                  <a:lnTo>
                    <a:pt x="420" y="261"/>
                  </a:lnTo>
                  <a:lnTo>
                    <a:pt x="416" y="261"/>
                  </a:lnTo>
                  <a:lnTo>
                    <a:pt x="411" y="270"/>
                  </a:lnTo>
                  <a:lnTo>
                    <a:pt x="407" y="270"/>
                  </a:lnTo>
                  <a:lnTo>
                    <a:pt x="407" y="275"/>
                  </a:lnTo>
                  <a:lnTo>
                    <a:pt x="402" y="275"/>
                  </a:lnTo>
                  <a:lnTo>
                    <a:pt x="402" y="275"/>
                  </a:lnTo>
                  <a:lnTo>
                    <a:pt x="402" y="279"/>
                  </a:lnTo>
                  <a:lnTo>
                    <a:pt x="398" y="279"/>
                  </a:lnTo>
                  <a:lnTo>
                    <a:pt x="393" y="284"/>
                  </a:lnTo>
                  <a:lnTo>
                    <a:pt x="388" y="284"/>
                  </a:lnTo>
                  <a:lnTo>
                    <a:pt x="388" y="284"/>
                  </a:lnTo>
                  <a:lnTo>
                    <a:pt x="384" y="284"/>
                  </a:lnTo>
                  <a:lnTo>
                    <a:pt x="384" y="288"/>
                  </a:lnTo>
                  <a:lnTo>
                    <a:pt x="379" y="288"/>
                  </a:lnTo>
                  <a:lnTo>
                    <a:pt x="375" y="297"/>
                  </a:lnTo>
                  <a:lnTo>
                    <a:pt x="370" y="297"/>
                  </a:lnTo>
                  <a:lnTo>
                    <a:pt x="366" y="297"/>
                  </a:lnTo>
                  <a:lnTo>
                    <a:pt x="366" y="302"/>
                  </a:lnTo>
                  <a:lnTo>
                    <a:pt x="361" y="302"/>
                  </a:lnTo>
                  <a:lnTo>
                    <a:pt x="361" y="307"/>
                  </a:lnTo>
                  <a:lnTo>
                    <a:pt x="356" y="311"/>
                  </a:lnTo>
                  <a:lnTo>
                    <a:pt x="356" y="316"/>
                  </a:lnTo>
                  <a:lnTo>
                    <a:pt x="352" y="316"/>
                  </a:lnTo>
                  <a:lnTo>
                    <a:pt x="352" y="320"/>
                  </a:lnTo>
                  <a:lnTo>
                    <a:pt x="347" y="320"/>
                  </a:lnTo>
                  <a:lnTo>
                    <a:pt x="347" y="325"/>
                  </a:lnTo>
                  <a:lnTo>
                    <a:pt x="347" y="329"/>
                  </a:lnTo>
                  <a:lnTo>
                    <a:pt x="347" y="329"/>
                  </a:lnTo>
                  <a:lnTo>
                    <a:pt x="343" y="348"/>
                  </a:lnTo>
                  <a:lnTo>
                    <a:pt x="343" y="348"/>
                  </a:lnTo>
                  <a:lnTo>
                    <a:pt x="343" y="361"/>
                  </a:lnTo>
                  <a:lnTo>
                    <a:pt x="343" y="371"/>
                  </a:lnTo>
                  <a:lnTo>
                    <a:pt x="343" y="371"/>
                  </a:lnTo>
                  <a:lnTo>
                    <a:pt x="343" y="375"/>
                  </a:lnTo>
                  <a:lnTo>
                    <a:pt x="347" y="380"/>
                  </a:lnTo>
                  <a:lnTo>
                    <a:pt x="347" y="389"/>
                  </a:lnTo>
                  <a:lnTo>
                    <a:pt x="347" y="393"/>
                  </a:lnTo>
                  <a:lnTo>
                    <a:pt x="352" y="393"/>
                  </a:lnTo>
                  <a:lnTo>
                    <a:pt x="352" y="393"/>
                  </a:lnTo>
                  <a:lnTo>
                    <a:pt x="356" y="398"/>
                  </a:lnTo>
                  <a:lnTo>
                    <a:pt x="361" y="403"/>
                  </a:lnTo>
                  <a:lnTo>
                    <a:pt x="361" y="407"/>
                  </a:lnTo>
                  <a:lnTo>
                    <a:pt x="366" y="412"/>
                  </a:lnTo>
                  <a:lnTo>
                    <a:pt x="370" y="416"/>
                  </a:lnTo>
                  <a:lnTo>
                    <a:pt x="375" y="421"/>
                  </a:lnTo>
                  <a:lnTo>
                    <a:pt x="375" y="425"/>
                  </a:lnTo>
                  <a:lnTo>
                    <a:pt x="375" y="430"/>
                  </a:lnTo>
                  <a:lnTo>
                    <a:pt x="375" y="435"/>
                  </a:lnTo>
                  <a:lnTo>
                    <a:pt x="375" y="439"/>
                  </a:lnTo>
                  <a:lnTo>
                    <a:pt x="370" y="439"/>
                  </a:lnTo>
                  <a:lnTo>
                    <a:pt x="370" y="444"/>
                  </a:lnTo>
                  <a:lnTo>
                    <a:pt x="370" y="448"/>
                  </a:lnTo>
                  <a:lnTo>
                    <a:pt x="375" y="453"/>
                  </a:lnTo>
                  <a:lnTo>
                    <a:pt x="384" y="457"/>
                  </a:lnTo>
                  <a:lnTo>
                    <a:pt x="388" y="457"/>
                  </a:lnTo>
                  <a:lnTo>
                    <a:pt x="393" y="457"/>
                  </a:lnTo>
                  <a:lnTo>
                    <a:pt x="398" y="457"/>
                  </a:lnTo>
                  <a:lnTo>
                    <a:pt x="402" y="457"/>
                  </a:lnTo>
                  <a:lnTo>
                    <a:pt x="411" y="457"/>
                  </a:lnTo>
                  <a:lnTo>
                    <a:pt x="411" y="457"/>
                  </a:lnTo>
                  <a:lnTo>
                    <a:pt x="416" y="453"/>
                  </a:lnTo>
                  <a:lnTo>
                    <a:pt x="420" y="453"/>
                  </a:lnTo>
                  <a:lnTo>
                    <a:pt x="420" y="448"/>
                  </a:lnTo>
                  <a:lnTo>
                    <a:pt x="420" y="439"/>
                  </a:lnTo>
                  <a:lnTo>
                    <a:pt x="420" y="430"/>
                  </a:lnTo>
                  <a:lnTo>
                    <a:pt x="420" y="421"/>
                  </a:lnTo>
                  <a:lnTo>
                    <a:pt x="420" y="416"/>
                  </a:lnTo>
                  <a:lnTo>
                    <a:pt x="420" y="416"/>
                  </a:lnTo>
                  <a:lnTo>
                    <a:pt x="425" y="416"/>
                  </a:lnTo>
                  <a:lnTo>
                    <a:pt x="425" y="412"/>
                  </a:lnTo>
                  <a:lnTo>
                    <a:pt x="425" y="407"/>
                  </a:lnTo>
                  <a:lnTo>
                    <a:pt x="425" y="407"/>
                  </a:lnTo>
                  <a:lnTo>
                    <a:pt x="425" y="403"/>
                  </a:lnTo>
                  <a:lnTo>
                    <a:pt x="430" y="403"/>
                  </a:lnTo>
                  <a:lnTo>
                    <a:pt x="434" y="403"/>
                  </a:lnTo>
                  <a:lnTo>
                    <a:pt x="439" y="403"/>
                  </a:lnTo>
                  <a:lnTo>
                    <a:pt x="443" y="403"/>
                  </a:lnTo>
                  <a:lnTo>
                    <a:pt x="457" y="407"/>
                  </a:lnTo>
                  <a:lnTo>
                    <a:pt x="466" y="412"/>
                  </a:lnTo>
                  <a:lnTo>
                    <a:pt x="471" y="412"/>
                  </a:lnTo>
                  <a:lnTo>
                    <a:pt x="475" y="412"/>
                  </a:lnTo>
                  <a:lnTo>
                    <a:pt x="480" y="412"/>
                  </a:lnTo>
                  <a:lnTo>
                    <a:pt x="484" y="412"/>
                  </a:lnTo>
                  <a:lnTo>
                    <a:pt x="489" y="412"/>
                  </a:lnTo>
                  <a:lnTo>
                    <a:pt x="494" y="412"/>
                  </a:lnTo>
                  <a:lnTo>
                    <a:pt x="494" y="412"/>
                  </a:lnTo>
                  <a:lnTo>
                    <a:pt x="498" y="407"/>
                  </a:lnTo>
                  <a:lnTo>
                    <a:pt x="503" y="403"/>
                  </a:lnTo>
                  <a:lnTo>
                    <a:pt x="507" y="403"/>
                  </a:lnTo>
                  <a:lnTo>
                    <a:pt x="512" y="398"/>
                  </a:lnTo>
                  <a:lnTo>
                    <a:pt x="512" y="393"/>
                  </a:lnTo>
                  <a:lnTo>
                    <a:pt x="512" y="393"/>
                  </a:lnTo>
                  <a:lnTo>
                    <a:pt x="512" y="389"/>
                  </a:lnTo>
                  <a:lnTo>
                    <a:pt x="512" y="384"/>
                  </a:lnTo>
                  <a:lnTo>
                    <a:pt x="512" y="380"/>
                  </a:lnTo>
                  <a:lnTo>
                    <a:pt x="512" y="375"/>
                  </a:lnTo>
                  <a:lnTo>
                    <a:pt x="512" y="371"/>
                  </a:lnTo>
                  <a:lnTo>
                    <a:pt x="512" y="371"/>
                  </a:lnTo>
                  <a:lnTo>
                    <a:pt x="507" y="366"/>
                  </a:lnTo>
                  <a:lnTo>
                    <a:pt x="503" y="361"/>
                  </a:lnTo>
                  <a:lnTo>
                    <a:pt x="503" y="348"/>
                  </a:lnTo>
                  <a:lnTo>
                    <a:pt x="498" y="348"/>
                  </a:lnTo>
                  <a:lnTo>
                    <a:pt x="498" y="348"/>
                  </a:lnTo>
                  <a:lnTo>
                    <a:pt x="498" y="343"/>
                  </a:lnTo>
                  <a:lnTo>
                    <a:pt x="494" y="343"/>
                  </a:lnTo>
                  <a:lnTo>
                    <a:pt x="494" y="339"/>
                  </a:lnTo>
                  <a:lnTo>
                    <a:pt x="489" y="339"/>
                  </a:lnTo>
                  <a:lnTo>
                    <a:pt x="480" y="334"/>
                  </a:lnTo>
                  <a:lnTo>
                    <a:pt x="480" y="329"/>
                  </a:lnTo>
                  <a:lnTo>
                    <a:pt x="480" y="329"/>
                  </a:lnTo>
                  <a:lnTo>
                    <a:pt x="480" y="325"/>
                  </a:lnTo>
                  <a:lnTo>
                    <a:pt x="480" y="320"/>
                  </a:lnTo>
                  <a:lnTo>
                    <a:pt x="480" y="307"/>
                  </a:lnTo>
                  <a:lnTo>
                    <a:pt x="480" y="293"/>
                  </a:lnTo>
                  <a:lnTo>
                    <a:pt x="480" y="284"/>
                  </a:lnTo>
                  <a:lnTo>
                    <a:pt x="480" y="275"/>
                  </a:lnTo>
                  <a:lnTo>
                    <a:pt x="475" y="270"/>
                  </a:lnTo>
                  <a:lnTo>
                    <a:pt x="471" y="261"/>
                  </a:lnTo>
                  <a:lnTo>
                    <a:pt x="471" y="243"/>
                  </a:lnTo>
                  <a:lnTo>
                    <a:pt x="471" y="238"/>
                  </a:lnTo>
                  <a:lnTo>
                    <a:pt x="471" y="233"/>
                  </a:lnTo>
                  <a:lnTo>
                    <a:pt x="471" y="233"/>
                  </a:lnTo>
                  <a:lnTo>
                    <a:pt x="471" y="229"/>
                  </a:lnTo>
                  <a:lnTo>
                    <a:pt x="475" y="229"/>
                  </a:lnTo>
                  <a:lnTo>
                    <a:pt x="480" y="233"/>
                  </a:lnTo>
                  <a:lnTo>
                    <a:pt x="489" y="233"/>
                  </a:lnTo>
                  <a:lnTo>
                    <a:pt x="494" y="238"/>
                  </a:lnTo>
                  <a:lnTo>
                    <a:pt x="494" y="238"/>
                  </a:lnTo>
                  <a:lnTo>
                    <a:pt x="498" y="238"/>
                  </a:lnTo>
                  <a:lnTo>
                    <a:pt x="503" y="238"/>
                  </a:lnTo>
                  <a:lnTo>
                    <a:pt x="512" y="238"/>
                  </a:lnTo>
                  <a:lnTo>
                    <a:pt x="512" y="238"/>
                  </a:lnTo>
                  <a:lnTo>
                    <a:pt x="521" y="238"/>
                  </a:lnTo>
                  <a:lnTo>
                    <a:pt x="526" y="238"/>
                  </a:lnTo>
                  <a:lnTo>
                    <a:pt x="535" y="238"/>
                  </a:lnTo>
                  <a:lnTo>
                    <a:pt x="535" y="233"/>
                  </a:lnTo>
                  <a:lnTo>
                    <a:pt x="539" y="233"/>
                  </a:lnTo>
                  <a:lnTo>
                    <a:pt x="544" y="229"/>
                  </a:lnTo>
                  <a:lnTo>
                    <a:pt x="548" y="229"/>
                  </a:lnTo>
                  <a:lnTo>
                    <a:pt x="553" y="224"/>
                  </a:lnTo>
                  <a:lnTo>
                    <a:pt x="558" y="224"/>
                  </a:lnTo>
                  <a:lnTo>
                    <a:pt x="558" y="224"/>
                  </a:lnTo>
                  <a:lnTo>
                    <a:pt x="562" y="220"/>
                  </a:lnTo>
                  <a:lnTo>
                    <a:pt x="571" y="220"/>
                  </a:lnTo>
                  <a:lnTo>
                    <a:pt x="576" y="220"/>
                  </a:lnTo>
                  <a:lnTo>
                    <a:pt x="580" y="220"/>
                  </a:lnTo>
                  <a:lnTo>
                    <a:pt x="580" y="215"/>
                  </a:lnTo>
                  <a:lnTo>
                    <a:pt x="585" y="215"/>
                  </a:lnTo>
                  <a:lnTo>
                    <a:pt x="590" y="211"/>
                  </a:lnTo>
                  <a:lnTo>
                    <a:pt x="590" y="206"/>
                  </a:lnTo>
                  <a:lnTo>
                    <a:pt x="590" y="201"/>
                  </a:lnTo>
                  <a:lnTo>
                    <a:pt x="590" y="197"/>
                  </a:lnTo>
                  <a:lnTo>
                    <a:pt x="585" y="197"/>
                  </a:lnTo>
                  <a:lnTo>
                    <a:pt x="580" y="197"/>
                  </a:lnTo>
                  <a:lnTo>
                    <a:pt x="580" y="192"/>
                  </a:lnTo>
                  <a:lnTo>
                    <a:pt x="580" y="192"/>
                  </a:lnTo>
                  <a:lnTo>
                    <a:pt x="571" y="192"/>
                  </a:lnTo>
                  <a:lnTo>
                    <a:pt x="571" y="188"/>
                  </a:lnTo>
                  <a:lnTo>
                    <a:pt x="567" y="188"/>
                  </a:lnTo>
                  <a:lnTo>
                    <a:pt x="562" y="188"/>
                  </a:lnTo>
                  <a:lnTo>
                    <a:pt x="558" y="183"/>
                  </a:lnTo>
                  <a:lnTo>
                    <a:pt x="558" y="179"/>
                  </a:lnTo>
                  <a:lnTo>
                    <a:pt x="558" y="174"/>
                  </a:lnTo>
                  <a:lnTo>
                    <a:pt x="558" y="174"/>
                  </a:lnTo>
                  <a:lnTo>
                    <a:pt x="558" y="174"/>
                  </a:lnTo>
                  <a:lnTo>
                    <a:pt x="562" y="174"/>
                  </a:lnTo>
                  <a:lnTo>
                    <a:pt x="567" y="165"/>
                  </a:lnTo>
                  <a:lnTo>
                    <a:pt x="567" y="160"/>
                  </a:lnTo>
                  <a:lnTo>
                    <a:pt x="571" y="156"/>
                  </a:lnTo>
                  <a:lnTo>
                    <a:pt x="571" y="151"/>
                  </a:lnTo>
                  <a:lnTo>
                    <a:pt x="571" y="142"/>
                  </a:lnTo>
                  <a:lnTo>
                    <a:pt x="567" y="133"/>
                  </a:lnTo>
                  <a:lnTo>
                    <a:pt x="562" y="119"/>
                  </a:lnTo>
                  <a:lnTo>
                    <a:pt x="562" y="115"/>
                  </a:lnTo>
                  <a:lnTo>
                    <a:pt x="558" y="110"/>
                  </a:lnTo>
                  <a:lnTo>
                    <a:pt x="558" y="110"/>
                  </a:lnTo>
                  <a:lnTo>
                    <a:pt x="558" y="110"/>
                  </a:lnTo>
                  <a:lnTo>
                    <a:pt x="553" y="110"/>
                  </a:lnTo>
                  <a:lnTo>
                    <a:pt x="553" y="105"/>
                  </a:lnTo>
                  <a:lnTo>
                    <a:pt x="548" y="105"/>
                  </a:lnTo>
                  <a:lnTo>
                    <a:pt x="535" y="101"/>
                  </a:lnTo>
                  <a:lnTo>
                    <a:pt x="526" y="101"/>
                  </a:lnTo>
                  <a:lnTo>
                    <a:pt x="516" y="101"/>
                  </a:lnTo>
                  <a:lnTo>
                    <a:pt x="512" y="101"/>
                  </a:lnTo>
                  <a:lnTo>
                    <a:pt x="512" y="96"/>
                  </a:lnTo>
                  <a:lnTo>
                    <a:pt x="512" y="96"/>
                  </a:lnTo>
                  <a:lnTo>
                    <a:pt x="507" y="92"/>
                  </a:lnTo>
                  <a:lnTo>
                    <a:pt x="503" y="87"/>
                  </a:lnTo>
                  <a:lnTo>
                    <a:pt x="498" y="87"/>
                  </a:lnTo>
                  <a:lnTo>
                    <a:pt x="494" y="87"/>
                  </a:lnTo>
                  <a:lnTo>
                    <a:pt x="494" y="83"/>
                  </a:lnTo>
                  <a:lnTo>
                    <a:pt x="489" y="83"/>
                  </a:lnTo>
                  <a:lnTo>
                    <a:pt x="484" y="78"/>
                  </a:lnTo>
                  <a:lnTo>
                    <a:pt x="480" y="78"/>
                  </a:lnTo>
                  <a:lnTo>
                    <a:pt x="471" y="69"/>
                  </a:lnTo>
                  <a:lnTo>
                    <a:pt x="471" y="69"/>
                  </a:lnTo>
                  <a:lnTo>
                    <a:pt x="466" y="64"/>
                  </a:lnTo>
                  <a:lnTo>
                    <a:pt x="462" y="64"/>
                  </a:lnTo>
                  <a:lnTo>
                    <a:pt x="452" y="60"/>
                  </a:lnTo>
                  <a:lnTo>
                    <a:pt x="448" y="60"/>
                  </a:lnTo>
                  <a:lnTo>
                    <a:pt x="448" y="55"/>
                  </a:lnTo>
                  <a:lnTo>
                    <a:pt x="448" y="55"/>
                  </a:lnTo>
                  <a:lnTo>
                    <a:pt x="443" y="51"/>
                  </a:lnTo>
                  <a:lnTo>
                    <a:pt x="443" y="46"/>
                  </a:lnTo>
                  <a:lnTo>
                    <a:pt x="443" y="41"/>
                  </a:lnTo>
                  <a:lnTo>
                    <a:pt x="443" y="41"/>
                  </a:lnTo>
                  <a:lnTo>
                    <a:pt x="448" y="37"/>
                  </a:lnTo>
                  <a:lnTo>
                    <a:pt x="448" y="37"/>
                  </a:lnTo>
                  <a:lnTo>
                    <a:pt x="457" y="32"/>
                  </a:lnTo>
                  <a:lnTo>
                    <a:pt x="462" y="28"/>
                  </a:lnTo>
                  <a:lnTo>
                    <a:pt x="466" y="28"/>
                  </a:lnTo>
                  <a:lnTo>
                    <a:pt x="471" y="28"/>
                  </a:lnTo>
                  <a:lnTo>
                    <a:pt x="471" y="23"/>
                  </a:lnTo>
                  <a:lnTo>
                    <a:pt x="471" y="23"/>
                  </a:lnTo>
                  <a:lnTo>
                    <a:pt x="471" y="19"/>
                  </a:lnTo>
                  <a:lnTo>
                    <a:pt x="475" y="19"/>
                  </a:lnTo>
                  <a:lnTo>
                    <a:pt x="480" y="19"/>
                  </a:lnTo>
                  <a:lnTo>
                    <a:pt x="484" y="19"/>
                  </a:lnTo>
                  <a:lnTo>
                    <a:pt x="489" y="19"/>
                  </a:lnTo>
                  <a:lnTo>
                    <a:pt x="494" y="19"/>
                  </a:lnTo>
                  <a:lnTo>
                    <a:pt x="494" y="19"/>
                  </a:lnTo>
                  <a:lnTo>
                    <a:pt x="494" y="14"/>
                  </a:lnTo>
                  <a:lnTo>
                    <a:pt x="507" y="14"/>
                  </a:lnTo>
                  <a:lnTo>
                    <a:pt x="535" y="9"/>
                  </a:lnTo>
                  <a:lnTo>
                    <a:pt x="544" y="5"/>
                  </a:lnTo>
                  <a:lnTo>
                    <a:pt x="558" y="5"/>
                  </a:lnTo>
                  <a:lnTo>
                    <a:pt x="562" y="0"/>
                  </a:lnTo>
                  <a:lnTo>
                    <a:pt x="576" y="0"/>
                  </a:lnTo>
                  <a:lnTo>
                    <a:pt x="594" y="0"/>
                  </a:lnTo>
                  <a:lnTo>
                    <a:pt x="608" y="0"/>
                  </a:lnTo>
                  <a:lnTo>
                    <a:pt x="617" y="0"/>
                  </a:lnTo>
                  <a:lnTo>
                    <a:pt x="622" y="0"/>
                  </a:lnTo>
                  <a:lnTo>
                    <a:pt x="626" y="0"/>
                  </a:lnTo>
                  <a:lnTo>
                    <a:pt x="640" y="0"/>
                  </a:lnTo>
                  <a:lnTo>
                    <a:pt x="644" y="0"/>
                  </a:lnTo>
                  <a:lnTo>
                    <a:pt x="644" y="0"/>
                  </a:lnTo>
                  <a:lnTo>
                    <a:pt x="649" y="5"/>
                  </a:lnTo>
                  <a:lnTo>
                    <a:pt x="654" y="5"/>
                  </a:lnTo>
                  <a:lnTo>
                    <a:pt x="663" y="9"/>
                  </a:lnTo>
                  <a:lnTo>
                    <a:pt x="663" y="14"/>
                  </a:lnTo>
                  <a:lnTo>
                    <a:pt x="667" y="14"/>
                  </a:lnTo>
                  <a:lnTo>
                    <a:pt x="667" y="19"/>
                  </a:lnTo>
                  <a:lnTo>
                    <a:pt x="667" y="19"/>
                  </a:lnTo>
                  <a:lnTo>
                    <a:pt x="672" y="28"/>
                  </a:lnTo>
                  <a:lnTo>
                    <a:pt x="672" y="32"/>
                  </a:lnTo>
                  <a:lnTo>
                    <a:pt x="672" y="37"/>
                  </a:lnTo>
                  <a:lnTo>
                    <a:pt x="676" y="41"/>
                  </a:lnTo>
                  <a:lnTo>
                    <a:pt x="676" y="41"/>
                  </a:lnTo>
                  <a:lnTo>
                    <a:pt x="676" y="51"/>
                  </a:lnTo>
                  <a:lnTo>
                    <a:pt x="681" y="55"/>
                  </a:lnTo>
                  <a:lnTo>
                    <a:pt x="681" y="64"/>
                  </a:lnTo>
                  <a:lnTo>
                    <a:pt x="686" y="69"/>
                  </a:lnTo>
                  <a:lnTo>
                    <a:pt x="686" y="83"/>
                  </a:lnTo>
                  <a:lnTo>
                    <a:pt x="690" y="96"/>
                  </a:lnTo>
                  <a:lnTo>
                    <a:pt x="690" y="101"/>
                  </a:lnTo>
                  <a:lnTo>
                    <a:pt x="690" y="105"/>
                  </a:lnTo>
                  <a:lnTo>
                    <a:pt x="695" y="110"/>
                  </a:lnTo>
                  <a:lnTo>
                    <a:pt x="695" y="115"/>
                  </a:lnTo>
                  <a:lnTo>
                    <a:pt x="704" y="124"/>
                  </a:lnTo>
                  <a:lnTo>
                    <a:pt x="708" y="128"/>
                  </a:lnTo>
                  <a:lnTo>
                    <a:pt x="713" y="128"/>
                  </a:lnTo>
                  <a:lnTo>
                    <a:pt x="718" y="128"/>
                  </a:lnTo>
                  <a:lnTo>
                    <a:pt x="722" y="128"/>
                  </a:lnTo>
                  <a:lnTo>
                    <a:pt x="722" y="133"/>
                  </a:lnTo>
                  <a:lnTo>
                    <a:pt x="731" y="133"/>
                  </a:lnTo>
                  <a:lnTo>
                    <a:pt x="731" y="137"/>
                  </a:lnTo>
                  <a:lnTo>
                    <a:pt x="731" y="137"/>
                  </a:lnTo>
                  <a:lnTo>
                    <a:pt x="736" y="137"/>
                  </a:lnTo>
                  <a:lnTo>
                    <a:pt x="745" y="142"/>
                  </a:lnTo>
                  <a:lnTo>
                    <a:pt x="750" y="142"/>
                  </a:lnTo>
                  <a:lnTo>
                    <a:pt x="759" y="142"/>
                  </a:lnTo>
                  <a:lnTo>
                    <a:pt x="772" y="142"/>
                  </a:lnTo>
                  <a:lnTo>
                    <a:pt x="791" y="142"/>
                  </a:lnTo>
                  <a:lnTo>
                    <a:pt x="804" y="142"/>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6" name="Freeform 33">
              <a:extLst>
                <a:ext uri="{FF2B5EF4-FFF2-40B4-BE49-F238E27FC236}">
                  <a16:creationId xmlns:a16="http://schemas.microsoft.com/office/drawing/2014/main" id="{E73854FA-95BE-42CF-9E7A-1A7EB5BE0656}"/>
                </a:ext>
              </a:extLst>
            </p:cNvPr>
            <p:cNvSpPr>
              <a:spLocks/>
            </p:cNvSpPr>
            <p:nvPr>
              <p:custDataLst>
                <p:tags r:id="rId28"/>
              </p:custDataLst>
            </p:nvPr>
          </p:nvSpPr>
          <p:spPr bwMode="auto">
            <a:xfrm>
              <a:off x="139752" y="3066296"/>
              <a:ext cx="630677" cy="643087"/>
            </a:xfrm>
            <a:custGeom>
              <a:avLst/>
              <a:gdLst/>
              <a:ahLst/>
              <a:cxnLst>
                <a:cxn ang="0">
                  <a:pos x="251" y="499"/>
                </a:cxn>
                <a:cxn ang="0">
                  <a:pos x="206" y="494"/>
                </a:cxn>
                <a:cxn ang="0">
                  <a:pos x="178" y="544"/>
                </a:cxn>
                <a:cxn ang="0">
                  <a:pos x="133" y="549"/>
                </a:cxn>
                <a:cxn ang="0">
                  <a:pos x="73" y="544"/>
                </a:cxn>
                <a:cxn ang="0">
                  <a:pos x="46" y="567"/>
                </a:cxn>
                <a:cxn ang="0">
                  <a:pos x="32" y="535"/>
                </a:cxn>
                <a:cxn ang="0">
                  <a:pos x="41" y="476"/>
                </a:cxn>
                <a:cxn ang="0">
                  <a:pos x="23" y="457"/>
                </a:cxn>
                <a:cxn ang="0">
                  <a:pos x="27" y="412"/>
                </a:cxn>
                <a:cxn ang="0">
                  <a:pos x="23" y="375"/>
                </a:cxn>
                <a:cxn ang="0">
                  <a:pos x="32" y="348"/>
                </a:cxn>
                <a:cxn ang="0">
                  <a:pos x="41" y="297"/>
                </a:cxn>
                <a:cxn ang="0">
                  <a:pos x="27" y="215"/>
                </a:cxn>
                <a:cxn ang="0">
                  <a:pos x="46" y="188"/>
                </a:cxn>
                <a:cxn ang="0">
                  <a:pos x="23" y="160"/>
                </a:cxn>
                <a:cxn ang="0">
                  <a:pos x="23" y="83"/>
                </a:cxn>
                <a:cxn ang="0">
                  <a:pos x="0" y="37"/>
                </a:cxn>
                <a:cxn ang="0">
                  <a:pos x="23" y="0"/>
                </a:cxn>
                <a:cxn ang="0">
                  <a:pos x="69" y="9"/>
                </a:cxn>
                <a:cxn ang="0">
                  <a:pos x="73" y="69"/>
                </a:cxn>
                <a:cxn ang="0">
                  <a:pos x="91" y="46"/>
                </a:cxn>
                <a:cxn ang="0">
                  <a:pos x="110" y="78"/>
                </a:cxn>
                <a:cxn ang="0">
                  <a:pos x="110" y="137"/>
                </a:cxn>
                <a:cxn ang="0">
                  <a:pos x="133" y="169"/>
                </a:cxn>
                <a:cxn ang="0">
                  <a:pos x="155" y="197"/>
                </a:cxn>
                <a:cxn ang="0">
                  <a:pos x="178" y="229"/>
                </a:cxn>
                <a:cxn ang="0">
                  <a:pos x="219" y="243"/>
                </a:cxn>
                <a:cxn ang="0">
                  <a:pos x="247" y="220"/>
                </a:cxn>
                <a:cxn ang="0">
                  <a:pos x="270" y="192"/>
                </a:cxn>
                <a:cxn ang="0">
                  <a:pos x="311" y="206"/>
                </a:cxn>
                <a:cxn ang="0">
                  <a:pos x="361" y="215"/>
                </a:cxn>
                <a:cxn ang="0">
                  <a:pos x="375" y="247"/>
                </a:cxn>
                <a:cxn ang="0">
                  <a:pos x="398" y="284"/>
                </a:cxn>
                <a:cxn ang="0">
                  <a:pos x="389" y="329"/>
                </a:cxn>
                <a:cxn ang="0">
                  <a:pos x="421" y="352"/>
                </a:cxn>
                <a:cxn ang="0">
                  <a:pos x="480" y="343"/>
                </a:cxn>
                <a:cxn ang="0">
                  <a:pos x="507" y="325"/>
                </a:cxn>
                <a:cxn ang="0">
                  <a:pos x="549" y="316"/>
                </a:cxn>
                <a:cxn ang="0">
                  <a:pos x="576" y="361"/>
                </a:cxn>
                <a:cxn ang="0">
                  <a:pos x="617" y="352"/>
                </a:cxn>
                <a:cxn ang="0">
                  <a:pos x="667" y="380"/>
                </a:cxn>
                <a:cxn ang="0">
                  <a:pos x="704" y="403"/>
                </a:cxn>
                <a:cxn ang="0">
                  <a:pos x="663" y="462"/>
                </a:cxn>
                <a:cxn ang="0">
                  <a:pos x="635" y="517"/>
                </a:cxn>
                <a:cxn ang="0">
                  <a:pos x="690" y="531"/>
                </a:cxn>
                <a:cxn ang="0">
                  <a:pos x="718" y="512"/>
                </a:cxn>
                <a:cxn ang="0">
                  <a:pos x="722" y="553"/>
                </a:cxn>
                <a:cxn ang="0">
                  <a:pos x="699" y="590"/>
                </a:cxn>
                <a:cxn ang="0">
                  <a:pos x="699" y="604"/>
                </a:cxn>
                <a:cxn ang="0">
                  <a:pos x="713" y="631"/>
                </a:cxn>
                <a:cxn ang="0">
                  <a:pos x="658" y="617"/>
                </a:cxn>
                <a:cxn ang="0">
                  <a:pos x="599" y="576"/>
                </a:cxn>
                <a:cxn ang="0">
                  <a:pos x="549" y="558"/>
                </a:cxn>
                <a:cxn ang="0">
                  <a:pos x="576" y="535"/>
                </a:cxn>
                <a:cxn ang="0">
                  <a:pos x="549" y="531"/>
                </a:cxn>
                <a:cxn ang="0">
                  <a:pos x="521" y="517"/>
                </a:cxn>
                <a:cxn ang="0">
                  <a:pos x="544" y="485"/>
                </a:cxn>
              </a:cxnLst>
              <a:rect l="0" t="0" r="r" b="b"/>
              <a:pathLst>
                <a:path w="722" h="636">
                  <a:moveTo>
                    <a:pt x="279" y="485"/>
                  </a:moveTo>
                  <a:lnTo>
                    <a:pt x="279" y="489"/>
                  </a:lnTo>
                  <a:lnTo>
                    <a:pt x="279" y="494"/>
                  </a:lnTo>
                  <a:lnTo>
                    <a:pt x="279" y="499"/>
                  </a:lnTo>
                  <a:lnTo>
                    <a:pt x="270" y="499"/>
                  </a:lnTo>
                  <a:lnTo>
                    <a:pt x="265" y="503"/>
                  </a:lnTo>
                  <a:lnTo>
                    <a:pt x="265" y="503"/>
                  </a:lnTo>
                  <a:lnTo>
                    <a:pt x="261" y="503"/>
                  </a:lnTo>
                  <a:lnTo>
                    <a:pt x="256" y="503"/>
                  </a:lnTo>
                  <a:lnTo>
                    <a:pt x="251" y="499"/>
                  </a:lnTo>
                  <a:lnTo>
                    <a:pt x="247" y="494"/>
                  </a:lnTo>
                  <a:lnTo>
                    <a:pt x="242" y="485"/>
                  </a:lnTo>
                  <a:lnTo>
                    <a:pt x="242" y="485"/>
                  </a:lnTo>
                  <a:lnTo>
                    <a:pt x="233" y="485"/>
                  </a:lnTo>
                  <a:lnTo>
                    <a:pt x="219" y="485"/>
                  </a:lnTo>
                  <a:lnTo>
                    <a:pt x="215" y="485"/>
                  </a:lnTo>
                  <a:lnTo>
                    <a:pt x="210" y="485"/>
                  </a:lnTo>
                  <a:lnTo>
                    <a:pt x="210" y="485"/>
                  </a:lnTo>
                  <a:lnTo>
                    <a:pt x="206" y="489"/>
                  </a:lnTo>
                  <a:lnTo>
                    <a:pt x="206" y="494"/>
                  </a:lnTo>
                  <a:lnTo>
                    <a:pt x="206" y="499"/>
                  </a:lnTo>
                  <a:lnTo>
                    <a:pt x="197" y="508"/>
                  </a:lnTo>
                  <a:lnTo>
                    <a:pt x="197" y="512"/>
                  </a:lnTo>
                  <a:lnTo>
                    <a:pt x="197" y="512"/>
                  </a:lnTo>
                  <a:lnTo>
                    <a:pt x="197" y="517"/>
                  </a:lnTo>
                  <a:lnTo>
                    <a:pt x="192" y="521"/>
                  </a:lnTo>
                  <a:lnTo>
                    <a:pt x="192" y="526"/>
                  </a:lnTo>
                  <a:lnTo>
                    <a:pt x="187" y="535"/>
                  </a:lnTo>
                  <a:lnTo>
                    <a:pt x="183" y="540"/>
                  </a:lnTo>
                  <a:lnTo>
                    <a:pt x="178" y="544"/>
                  </a:lnTo>
                  <a:lnTo>
                    <a:pt x="178" y="549"/>
                  </a:lnTo>
                  <a:lnTo>
                    <a:pt x="174" y="549"/>
                  </a:lnTo>
                  <a:lnTo>
                    <a:pt x="169" y="549"/>
                  </a:lnTo>
                  <a:lnTo>
                    <a:pt x="165" y="549"/>
                  </a:lnTo>
                  <a:lnTo>
                    <a:pt x="155" y="549"/>
                  </a:lnTo>
                  <a:lnTo>
                    <a:pt x="155" y="549"/>
                  </a:lnTo>
                  <a:lnTo>
                    <a:pt x="146" y="549"/>
                  </a:lnTo>
                  <a:lnTo>
                    <a:pt x="142" y="549"/>
                  </a:lnTo>
                  <a:lnTo>
                    <a:pt x="133" y="549"/>
                  </a:lnTo>
                  <a:lnTo>
                    <a:pt x="133" y="549"/>
                  </a:lnTo>
                  <a:lnTo>
                    <a:pt x="128" y="549"/>
                  </a:lnTo>
                  <a:lnTo>
                    <a:pt x="123" y="549"/>
                  </a:lnTo>
                  <a:lnTo>
                    <a:pt x="114" y="549"/>
                  </a:lnTo>
                  <a:lnTo>
                    <a:pt x="110" y="549"/>
                  </a:lnTo>
                  <a:lnTo>
                    <a:pt x="101" y="549"/>
                  </a:lnTo>
                  <a:lnTo>
                    <a:pt x="96" y="549"/>
                  </a:lnTo>
                  <a:lnTo>
                    <a:pt x="91" y="549"/>
                  </a:lnTo>
                  <a:lnTo>
                    <a:pt x="87" y="544"/>
                  </a:lnTo>
                  <a:lnTo>
                    <a:pt x="82" y="544"/>
                  </a:lnTo>
                  <a:lnTo>
                    <a:pt x="73" y="544"/>
                  </a:lnTo>
                  <a:lnTo>
                    <a:pt x="69" y="544"/>
                  </a:lnTo>
                  <a:lnTo>
                    <a:pt x="69" y="549"/>
                  </a:lnTo>
                  <a:lnTo>
                    <a:pt x="69" y="549"/>
                  </a:lnTo>
                  <a:lnTo>
                    <a:pt x="59" y="553"/>
                  </a:lnTo>
                  <a:lnTo>
                    <a:pt x="59" y="558"/>
                  </a:lnTo>
                  <a:lnTo>
                    <a:pt x="55" y="558"/>
                  </a:lnTo>
                  <a:lnTo>
                    <a:pt x="50" y="558"/>
                  </a:lnTo>
                  <a:lnTo>
                    <a:pt x="50" y="563"/>
                  </a:lnTo>
                  <a:lnTo>
                    <a:pt x="46" y="563"/>
                  </a:lnTo>
                  <a:lnTo>
                    <a:pt x="46" y="567"/>
                  </a:lnTo>
                  <a:lnTo>
                    <a:pt x="37" y="563"/>
                  </a:lnTo>
                  <a:lnTo>
                    <a:pt x="27" y="563"/>
                  </a:lnTo>
                  <a:lnTo>
                    <a:pt x="23" y="563"/>
                  </a:lnTo>
                  <a:lnTo>
                    <a:pt x="18" y="563"/>
                  </a:lnTo>
                  <a:lnTo>
                    <a:pt x="18" y="558"/>
                  </a:lnTo>
                  <a:lnTo>
                    <a:pt x="18" y="553"/>
                  </a:lnTo>
                  <a:lnTo>
                    <a:pt x="23" y="549"/>
                  </a:lnTo>
                  <a:lnTo>
                    <a:pt x="27" y="544"/>
                  </a:lnTo>
                  <a:lnTo>
                    <a:pt x="27" y="540"/>
                  </a:lnTo>
                  <a:lnTo>
                    <a:pt x="32" y="535"/>
                  </a:lnTo>
                  <a:lnTo>
                    <a:pt x="27" y="531"/>
                  </a:lnTo>
                  <a:lnTo>
                    <a:pt x="27" y="526"/>
                  </a:lnTo>
                  <a:lnTo>
                    <a:pt x="23" y="521"/>
                  </a:lnTo>
                  <a:lnTo>
                    <a:pt x="23" y="512"/>
                  </a:lnTo>
                  <a:lnTo>
                    <a:pt x="27" y="499"/>
                  </a:lnTo>
                  <a:lnTo>
                    <a:pt x="32" y="494"/>
                  </a:lnTo>
                  <a:lnTo>
                    <a:pt x="37" y="494"/>
                  </a:lnTo>
                  <a:lnTo>
                    <a:pt x="41" y="489"/>
                  </a:lnTo>
                  <a:lnTo>
                    <a:pt x="41" y="489"/>
                  </a:lnTo>
                  <a:lnTo>
                    <a:pt x="41" y="476"/>
                  </a:lnTo>
                  <a:lnTo>
                    <a:pt x="46" y="471"/>
                  </a:lnTo>
                  <a:lnTo>
                    <a:pt x="46" y="467"/>
                  </a:lnTo>
                  <a:lnTo>
                    <a:pt x="41" y="467"/>
                  </a:lnTo>
                  <a:lnTo>
                    <a:pt x="41" y="467"/>
                  </a:lnTo>
                  <a:lnTo>
                    <a:pt x="41" y="462"/>
                  </a:lnTo>
                  <a:lnTo>
                    <a:pt x="32" y="467"/>
                  </a:lnTo>
                  <a:lnTo>
                    <a:pt x="27" y="462"/>
                  </a:lnTo>
                  <a:lnTo>
                    <a:pt x="27" y="462"/>
                  </a:lnTo>
                  <a:lnTo>
                    <a:pt x="23" y="462"/>
                  </a:lnTo>
                  <a:lnTo>
                    <a:pt x="23" y="457"/>
                  </a:lnTo>
                  <a:lnTo>
                    <a:pt x="23" y="457"/>
                  </a:lnTo>
                  <a:lnTo>
                    <a:pt x="23" y="453"/>
                  </a:lnTo>
                  <a:lnTo>
                    <a:pt x="18" y="448"/>
                  </a:lnTo>
                  <a:lnTo>
                    <a:pt x="23" y="444"/>
                  </a:lnTo>
                  <a:lnTo>
                    <a:pt x="27" y="435"/>
                  </a:lnTo>
                  <a:lnTo>
                    <a:pt x="27" y="430"/>
                  </a:lnTo>
                  <a:lnTo>
                    <a:pt x="27" y="430"/>
                  </a:lnTo>
                  <a:lnTo>
                    <a:pt x="27" y="425"/>
                  </a:lnTo>
                  <a:lnTo>
                    <a:pt x="27" y="416"/>
                  </a:lnTo>
                  <a:lnTo>
                    <a:pt x="27" y="412"/>
                  </a:lnTo>
                  <a:lnTo>
                    <a:pt x="27" y="407"/>
                  </a:lnTo>
                  <a:lnTo>
                    <a:pt x="27" y="407"/>
                  </a:lnTo>
                  <a:lnTo>
                    <a:pt x="27" y="398"/>
                  </a:lnTo>
                  <a:lnTo>
                    <a:pt x="18" y="398"/>
                  </a:lnTo>
                  <a:lnTo>
                    <a:pt x="18" y="398"/>
                  </a:lnTo>
                  <a:lnTo>
                    <a:pt x="18" y="398"/>
                  </a:lnTo>
                  <a:lnTo>
                    <a:pt x="18" y="393"/>
                  </a:lnTo>
                  <a:lnTo>
                    <a:pt x="18" y="380"/>
                  </a:lnTo>
                  <a:lnTo>
                    <a:pt x="18" y="375"/>
                  </a:lnTo>
                  <a:lnTo>
                    <a:pt x="23" y="375"/>
                  </a:lnTo>
                  <a:lnTo>
                    <a:pt x="27" y="366"/>
                  </a:lnTo>
                  <a:lnTo>
                    <a:pt x="27" y="366"/>
                  </a:lnTo>
                  <a:lnTo>
                    <a:pt x="37" y="361"/>
                  </a:lnTo>
                  <a:lnTo>
                    <a:pt x="37" y="361"/>
                  </a:lnTo>
                  <a:lnTo>
                    <a:pt x="41" y="357"/>
                  </a:lnTo>
                  <a:lnTo>
                    <a:pt x="46" y="357"/>
                  </a:lnTo>
                  <a:lnTo>
                    <a:pt x="41" y="352"/>
                  </a:lnTo>
                  <a:lnTo>
                    <a:pt x="37" y="348"/>
                  </a:lnTo>
                  <a:lnTo>
                    <a:pt x="32" y="348"/>
                  </a:lnTo>
                  <a:lnTo>
                    <a:pt x="32" y="348"/>
                  </a:lnTo>
                  <a:lnTo>
                    <a:pt x="27" y="343"/>
                  </a:lnTo>
                  <a:lnTo>
                    <a:pt x="27" y="339"/>
                  </a:lnTo>
                  <a:lnTo>
                    <a:pt x="27" y="334"/>
                  </a:lnTo>
                  <a:lnTo>
                    <a:pt x="27" y="334"/>
                  </a:lnTo>
                  <a:lnTo>
                    <a:pt x="37" y="329"/>
                  </a:lnTo>
                  <a:lnTo>
                    <a:pt x="37" y="325"/>
                  </a:lnTo>
                  <a:lnTo>
                    <a:pt x="41" y="311"/>
                  </a:lnTo>
                  <a:lnTo>
                    <a:pt x="41" y="307"/>
                  </a:lnTo>
                  <a:lnTo>
                    <a:pt x="41" y="302"/>
                  </a:lnTo>
                  <a:lnTo>
                    <a:pt x="41" y="297"/>
                  </a:lnTo>
                  <a:lnTo>
                    <a:pt x="37" y="284"/>
                  </a:lnTo>
                  <a:lnTo>
                    <a:pt x="32" y="279"/>
                  </a:lnTo>
                  <a:lnTo>
                    <a:pt x="32" y="279"/>
                  </a:lnTo>
                  <a:lnTo>
                    <a:pt x="27" y="275"/>
                  </a:lnTo>
                  <a:lnTo>
                    <a:pt x="27" y="275"/>
                  </a:lnTo>
                  <a:lnTo>
                    <a:pt x="27" y="261"/>
                  </a:lnTo>
                  <a:lnTo>
                    <a:pt x="27" y="261"/>
                  </a:lnTo>
                  <a:lnTo>
                    <a:pt x="27" y="256"/>
                  </a:lnTo>
                  <a:lnTo>
                    <a:pt x="27" y="233"/>
                  </a:lnTo>
                  <a:lnTo>
                    <a:pt x="27" y="215"/>
                  </a:lnTo>
                  <a:lnTo>
                    <a:pt x="27" y="215"/>
                  </a:lnTo>
                  <a:lnTo>
                    <a:pt x="27" y="215"/>
                  </a:lnTo>
                  <a:lnTo>
                    <a:pt x="32" y="215"/>
                  </a:lnTo>
                  <a:lnTo>
                    <a:pt x="32" y="215"/>
                  </a:lnTo>
                  <a:lnTo>
                    <a:pt x="41" y="215"/>
                  </a:lnTo>
                  <a:lnTo>
                    <a:pt x="46" y="211"/>
                  </a:lnTo>
                  <a:lnTo>
                    <a:pt x="46" y="211"/>
                  </a:lnTo>
                  <a:lnTo>
                    <a:pt x="46" y="206"/>
                  </a:lnTo>
                  <a:lnTo>
                    <a:pt x="46" y="192"/>
                  </a:lnTo>
                  <a:lnTo>
                    <a:pt x="46" y="188"/>
                  </a:lnTo>
                  <a:lnTo>
                    <a:pt x="41" y="183"/>
                  </a:lnTo>
                  <a:lnTo>
                    <a:pt x="41" y="183"/>
                  </a:lnTo>
                  <a:lnTo>
                    <a:pt x="37" y="179"/>
                  </a:lnTo>
                  <a:lnTo>
                    <a:pt x="32" y="179"/>
                  </a:lnTo>
                  <a:lnTo>
                    <a:pt x="32" y="174"/>
                  </a:lnTo>
                  <a:lnTo>
                    <a:pt x="27" y="174"/>
                  </a:lnTo>
                  <a:lnTo>
                    <a:pt x="27" y="169"/>
                  </a:lnTo>
                  <a:lnTo>
                    <a:pt x="27" y="165"/>
                  </a:lnTo>
                  <a:lnTo>
                    <a:pt x="27" y="165"/>
                  </a:lnTo>
                  <a:lnTo>
                    <a:pt x="23" y="160"/>
                  </a:lnTo>
                  <a:lnTo>
                    <a:pt x="23" y="151"/>
                  </a:lnTo>
                  <a:lnTo>
                    <a:pt x="23" y="147"/>
                  </a:lnTo>
                  <a:lnTo>
                    <a:pt x="18" y="142"/>
                  </a:lnTo>
                  <a:lnTo>
                    <a:pt x="23" y="137"/>
                  </a:lnTo>
                  <a:lnTo>
                    <a:pt x="18" y="128"/>
                  </a:lnTo>
                  <a:lnTo>
                    <a:pt x="18" y="124"/>
                  </a:lnTo>
                  <a:lnTo>
                    <a:pt x="23" y="110"/>
                  </a:lnTo>
                  <a:lnTo>
                    <a:pt x="23" y="101"/>
                  </a:lnTo>
                  <a:lnTo>
                    <a:pt x="18" y="92"/>
                  </a:lnTo>
                  <a:lnTo>
                    <a:pt x="23" y="83"/>
                  </a:lnTo>
                  <a:lnTo>
                    <a:pt x="23" y="73"/>
                  </a:lnTo>
                  <a:lnTo>
                    <a:pt x="18" y="69"/>
                  </a:lnTo>
                  <a:lnTo>
                    <a:pt x="18" y="64"/>
                  </a:lnTo>
                  <a:lnTo>
                    <a:pt x="14" y="64"/>
                  </a:lnTo>
                  <a:lnTo>
                    <a:pt x="14" y="64"/>
                  </a:lnTo>
                  <a:lnTo>
                    <a:pt x="14" y="60"/>
                  </a:lnTo>
                  <a:lnTo>
                    <a:pt x="9" y="55"/>
                  </a:lnTo>
                  <a:lnTo>
                    <a:pt x="9" y="51"/>
                  </a:lnTo>
                  <a:lnTo>
                    <a:pt x="0" y="37"/>
                  </a:lnTo>
                  <a:lnTo>
                    <a:pt x="0" y="37"/>
                  </a:lnTo>
                  <a:lnTo>
                    <a:pt x="5" y="28"/>
                  </a:lnTo>
                  <a:lnTo>
                    <a:pt x="5" y="23"/>
                  </a:lnTo>
                  <a:lnTo>
                    <a:pt x="9" y="19"/>
                  </a:lnTo>
                  <a:lnTo>
                    <a:pt x="9" y="19"/>
                  </a:lnTo>
                  <a:lnTo>
                    <a:pt x="9" y="14"/>
                  </a:lnTo>
                  <a:lnTo>
                    <a:pt x="9" y="5"/>
                  </a:lnTo>
                  <a:lnTo>
                    <a:pt x="14" y="0"/>
                  </a:lnTo>
                  <a:lnTo>
                    <a:pt x="18" y="0"/>
                  </a:lnTo>
                  <a:lnTo>
                    <a:pt x="23" y="0"/>
                  </a:lnTo>
                  <a:lnTo>
                    <a:pt x="23" y="0"/>
                  </a:lnTo>
                  <a:lnTo>
                    <a:pt x="27" y="0"/>
                  </a:lnTo>
                  <a:lnTo>
                    <a:pt x="37" y="0"/>
                  </a:lnTo>
                  <a:lnTo>
                    <a:pt x="41" y="0"/>
                  </a:lnTo>
                  <a:lnTo>
                    <a:pt x="46" y="0"/>
                  </a:lnTo>
                  <a:lnTo>
                    <a:pt x="50" y="0"/>
                  </a:lnTo>
                  <a:lnTo>
                    <a:pt x="55" y="0"/>
                  </a:lnTo>
                  <a:lnTo>
                    <a:pt x="55" y="0"/>
                  </a:lnTo>
                  <a:lnTo>
                    <a:pt x="64" y="5"/>
                  </a:lnTo>
                  <a:lnTo>
                    <a:pt x="64" y="9"/>
                  </a:lnTo>
                  <a:lnTo>
                    <a:pt x="69" y="9"/>
                  </a:lnTo>
                  <a:lnTo>
                    <a:pt x="69" y="14"/>
                  </a:lnTo>
                  <a:lnTo>
                    <a:pt x="69" y="19"/>
                  </a:lnTo>
                  <a:lnTo>
                    <a:pt x="69" y="23"/>
                  </a:lnTo>
                  <a:lnTo>
                    <a:pt x="69" y="28"/>
                  </a:lnTo>
                  <a:lnTo>
                    <a:pt x="69" y="37"/>
                  </a:lnTo>
                  <a:lnTo>
                    <a:pt x="69" y="51"/>
                  </a:lnTo>
                  <a:lnTo>
                    <a:pt x="69" y="55"/>
                  </a:lnTo>
                  <a:lnTo>
                    <a:pt x="69" y="60"/>
                  </a:lnTo>
                  <a:lnTo>
                    <a:pt x="69" y="64"/>
                  </a:lnTo>
                  <a:lnTo>
                    <a:pt x="73" y="69"/>
                  </a:lnTo>
                  <a:lnTo>
                    <a:pt x="73" y="73"/>
                  </a:lnTo>
                  <a:lnTo>
                    <a:pt x="73" y="78"/>
                  </a:lnTo>
                  <a:lnTo>
                    <a:pt x="78" y="78"/>
                  </a:lnTo>
                  <a:lnTo>
                    <a:pt x="82" y="78"/>
                  </a:lnTo>
                  <a:lnTo>
                    <a:pt x="87" y="73"/>
                  </a:lnTo>
                  <a:lnTo>
                    <a:pt x="87" y="64"/>
                  </a:lnTo>
                  <a:lnTo>
                    <a:pt x="87" y="64"/>
                  </a:lnTo>
                  <a:lnTo>
                    <a:pt x="87" y="60"/>
                  </a:lnTo>
                  <a:lnTo>
                    <a:pt x="87" y="51"/>
                  </a:lnTo>
                  <a:lnTo>
                    <a:pt x="91" y="46"/>
                  </a:lnTo>
                  <a:lnTo>
                    <a:pt x="96" y="46"/>
                  </a:lnTo>
                  <a:lnTo>
                    <a:pt x="101" y="46"/>
                  </a:lnTo>
                  <a:lnTo>
                    <a:pt x="105" y="46"/>
                  </a:lnTo>
                  <a:lnTo>
                    <a:pt x="110" y="46"/>
                  </a:lnTo>
                  <a:lnTo>
                    <a:pt x="110" y="55"/>
                  </a:lnTo>
                  <a:lnTo>
                    <a:pt x="114" y="64"/>
                  </a:lnTo>
                  <a:lnTo>
                    <a:pt x="114" y="64"/>
                  </a:lnTo>
                  <a:lnTo>
                    <a:pt x="114" y="69"/>
                  </a:lnTo>
                  <a:lnTo>
                    <a:pt x="110" y="73"/>
                  </a:lnTo>
                  <a:lnTo>
                    <a:pt x="110" y="78"/>
                  </a:lnTo>
                  <a:lnTo>
                    <a:pt x="110" y="83"/>
                  </a:lnTo>
                  <a:lnTo>
                    <a:pt x="110" y="87"/>
                  </a:lnTo>
                  <a:lnTo>
                    <a:pt x="110" y="92"/>
                  </a:lnTo>
                  <a:lnTo>
                    <a:pt x="110" y="96"/>
                  </a:lnTo>
                  <a:lnTo>
                    <a:pt x="105" y="105"/>
                  </a:lnTo>
                  <a:lnTo>
                    <a:pt x="105" y="115"/>
                  </a:lnTo>
                  <a:lnTo>
                    <a:pt x="105" y="124"/>
                  </a:lnTo>
                  <a:lnTo>
                    <a:pt x="110" y="128"/>
                  </a:lnTo>
                  <a:lnTo>
                    <a:pt x="110" y="133"/>
                  </a:lnTo>
                  <a:lnTo>
                    <a:pt x="110" y="137"/>
                  </a:lnTo>
                  <a:lnTo>
                    <a:pt x="110" y="137"/>
                  </a:lnTo>
                  <a:lnTo>
                    <a:pt x="110" y="147"/>
                  </a:lnTo>
                  <a:lnTo>
                    <a:pt x="114" y="151"/>
                  </a:lnTo>
                  <a:lnTo>
                    <a:pt x="114" y="156"/>
                  </a:lnTo>
                  <a:lnTo>
                    <a:pt x="119" y="156"/>
                  </a:lnTo>
                  <a:lnTo>
                    <a:pt x="123" y="156"/>
                  </a:lnTo>
                  <a:lnTo>
                    <a:pt x="123" y="160"/>
                  </a:lnTo>
                  <a:lnTo>
                    <a:pt x="128" y="165"/>
                  </a:lnTo>
                  <a:lnTo>
                    <a:pt x="133" y="165"/>
                  </a:lnTo>
                  <a:lnTo>
                    <a:pt x="133" y="169"/>
                  </a:lnTo>
                  <a:lnTo>
                    <a:pt x="133" y="169"/>
                  </a:lnTo>
                  <a:lnTo>
                    <a:pt x="133" y="174"/>
                  </a:lnTo>
                  <a:lnTo>
                    <a:pt x="137" y="174"/>
                  </a:lnTo>
                  <a:lnTo>
                    <a:pt x="137" y="179"/>
                  </a:lnTo>
                  <a:lnTo>
                    <a:pt x="142" y="179"/>
                  </a:lnTo>
                  <a:lnTo>
                    <a:pt x="142" y="183"/>
                  </a:lnTo>
                  <a:lnTo>
                    <a:pt x="146" y="183"/>
                  </a:lnTo>
                  <a:lnTo>
                    <a:pt x="146" y="192"/>
                  </a:lnTo>
                  <a:lnTo>
                    <a:pt x="151" y="192"/>
                  </a:lnTo>
                  <a:lnTo>
                    <a:pt x="155" y="197"/>
                  </a:lnTo>
                  <a:lnTo>
                    <a:pt x="155" y="201"/>
                  </a:lnTo>
                  <a:lnTo>
                    <a:pt x="155" y="206"/>
                  </a:lnTo>
                  <a:lnTo>
                    <a:pt x="160" y="211"/>
                  </a:lnTo>
                  <a:lnTo>
                    <a:pt x="160" y="215"/>
                  </a:lnTo>
                  <a:lnTo>
                    <a:pt x="165" y="215"/>
                  </a:lnTo>
                  <a:lnTo>
                    <a:pt x="169" y="220"/>
                  </a:lnTo>
                  <a:lnTo>
                    <a:pt x="174" y="224"/>
                  </a:lnTo>
                  <a:lnTo>
                    <a:pt x="178" y="224"/>
                  </a:lnTo>
                  <a:lnTo>
                    <a:pt x="178" y="229"/>
                  </a:lnTo>
                  <a:lnTo>
                    <a:pt x="178" y="229"/>
                  </a:lnTo>
                  <a:lnTo>
                    <a:pt x="178" y="233"/>
                  </a:lnTo>
                  <a:lnTo>
                    <a:pt x="183" y="233"/>
                  </a:lnTo>
                  <a:lnTo>
                    <a:pt x="183" y="238"/>
                  </a:lnTo>
                  <a:lnTo>
                    <a:pt x="192" y="243"/>
                  </a:lnTo>
                  <a:lnTo>
                    <a:pt x="197" y="243"/>
                  </a:lnTo>
                  <a:lnTo>
                    <a:pt x="197" y="243"/>
                  </a:lnTo>
                  <a:lnTo>
                    <a:pt x="206" y="243"/>
                  </a:lnTo>
                  <a:lnTo>
                    <a:pt x="210" y="243"/>
                  </a:lnTo>
                  <a:lnTo>
                    <a:pt x="215" y="243"/>
                  </a:lnTo>
                  <a:lnTo>
                    <a:pt x="219" y="243"/>
                  </a:lnTo>
                  <a:lnTo>
                    <a:pt x="224" y="243"/>
                  </a:lnTo>
                  <a:lnTo>
                    <a:pt x="229" y="243"/>
                  </a:lnTo>
                  <a:lnTo>
                    <a:pt x="233" y="238"/>
                  </a:lnTo>
                  <a:lnTo>
                    <a:pt x="238" y="238"/>
                  </a:lnTo>
                  <a:lnTo>
                    <a:pt x="238" y="233"/>
                  </a:lnTo>
                  <a:lnTo>
                    <a:pt x="242" y="229"/>
                  </a:lnTo>
                  <a:lnTo>
                    <a:pt x="242" y="224"/>
                  </a:lnTo>
                  <a:lnTo>
                    <a:pt x="242" y="220"/>
                  </a:lnTo>
                  <a:lnTo>
                    <a:pt x="247" y="220"/>
                  </a:lnTo>
                  <a:lnTo>
                    <a:pt x="247" y="220"/>
                  </a:lnTo>
                  <a:lnTo>
                    <a:pt x="251" y="211"/>
                  </a:lnTo>
                  <a:lnTo>
                    <a:pt x="251" y="201"/>
                  </a:lnTo>
                  <a:lnTo>
                    <a:pt x="256" y="197"/>
                  </a:lnTo>
                  <a:lnTo>
                    <a:pt x="256" y="192"/>
                  </a:lnTo>
                  <a:lnTo>
                    <a:pt x="261" y="192"/>
                  </a:lnTo>
                  <a:lnTo>
                    <a:pt x="261" y="188"/>
                  </a:lnTo>
                  <a:lnTo>
                    <a:pt x="265" y="188"/>
                  </a:lnTo>
                  <a:lnTo>
                    <a:pt x="265" y="188"/>
                  </a:lnTo>
                  <a:lnTo>
                    <a:pt x="270" y="188"/>
                  </a:lnTo>
                  <a:lnTo>
                    <a:pt x="270" y="192"/>
                  </a:lnTo>
                  <a:lnTo>
                    <a:pt x="274" y="192"/>
                  </a:lnTo>
                  <a:lnTo>
                    <a:pt x="274" y="197"/>
                  </a:lnTo>
                  <a:lnTo>
                    <a:pt x="279" y="197"/>
                  </a:lnTo>
                  <a:lnTo>
                    <a:pt x="279" y="201"/>
                  </a:lnTo>
                  <a:lnTo>
                    <a:pt x="283" y="206"/>
                  </a:lnTo>
                  <a:lnTo>
                    <a:pt x="288" y="211"/>
                  </a:lnTo>
                  <a:lnTo>
                    <a:pt x="288" y="215"/>
                  </a:lnTo>
                  <a:lnTo>
                    <a:pt x="293" y="215"/>
                  </a:lnTo>
                  <a:lnTo>
                    <a:pt x="302" y="211"/>
                  </a:lnTo>
                  <a:lnTo>
                    <a:pt x="311" y="206"/>
                  </a:lnTo>
                  <a:lnTo>
                    <a:pt x="315" y="206"/>
                  </a:lnTo>
                  <a:lnTo>
                    <a:pt x="325" y="206"/>
                  </a:lnTo>
                  <a:lnTo>
                    <a:pt x="329" y="206"/>
                  </a:lnTo>
                  <a:lnTo>
                    <a:pt x="334" y="206"/>
                  </a:lnTo>
                  <a:lnTo>
                    <a:pt x="338" y="206"/>
                  </a:lnTo>
                  <a:lnTo>
                    <a:pt x="347" y="211"/>
                  </a:lnTo>
                  <a:lnTo>
                    <a:pt x="352" y="211"/>
                  </a:lnTo>
                  <a:lnTo>
                    <a:pt x="352" y="215"/>
                  </a:lnTo>
                  <a:lnTo>
                    <a:pt x="357" y="215"/>
                  </a:lnTo>
                  <a:lnTo>
                    <a:pt x="361" y="215"/>
                  </a:lnTo>
                  <a:lnTo>
                    <a:pt x="361" y="220"/>
                  </a:lnTo>
                  <a:lnTo>
                    <a:pt x="366" y="220"/>
                  </a:lnTo>
                  <a:lnTo>
                    <a:pt x="366" y="220"/>
                  </a:lnTo>
                  <a:lnTo>
                    <a:pt x="370" y="220"/>
                  </a:lnTo>
                  <a:lnTo>
                    <a:pt x="370" y="224"/>
                  </a:lnTo>
                  <a:lnTo>
                    <a:pt x="370" y="229"/>
                  </a:lnTo>
                  <a:lnTo>
                    <a:pt x="375" y="229"/>
                  </a:lnTo>
                  <a:lnTo>
                    <a:pt x="375" y="238"/>
                  </a:lnTo>
                  <a:lnTo>
                    <a:pt x="375" y="243"/>
                  </a:lnTo>
                  <a:lnTo>
                    <a:pt x="375" y="247"/>
                  </a:lnTo>
                  <a:lnTo>
                    <a:pt x="379" y="252"/>
                  </a:lnTo>
                  <a:lnTo>
                    <a:pt x="379" y="256"/>
                  </a:lnTo>
                  <a:lnTo>
                    <a:pt x="384" y="256"/>
                  </a:lnTo>
                  <a:lnTo>
                    <a:pt x="389" y="261"/>
                  </a:lnTo>
                  <a:lnTo>
                    <a:pt x="389" y="265"/>
                  </a:lnTo>
                  <a:lnTo>
                    <a:pt x="393" y="265"/>
                  </a:lnTo>
                  <a:lnTo>
                    <a:pt x="398" y="265"/>
                  </a:lnTo>
                  <a:lnTo>
                    <a:pt x="398" y="275"/>
                  </a:lnTo>
                  <a:lnTo>
                    <a:pt x="398" y="279"/>
                  </a:lnTo>
                  <a:lnTo>
                    <a:pt x="398" y="284"/>
                  </a:lnTo>
                  <a:lnTo>
                    <a:pt x="398" y="288"/>
                  </a:lnTo>
                  <a:lnTo>
                    <a:pt x="398" y="293"/>
                  </a:lnTo>
                  <a:lnTo>
                    <a:pt x="398" y="297"/>
                  </a:lnTo>
                  <a:lnTo>
                    <a:pt x="398" y="302"/>
                  </a:lnTo>
                  <a:lnTo>
                    <a:pt x="398" y="307"/>
                  </a:lnTo>
                  <a:lnTo>
                    <a:pt x="398" y="311"/>
                  </a:lnTo>
                  <a:lnTo>
                    <a:pt x="398" y="320"/>
                  </a:lnTo>
                  <a:lnTo>
                    <a:pt x="398" y="329"/>
                  </a:lnTo>
                  <a:lnTo>
                    <a:pt x="393" y="329"/>
                  </a:lnTo>
                  <a:lnTo>
                    <a:pt x="389" y="329"/>
                  </a:lnTo>
                  <a:lnTo>
                    <a:pt x="389" y="334"/>
                  </a:lnTo>
                  <a:lnTo>
                    <a:pt x="384" y="339"/>
                  </a:lnTo>
                  <a:lnTo>
                    <a:pt x="384" y="343"/>
                  </a:lnTo>
                  <a:lnTo>
                    <a:pt x="384" y="348"/>
                  </a:lnTo>
                  <a:lnTo>
                    <a:pt x="389" y="348"/>
                  </a:lnTo>
                  <a:lnTo>
                    <a:pt x="393" y="348"/>
                  </a:lnTo>
                  <a:lnTo>
                    <a:pt x="398" y="348"/>
                  </a:lnTo>
                  <a:lnTo>
                    <a:pt x="411" y="352"/>
                  </a:lnTo>
                  <a:lnTo>
                    <a:pt x="416" y="352"/>
                  </a:lnTo>
                  <a:lnTo>
                    <a:pt x="421" y="352"/>
                  </a:lnTo>
                  <a:lnTo>
                    <a:pt x="430" y="352"/>
                  </a:lnTo>
                  <a:lnTo>
                    <a:pt x="434" y="352"/>
                  </a:lnTo>
                  <a:lnTo>
                    <a:pt x="443" y="352"/>
                  </a:lnTo>
                  <a:lnTo>
                    <a:pt x="457" y="348"/>
                  </a:lnTo>
                  <a:lnTo>
                    <a:pt x="462" y="348"/>
                  </a:lnTo>
                  <a:lnTo>
                    <a:pt x="462" y="343"/>
                  </a:lnTo>
                  <a:lnTo>
                    <a:pt x="466" y="343"/>
                  </a:lnTo>
                  <a:lnTo>
                    <a:pt x="471" y="339"/>
                  </a:lnTo>
                  <a:lnTo>
                    <a:pt x="475" y="339"/>
                  </a:lnTo>
                  <a:lnTo>
                    <a:pt x="480" y="343"/>
                  </a:lnTo>
                  <a:lnTo>
                    <a:pt x="485" y="343"/>
                  </a:lnTo>
                  <a:lnTo>
                    <a:pt x="485" y="339"/>
                  </a:lnTo>
                  <a:lnTo>
                    <a:pt x="485" y="334"/>
                  </a:lnTo>
                  <a:lnTo>
                    <a:pt x="489" y="334"/>
                  </a:lnTo>
                  <a:lnTo>
                    <a:pt x="494" y="334"/>
                  </a:lnTo>
                  <a:lnTo>
                    <a:pt x="494" y="329"/>
                  </a:lnTo>
                  <a:lnTo>
                    <a:pt x="498" y="329"/>
                  </a:lnTo>
                  <a:lnTo>
                    <a:pt x="503" y="329"/>
                  </a:lnTo>
                  <a:lnTo>
                    <a:pt x="507" y="329"/>
                  </a:lnTo>
                  <a:lnTo>
                    <a:pt x="507" y="325"/>
                  </a:lnTo>
                  <a:lnTo>
                    <a:pt x="512" y="320"/>
                  </a:lnTo>
                  <a:lnTo>
                    <a:pt x="517" y="320"/>
                  </a:lnTo>
                  <a:lnTo>
                    <a:pt x="521" y="316"/>
                  </a:lnTo>
                  <a:lnTo>
                    <a:pt x="526" y="311"/>
                  </a:lnTo>
                  <a:lnTo>
                    <a:pt x="530" y="307"/>
                  </a:lnTo>
                  <a:lnTo>
                    <a:pt x="535" y="307"/>
                  </a:lnTo>
                  <a:lnTo>
                    <a:pt x="539" y="307"/>
                  </a:lnTo>
                  <a:lnTo>
                    <a:pt x="544" y="311"/>
                  </a:lnTo>
                  <a:lnTo>
                    <a:pt x="549" y="311"/>
                  </a:lnTo>
                  <a:lnTo>
                    <a:pt x="549" y="316"/>
                  </a:lnTo>
                  <a:lnTo>
                    <a:pt x="549" y="325"/>
                  </a:lnTo>
                  <a:lnTo>
                    <a:pt x="553" y="329"/>
                  </a:lnTo>
                  <a:lnTo>
                    <a:pt x="558" y="334"/>
                  </a:lnTo>
                  <a:lnTo>
                    <a:pt x="558" y="348"/>
                  </a:lnTo>
                  <a:lnTo>
                    <a:pt x="562" y="348"/>
                  </a:lnTo>
                  <a:lnTo>
                    <a:pt x="562" y="352"/>
                  </a:lnTo>
                  <a:lnTo>
                    <a:pt x="567" y="352"/>
                  </a:lnTo>
                  <a:lnTo>
                    <a:pt x="571" y="357"/>
                  </a:lnTo>
                  <a:lnTo>
                    <a:pt x="571" y="361"/>
                  </a:lnTo>
                  <a:lnTo>
                    <a:pt x="576" y="361"/>
                  </a:lnTo>
                  <a:lnTo>
                    <a:pt x="581" y="361"/>
                  </a:lnTo>
                  <a:lnTo>
                    <a:pt x="585" y="357"/>
                  </a:lnTo>
                  <a:lnTo>
                    <a:pt x="590" y="357"/>
                  </a:lnTo>
                  <a:lnTo>
                    <a:pt x="594" y="352"/>
                  </a:lnTo>
                  <a:lnTo>
                    <a:pt x="599" y="352"/>
                  </a:lnTo>
                  <a:lnTo>
                    <a:pt x="603" y="348"/>
                  </a:lnTo>
                  <a:lnTo>
                    <a:pt x="613" y="348"/>
                  </a:lnTo>
                  <a:lnTo>
                    <a:pt x="617" y="352"/>
                  </a:lnTo>
                  <a:lnTo>
                    <a:pt x="617" y="352"/>
                  </a:lnTo>
                  <a:lnTo>
                    <a:pt x="617" y="352"/>
                  </a:lnTo>
                  <a:lnTo>
                    <a:pt x="622" y="357"/>
                  </a:lnTo>
                  <a:lnTo>
                    <a:pt x="622" y="361"/>
                  </a:lnTo>
                  <a:lnTo>
                    <a:pt x="626" y="371"/>
                  </a:lnTo>
                  <a:lnTo>
                    <a:pt x="626" y="375"/>
                  </a:lnTo>
                  <a:lnTo>
                    <a:pt x="631" y="375"/>
                  </a:lnTo>
                  <a:lnTo>
                    <a:pt x="635" y="380"/>
                  </a:lnTo>
                  <a:lnTo>
                    <a:pt x="640" y="384"/>
                  </a:lnTo>
                  <a:lnTo>
                    <a:pt x="645" y="384"/>
                  </a:lnTo>
                  <a:lnTo>
                    <a:pt x="654" y="384"/>
                  </a:lnTo>
                  <a:lnTo>
                    <a:pt x="667" y="380"/>
                  </a:lnTo>
                  <a:lnTo>
                    <a:pt x="672" y="375"/>
                  </a:lnTo>
                  <a:lnTo>
                    <a:pt x="677" y="375"/>
                  </a:lnTo>
                  <a:lnTo>
                    <a:pt x="681" y="375"/>
                  </a:lnTo>
                  <a:lnTo>
                    <a:pt x="695" y="375"/>
                  </a:lnTo>
                  <a:lnTo>
                    <a:pt x="699" y="375"/>
                  </a:lnTo>
                  <a:lnTo>
                    <a:pt x="704" y="375"/>
                  </a:lnTo>
                  <a:lnTo>
                    <a:pt x="709" y="375"/>
                  </a:lnTo>
                  <a:lnTo>
                    <a:pt x="704" y="389"/>
                  </a:lnTo>
                  <a:lnTo>
                    <a:pt x="704" y="398"/>
                  </a:lnTo>
                  <a:lnTo>
                    <a:pt x="704" y="403"/>
                  </a:lnTo>
                  <a:lnTo>
                    <a:pt x="704" y="416"/>
                  </a:lnTo>
                  <a:lnTo>
                    <a:pt x="704" y="430"/>
                  </a:lnTo>
                  <a:lnTo>
                    <a:pt x="704" y="435"/>
                  </a:lnTo>
                  <a:lnTo>
                    <a:pt x="699" y="439"/>
                  </a:lnTo>
                  <a:lnTo>
                    <a:pt x="690" y="444"/>
                  </a:lnTo>
                  <a:lnTo>
                    <a:pt x="686" y="448"/>
                  </a:lnTo>
                  <a:lnTo>
                    <a:pt x="681" y="448"/>
                  </a:lnTo>
                  <a:lnTo>
                    <a:pt x="677" y="453"/>
                  </a:lnTo>
                  <a:lnTo>
                    <a:pt x="672" y="457"/>
                  </a:lnTo>
                  <a:lnTo>
                    <a:pt x="663" y="462"/>
                  </a:lnTo>
                  <a:lnTo>
                    <a:pt x="658" y="462"/>
                  </a:lnTo>
                  <a:lnTo>
                    <a:pt x="645" y="471"/>
                  </a:lnTo>
                  <a:lnTo>
                    <a:pt x="640" y="476"/>
                  </a:lnTo>
                  <a:lnTo>
                    <a:pt x="640" y="480"/>
                  </a:lnTo>
                  <a:lnTo>
                    <a:pt x="635" y="485"/>
                  </a:lnTo>
                  <a:lnTo>
                    <a:pt x="635" y="499"/>
                  </a:lnTo>
                  <a:lnTo>
                    <a:pt x="635" y="503"/>
                  </a:lnTo>
                  <a:lnTo>
                    <a:pt x="635" y="508"/>
                  </a:lnTo>
                  <a:lnTo>
                    <a:pt x="635" y="512"/>
                  </a:lnTo>
                  <a:lnTo>
                    <a:pt x="635" y="517"/>
                  </a:lnTo>
                  <a:lnTo>
                    <a:pt x="640" y="521"/>
                  </a:lnTo>
                  <a:lnTo>
                    <a:pt x="645" y="526"/>
                  </a:lnTo>
                  <a:lnTo>
                    <a:pt x="649" y="526"/>
                  </a:lnTo>
                  <a:lnTo>
                    <a:pt x="658" y="531"/>
                  </a:lnTo>
                  <a:lnTo>
                    <a:pt x="667" y="531"/>
                  </a:lnTo>
                  <a:lnTo>
                    <a:pt x="672" y="531"/>
                  </a:lnTo>
                  <a:lnTo>
                    <a:pt x="677" y="531"/>
                  </a:lnTo>
                  <a:lnTo>
                    <a:pt x="681" y="531"/>
                  </a:lnTo>
                  <a:lnTo>
                    <a:pt x="686" y="531"/>
                  </a:lnTo>
                  <a:lnTo>
                    <a:pt x="690" y="531"/>
                  </a:lnTo>
                  <a:lnTo>
                    <a:pt x="690" y="526"/>
                  </a:lnTo>
                  <a:lnTo>
                    <a:pt x="695" y="526"/>
                  </a:lnTo>
                  <a:lnTo>
                    <a:pt x="699" y="521"/>
                  </a:lnTo>
                  <a:lnTo>
                    <a:pt x="704" y="521"/>
                  </a:lnTo>
                  <a:lnTo>
                    <a:pt x="704" y="517"/>
                  </a:lnTo>
                  <a:lnTo>
                    <a:pt x="709" y="512"/>
                  </a:lnTo>
                  <a:lnTo>
                    <a:pt x="709" y="508"/>
                  </a:lnTo>
                  <a:lnTo>
                    <a:pt x="713" y="508"/>
                  </a:lnTo>
                  <a:lnTo>
                    <a:pt x="718" y="508"/>
                  </a:lnTo>
                  <a:lnTo>
                    <a:pt x="718" y="512"/>
                  </a:lnTo>
                  <a:lnTo>
                    <a:pt x="722" y="512"/>
                  </a:lnTo>
                  <a:lnTo>
                    <a:pt x="722" y="517"/>
                  </a:lnTo>
                  <a:lnTo>
                    <a:pt x="722" y="521"/>
                  </a:lnTo>
                  <a:lnTo>
                    <a:pt x="722" y="526"/>
                  </a:lnTo>
                  <a:lnTo>
                    <a:pt x="722" y="526"/>
                  </a:lnTo>
                  <a:lnTo>
                    <a:pt x="722" y="531"/>
                  </a:lnTo>
                  <a:lnTo>
                    <a:pt x="718" y="535"/>
                  </a:lnTo>
                  <a:lnTo>
                    <a:pt x="718" y="549"/>
                  </a:lnTo>
                  <a:lnTo>
                    <a:pt x="718" y="549"/>
                  </a:lnTo>
                  <a:lnTo>
                    <a:pt x="722" y="553"/>
                  </a:lnTo>
                  <a:lnTo>
                    <a:pt x="722" y="558"/>
                  </a:lnTo>
                  <a:lnTo>
                    <a:pt x="722" y="567"/>
                  </a:lnTo>
                  <a:lnTo>
                    <a:pt x="722" y="572"/>
                  </a:lnTo>
                  <a:lnTo>
                    <a:pt x="718" y="572"/>
                  </a:lnTo>
                  <a:lnTo>
                    <a:pt x="713" y="572"/>
                  </a:lnTo>
                  <a:lnTo>
                    <a:pt x="709" y="572"/>
                  </a:lnTo>
                  <a:lnTo>
                    <a:pt x="704" y="572"/>
                  </a:lnTo>
                  <a:lnTo>
                    <a:pt x="704" y="581"/>
                  </a:lnTo>
                  <a:lnTo>
                    <a:pt x="704" y="585"/>
                  </a:lnTo>
                  <a:lnTo>
                    <a:pt x="699" y="590"/>
                  </a:lnTo>
                  <a:lnTo>
                    <a:pt x="686" y="590"/>
                  </a:lnTo>
                  <a:lnTo>
                    <a:pt x="681" y="595"/>
                  </a:lnTo>
                  <a:lnTo>
                    <a:pt x="677" y="595"/>
                  </a:lnTo>
                  <a:lnTo>
                    <a:pt x="677" y="595"/>
                  </a:lnTo>
                  <a:lnTo>
                    <a:pt x="677" y="599"/>
                  </a:lnTo>
                  <a:lnTo>
                    <a:pt x="677" y="604"/>
                  </a:lnTo>
                  <a:lnTo>
                    <a:pt x="681" y="604"/>
                  </a:lnTo>
                  <a:lnTo>
                    <a:pt x="690" y="604"/>
                  </a:lnTo>
                  <a:lnTo>
                    <a:pt x="695" y="604"/>
                  </a:lnTo>
                  <a:lnTo>
                    <a:pt x="699" y="604"/>
                  </a:lnTo>
                  <a:lnTo>
                    <a:pt x="704" y="604"/>
                  </a:lnTo>
                  <a:lnTo>
                    <a:pt x="709" y="604"/>
                  </a:lnTo>
                  <a:lnTo>
                    <a:pt x="713" y="604"/>
                  </a:lnTo>
                  <a:lnTo>
                    <a:pt x="718" y="608"/>
                  </a:lnTo>
                  <a:lnTo>
                    <a:pt x="718" y="613"/>
                  </a:lnTo>
                  <a:lnTo>
                    <a:pt x="722" y="613"/>
                  </a:lnTo>
                  <a:lnTo>
                    <a:pt x="722" y="613"/>
                  </a:lnTo>
                  <a:lnTo>
                    <a:pt x="722" y="617"/>
                  </a:lnTo>
                  <a:lnTo>
                    <a:pt x="722" y="622"/>
                  </a:lnTo>
                  <a:lnTo>
                    <a:pt x="713" y="631"/>
                  </a:lnTo>
                  <a:lnTo>
                    <a:pt x="709" y="631"/>
                  </a:lnTo>
                  <a:lnTo>
                    <a:pt x="704" y="631"/>
                  </a:lnTo>
                  <a:lnTo>
                    <a:pt x="704" y="636"/>
                  </a:lnTo>
                  <a:lnTo>
                    <a:pt x="704" y="636"/>
                  </a:lnTo>
                  <a:lnTo>
                    <a:pt x="699" y="636"/>
                  </a:lnTo>
                  <a:lnTo>
                    <a:pt x="699" y="636"/>
                  </a:lnTo>
                  <a:lnTo>
                    <a:pt x="695" y="631"/>
                  </a:lnTo>
                  <a:lnTo>
                    <a:pt x="672" y="622"/>
                  </a:lnTo>
                  <a:lnTo>
                    <a:pt x="667" y="617"/>
                  </a:lnTo>
                  <a:lnTo>
                    <a:pt x="658" y="617"/>
                  </a:lnTo>
                  <a:lnTo>
                    <a:pt x="649" y="613"/>
                  </a:lnTo>
                  <a:lnTo>
                    <a:pt x="640" y="613"/>
                  </a:lnTo>
                  <a:lnTo>
                    <a:pt x="626" y="608"/>
                  </a:lnTo>
                  <a:lnTo>
                    <a:pt x="613" y="608"/>
                  </a:lnTo>
                  <a:lnTo>
                    <a:pt x="617" y="590"/>
                  </a:lnTo>
                  <a:lnTo>
                    <a:pt x="617" y="581"/>
                  </a:lnTo>
                  <a:lnTo>
                    <a:pt x="617" y="576"/>
                  </a:lnTo>
                  <a:lnTo>
                    <a:pt x="613" y="576"/>
                  </a:lnTo>
                  <a:lnTo>
                    <a:pt x="608" y="576"/>
                  </a:lnTo>
                  <a:lnTo>
                    <a:pt x="599" y="576"/>
                  </a:lnTo>
                  <a:lnTo>
                    <a:pt x="594" y="581"/>
                  </a:lnTo>
                  <a:lnTo>
                    <a:pt x="590" y="581"/>
                  </a:lnTo>
                  <a:lnTo>
                    <a:pt x="581" y="576"/>
                  </a:lnTo>
                  <a:lnTo>
                    <a:pt x="576" y="576"/>
                  </a:lnTo>
                  <a:lnTo>
                    <a:pt x="571" y="572"/>
                  </a:lnTo>
                  <a:lnTo>
                    <a:pt x="567" y="572"/>
                  </a:lnTo>
                  <a:lnTo>
                    <a:pt x="558" y="572"/>
                  </a:lnTo>
                  <a:lnTo>
                    <a:pt x="553" y="567"/>
                  </a:lnTo>
                  <a:lnTo>
                    <a:pt x="549" y="563"/>
                  </a:lnTo>
                  <a:lnTo>
                    <a:pt x="549" y="558"/>
                  </a:lnTo>
                  <a:lnTo>
                    <a:pt x="549" y="553"/>
                  </a:lnTo>
                  <a:lnTo>
                    <a:pt x="553" y="549"/>
                  </a:lnTo>
                  <a:lnTo>
                    <a:pt x="558" y="549"/>
                  </a:lnTo>
                  <a:lnTo>
                    <a:pt x="562" y="549"/>
                  </a:lnTo>
                  <a:lnTo>
                    <a:pt x="567" y="549"/>
                  </a:lnTo>
                  <a:lnTo>
                    <a:pt x="571" y="549"/>
                  </a:lnTo>
                  <a:lnTo>
                    <a:pt x="571" y="549"/>
                  </a:lnTo>
                  <a:lnTo>
                    <a:pt x="571" y="544"/>
                  </a:lnTo>
                  <a:lnTo>
                    <a:pt x="576" y="540"/>
                  </a:lnTo>
                  <a:lnTo>
                    <a:pt x="576" y="535"/>
                  </a:lnTo>
                  <a:lnTo>
                    <a:pt x="576" y="531"/>
                  </a:lnTo>
                  <a:lnTo>
                    <a:pt x="576" y="526"/>
                  </a:lnTo>
                  <a:lnTo>
                    <a:pt x="571" y="526"/>
                  </a:lnTo>
                  <a:lnTo>
                    <a:pt x="571" y="526"/>
                  </a:lnTo>
                  <a:lnTo>
                    <a:pt x="571" y="526"/>
                  </a:lnTo>
                  <a:lnTo>
                    <a:pt x="567" y="526"/>
                  </a:lnTo>
                  <a:lnTo>
                    <a:pt x="562" y="526"/>
                  </a:lnTo>
                  <a:lnTo>
                    <a:pt x="553" y="526"/>
                  </a:lnTo>
                  <a:lnTo>
                    <a:pt x="553" y="531"/>
                  </a:lnTo>
                  <a:lnTo>
                    <a:pt x="549" y="531"/>
                  </a:lnTo>
                  <a:lnTo>
                    <a:pt x="544" y="531"/>
                  </a:lnTo>
                  <a:lnTo>
                    <a:pt x="539" y="535"/>
                  </a:lnTo>
                  <a:lnTo>
                    <a:pt x="535" y="535"/>
                  </a:lnTo>
                  <a:lnTo>
                    <a:pt x="530" y="535"/>
                  </a:lnTo>
                  <a:lnTo>
                    <a:pt x="526" y="535"/>
                  </a:lnTo>
                  <a:lnTo>
                    <a:pt x="526" y="535"/>
                  </a:lnTo>
                  <a:lnTo>
                    <a:pt x="526" y="531"/>
                  </a:lnTo>
                  <a:lnTo>
                    <a:pt x="526" y="526"/>
                  </a:lnTo>
                  <a:lnTo>
                    <a:pt x="521" y="521"/>
                  </a:lnTo>
                  <a:lnTo>
                    <a:pt x="521" y="517"/>
                  </a:lnTo>
                  <a:lnTo>
                    <a:pt x="521" y="512"/>
                  </a:lnTo>
                  <a:lnTo>
                    <a:pt x="526" y="512"/>
                  </a:lnTo>
                  <a:lnTo>
                    <a:pt x="526" y="508"/>
                  </a:lnTo>
                  <a:lnTo>
                    <a:pt x="535" y="503"/>
                  </a:lnTo>
                  <a:lnTo>
                    <a:pt x="539" y="503"/>
                  </a:lnTo>
                  <a:lnTo>
                    <a:pt x="544" y="499"/>
                  </a:lnTo>
                  <a:lnTo>
                    <a:pt x="544" y="494"/>
                  </a:lnTo>
                  <a:lnTo>
                    <a:pt x="549" y="494"/>
                  </a:lnTo>
                  <a:lnTo>
                    <a:pt x="549" y="489"/>
                  </a:lnTo>
                  <a:lnTo>
                    <a:pt x="544" y="485"/>
                  </a:lnTo>
                  <a:lnTo>
                    <a:pt x="521" y="485"/>
                  </a:lnTo>
                  <a:lnTo>
                    <a:pt x="475" y="485"/>
                  </a:lnTo>
                  <a:lnTo>
                    <a:pt x="439" y="485"/>
                  </a:lnTo>
                  <a:lnTo>
                    <a:pt x="407" y="485"/>
                  </a:lnTo>
                  <a:lnTo>
                    <a:pt x="393" y="485"/>
                  </a:lnTo>
                  <a:lnTo>
                    <a:pt x="389" y="485"/>
                  </a:lnTo>
                  <a:lnTo>
                    <a:pt x="288" y="485"/>
                  </a:lnTo>
                  <a:lnTo>
                    <a:pt x="283" y="485"/>
                  </a:lnTo>
                  <a:lnTo>
                    <a:pt x="279" y="485"/>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7" name="Freeform 34">
              <a:extLst>
                <a:ext uri="{FF2B5EF4-FFF2-40B4-BE49-F238E27FC236}">
                  <a16:creationId xmlns:a16="http://schemas.microsoft.com/office/drawing/2014/main" id="{A0AAF0F0-E0E3-4438-8771-1CA23597E648}"/>
                </a:ext>
              </a:extLst>
            </p:cNvPr>
            <p:cNvSpPr>
              <a:spLocks/>
            </p:cNvSpPr>
            <p:nvPr>
              <p:custDataLst>
                <p:tags r:id="rId29"/>
              </p:custDataLst>
            </p:nvPr>
          </p:nvSpPr>
          <p:spPr bwMode="auto">
            <a:xfrm>
              <a:off x="694068" y="3145012"/>
              <a:ext cx="567044" cy="721801"/>
            </a:xfrm>
            <a:custGeom>
              <a:avLst/>
              <a:gdLst/>
              <a:ahLst/>
              <a:cxnLst>
                <a:cxn ang="0">
                  <a:pos x="74" y="297"/>
                </a:cxn>
                <a:cxn ang="0">
                  <a:pos x="96" y="251"/>
                </a:cxn>
                <a:cxn ang="0">
                  <a:pos x="133" y="224"/>
                </a:cxn>
                <a:cxn ang="0">
                  <a:pos x="174" y="206"/>
                </a:cxn>
                <a:cxn ang="0">
                  <a:pos x="179" y="165"/>
                </a:cxn>
                <a:cxn ang="0">
                  <a:pos x="211" y="155"/>
                </a:cxn>
                <a:cxn ang="0">
                  <a:pos x="234" y="142"/>
                </a:cxn>
                <a:cxn ang="0">
                  <a:pos x="279" y="123"/>
                </a:cxn>
                <a:cxn ang="0">
                  <a:pos x="334" y="133"/>
                </a:cxn>
                <a:cxn ang="0">
                  <a:pos x="375" y="165"/>
                </a:cxn>
                <a:cxn ang="0">
                  <a:pos x="426" y="178"/>
                </a:cxn>
                <a:cxn ang="0">
                  <a:pos x="462" y="133"/>
                </a:cxn>
                <a:cxn ang="0">
                  <a:pos x="476" y="78"/>
                </a:cxn>
                <a:cxn ang="0">
                  <a:pos x="549" y="9"/>
                </a:cxn>
                <a:cxn ang="0">
                  <a:pos x="599" y="0"/>
                </a:cxn>
                <a:cxn ang="0">
                  <a:pos x="604" y="37"/>
                </a:cxn>
                <a:cxn ang="0">
                  <a:pos x="627" y="64"/>
                </a:cxn>
                <a:cxn ang="0">
                  <a:pos x="640" y="87"/>
                </a:cxn>
                <a:cxn ang="0">
                  <a:pos x="613" y="105"/>
                </a:cxn>
                <a:cxn ang="0">
                  <a:pos x="622" y="128"/>
                </a:cxn>
                <a:cxn ang="0">
                  <a:pos x="618" y="151"/>
                </a:cxn>
                <a:cxn ang="0">
                  <a:pos x="608" y="174"/>
                </a:cxn>
                <a:cxn ang="0">
                  <a:pos x="595" y="206"/>
                </a:cxn>
                <a:cxn ang="0">
                  <a:pos x="586" y="238"/>
                </a:cxn>
                <a:cxn ang="0">
                  <a:pos x="567" y="274"/>
                </a:cxn>
                <a:cxn ang="0">
                  <a:pos x="549" y="306"/>
                </a:cxn>
                <a:cxn ang="0">
                  <a:pos x="540" y="347"/>
                </a:cxn>
                <a:cxn ang="0">
                  <a:pos x="531" y="375"/>
                </a:cxn>
                <a:cxn ang="0">
                  <a:pos x="503" y="393"/>
                </a:cxn>
                <a:cxn ang="0">
                  <a:pos x="480" y="393"/>
                </a:cxn>
                <a:cxn ang="0">
                  <a:pos x="458" y="389"/>
                </a:cxn>
                <a:cxn ang="0">
                  <a:pos x="448" y="361"/>
                </a:cxn>
                <a:cxn ang="0">
                  <a:pos x="458" y="347"/>
                </a:cxn>
                <a:cxn ang="0">
                  <a:pos x="407" y="343"/>
                </a:cxn>
                <a:cxn ang="0">
                  <a:pos x="334" y="347"/>
                </a:cxn>
                <a:cxn ang="0">
                  <a:pos x="320" y="379"/>
                </a:cxn>
                <a:cxn ang="0">
                  <a:pos x="302" y="393"/>
                </a:cxn>
                <a:cxn ang="0">
                  <a:pos x="288" y="425"/>
                </a:cxn>
                <a:cxn ang="0">
                  <a:pos x="307" y="457"/>
                </a:cxn>
                <a:cxn ang="0">
                  <a:pos x="298" y="494"/>
                </a:cxn>
                <a:cxn ang="0">
                  <a:pos x="279" y="530"/>
                </a:cxn>
                <a:cxn ang="0">
                  <a:pos x="256" y="549"/>
                </a:cxn>
                <a:cxn ang="0">
                  <a:pos x="261" y="585"/>
                </a:cxn>
                <a:cxn ang="0">
                  <a:pos x="288" y="603"/>
                </a:cxn>
                <a:cxn ang="0">
                  <a:pos x="279" y="626"/>
                </a:cxn>
                <a:cxn ang="0">
                  <a:pos x="266" y="663"/>
                </a:cxn>
                <a:cxn ang="0">
                  <a:pos x="252" y="690"/>
                </a:cxn>
                <a:cxn ang="0">
                  <a:pos x="202" y="672"/>
                </a:cxn>
                <a:cxn ang="0">
                  <a:pos x="151" y="626"/>
                </a:cxn>
                <a:cxn ang="0">
                  <a:pos x="69" y="558"/>
                </a:cxn>
                <a:cxn ang="0">
                  <a:pos x="87" y="535"/>
                </a:cxn>
                <a:cxn ang="0">
                  <a:pos x="55" y="526"/>
                </a:cxn>
                <a:cxn ang="0">
                  <a:pos x="64" y="512"/>
                </a:cxn>
                <a:cxn ang="0">
                  <a:pos x="87" y="489"/>
                </a:cxn>
                <a:cxn ang="0">
                  <a:pos x="87" y="448"/>
                </a:cxn>
                <a:cxn ang="0">
                  <a:pos x="74" y="434"/>
                </a:cxn>
                <a:cxn ang="0">
                  <a:pos x="46" y="453"/>
                </a:cxn>
                <a:cxn ang="0">
                  <a:pos x="0" y="439"/>
                </a:cxn>
                <a:cxn ang="0">
                  <a:pos x="10" y="393"/>
                </a:cxn>
                <a:cxn ang="0">
                  <a:pos x="64" y="361"/>
                </a:cxn>
              </a:cxnLst>
              <a:rect l="0" t="0" r="r" b="b"/>
              <a:pathLst>
                <a:path w="650" h="713">
                  <a:moveTo>
                    <a:pt x="64" y="361"/>
                  </a:moveTo>
                  <a:lnTo>
                    <a:pt x="69" y="357"/>
                  </a:lnTo>
                  <a:lnTo>
                    <a:pt x="69" y="352"/>
                  </a:lnTo>
                  <a:lnTo>
                    <a:pt x="69" y="338"/>
                  </a:lnTo>
                  <a:lnTo>
                    <a:pt x="69" y="325"/>
                  </a:lnTo>
                  <a:lnTo>
                    <a:pt x="69" y="320"/>
                  </a:lnTo>
                  <a:lnTo>
                    <a:pt x="69" y="311"/>
                  </a:lnTo>
                  <a:lnTo>
                    <a:pt x="74" y="297"/>
                  </a:lnTo>
                  <a:lnTo>
                    <a:pt x="78" y="293"/>
                  </a:lnTo>
                  <a:lnTo>
                    <a:pt x="83" y="279"/>
                  </a:lnTo>
                  <a:lnTo>
                    <a:pt x="87" y="274"/>
                  </a:lnTo>
                  <a:lnTo>
                    <a:pt x="87" y="274"/>
                  </a:lnTo>
                  <a:lnTo>
                    <a:pt x="92" y="270"/>
                  </a:lnTo>
                  <a:lnTo>
                    <a:pt x="92" y="265"/>
                  </a:lnTo>
                  <a:lnTo>
                    <a:pt x="92" y="256"/>
                  </a:lnTo>
                  <a:lnTo>
                    <a:pt x="96" y="251"/>
                  </a:lnTo>
                  <a:lnTo>
                    <a:pt x="106" y="247"/>
                  </a:lnTo>
                  <a:lnTo>
                    <a:pt x="110" y="242"/>
                  </a:lnTo>
                  <a:lnTo>
                    <a:pt x="110" y="238"/>
                  </a:lnTo>
                  <a:lnTo>
                    <a:pt x="119" y="233"/>
                  </a:lnTo>
                  <a:lnTo>
                    <a:pt x="124" y="229"/>
                  </a:lnTo>
                  <a:lnTo>
                    <a:pt x="128" y="229"/>
                  </a:lnTo>
                  <a:lnTo>
                    <a:pt x="133" y="229"/>
                  </a:lnTo>
                  <a:lnTo>
                    <a:pt x="133" y="224"/>
                  </a:lnTo>
                  <a:lnTo>
                    <a:pt x="133" y="219"/>
                  </a:lnTo>
                  <a:lnTo>
                    <a:pt x="138" y="219"/>
                  </a:lnTo>
                  <a:lnTo>
                    <a:pt x="142" y="215"/>
                  </a:lnTo>
                  <a:lnTo>
                    <a:pt x="147" y="210"/>
                  </a:lnTo>
                  <a:lnTo>
                    <a:pt x="151" y="210"/>
                  </a:lnTo>
                  <a:lnTo>
                    <a:pt x="160" y="210"/>
                  </a:lnTo>
                  <a:lnTo>
                    <a:pt x="170" y="206"/>
                  </a:lnTo>
                  <a:lnTo>
                    <a:pt x="174" y="206"/>
                  </a:lnTo>
                  <a:lnTo>
                    <a:pt x="179" y="206"/>
                  </a:lnTo>
                  <a:lnTo>
                    <a:pt x="179" y="206"/>
                  </a:lnTo>
                  <a:lnTo>
                    <a:pt x="179" y="201"/>
                  </a:lnTo>
                  <a:lnTo>
                    <a:pt x="179" y="192"/>
                  </a:lnTo>
                  <a:lnTo>
                    <a:pt x="179" y="187"/>
                  </a:lnTo>
                  <a:lnTo>
                    <a:pt x="179" y="183"/>
                  </a:lnTo>
                  <a:lnTo>
                    <a:pt x="179" y="174"/>
                  </a:lnTo>
                  <a:lnTo>
                    <a:pt x="179" y="165"/>
                  </a:lnTo>
                  <a:lnTo>
                    <a:pt x="179" y="165"/>
                  </a:lnTo>
                  <a:lnTo>
                    <a:pt x="179" y="160"/>
                  </a:lnTo>
                  <a:lnTo>
                    <a:pt x="183" y="155"/>
                  </a:lnTo>
                  <a:lnTo>
                    <a:pt x="188" y="155"/>
                  </a:lnTo>
                  <a:lnTo>
                    <a:pt x="192" y="155"/>
                  </a:lnTo>
                  <a:lnTo>
                    <a:pt x="197" y="155"/>
                  </a:lnTo>
                  <a:lnTo>
                    <a:pt x="202" y="155"/>
                  </a:lnTo>
                  <a:lnTo>
                    <a:pt x="211" y="155"/>
                  </a:lnTo>
                  <a:lnTo>
                    <a:pt x="215" y="155"/>
                  </a:lnTo>
                  <a:lnTo>
                    <a:pt x="220" y="151"/>
                  </a:lnTo>
                  <a:lnTo>
                    <a:pt x="224" y="151"/>
                  </a:lnTo>
                  <a:lnTo>
                    <a:pt x="224" y="146"/>
                  </a:lnTo>
                  <a:lnTo>
                    <a:pt x="224" y="142"/>
                  </a:lnTo>
                  <a:lnTo>
                    <a:pt x="224" y="142"/>
                  </a:lnTo>
                  <a:lnTo>
                    <a:pt x="224" y="137"/>
                  </a:lnTo>
                  <a:lnTo>
                    <a:pt x="234" y="142"/>
                  </a:lnTo>
                  <a:lnTo>
                    <a:pt x="238" y="142"/>
                  </a:lnTo>
                  <a:lnTo>
                    <a:pt x="243" y="137"/>
                  </a:lnTo>
                  <a:lnTo>
                    <a:pt x="247" y="137"/>
                  </a:lnTo>
                  <a:lnTo>
                    <a:pt x="252" y="133"/>
                  </a:lnTo>
                  <a:lnTo>
                    <a:pt x="261" y="128"/>
                  </a:lnTo>
                  <a:lnTo>
                    <a:pt x="266" y="123"/>
                  </a:lnTo>
                  <a:lnTo>
                    <a:pt x="270" y="123"/>
                  </a:lnTo>
                  <a:lnTo>
                    <a:pt x="279" y="123"/>
                  </a:lnTo>
                  <a:lnTo>
                    <a:pt x="284" y="123"/>
                  </a:lnTo>
                  <a:lnTo>
                    <a:pt x="288" y="123"/>
                  </a:lnTo>
                  <a:lnTo>
                    <a:pt x="293" y="128"/>
                  </a:lnTo>
                  <a:lnTo>
                    <a:pt x="298" y="128"/>
                  </a:lnTo>
                  <a:lnTo>
                    <a:pt x="311" y="128"/>
                  </a:lnTo>
                  <a:lnTo>
                    <a:pt x="316" y="128"/>
                  </a:lnTo>
                  <a:lnTo>
                    <a:pt x="316" y="133"/>
                  </a:lnTo>
                  <a:lnTo>
                    <a:pt x="334" y="133"/>
                  </a:lnTo>
                  <a:lnTo>
                    <a:pt x="357" y="123"/>
                  </a:lnTo>
                  <a:lnTo>
                    <a:pt x="362" y="123"/>
                  </a:lnTo>
                  <a:lnTo>
                    <a:pt x="362" y="128"/>
                  </a:lnTo>
                  <a:lnTo>
                    <a:pt x="366" y="133"/>
                  </a:lnTo>
                  <a:lnTo>
                    <a:pt x="375" y="142"/>
                  </a:lnTo>
                  <a:lnTo>
                    <a:pt x="375" y="146"/>
                  </a:lnTo>
                  <a:lnTo>
                    <a:pt x="375" y="155"/>
                  </a:lnTo>
                  <a:lnTo>
                    <a:pt x="375" y="165"/>
                  </a:lnTo>
                  <a:lnTo>
                    <a:pt x="375" y="174"/>
                  </a:lnTo>
                  <a:lnTo>
                    <a:pt x="380" y="183"/>
                  </a:lnTo>
                  <a:lnTo>
                    <a:pt x="389" y="187"/>
                  </a:lnTo>
                  <a:lnTo>
                    <a:pt x="394" y="187"/>
                  </a:lnTo>
                  <a:lnTo>
                    <a:pt x="398" y="183"/>
                  </a:lnTo>
                  <a:lnTo>
                    <a:pt x="403" y="183"/>
                  </a:lnTo>
                  <a:lnTo>
                    <a:pt x="416" y="178"/>
                  </a:lnTo>
                  <a:lnTo>
                    <a:pt x="426" y="178"/>
                  </a:lnTo>
                  <a:lnTo>
                    <a:pt x="435" y="174"/>
                  </a:lnTo>
                  <a:lnTo>
                    <a:pt x="439" y="174"/>
                  </a:lnTo>
                  <a:lnTo>
                    <a:pt x="439" y="169"/>
                  </a:lnTo>
                  <a:lnTo>
                    <a:pt x="444" y="165"/>
                  </a:lnTo>
                  <a:lnTo>
                    <a:pt x="448" y="165"/>
                  </a:lnTo>
                  <a:lnTo>
                    <a:pt x="453" y="155"/>
                  </a:lnTo>
                  <a:lnTo>
                    <a:pt x="458" y="142"/>
                  </a:lnTo>
                  <a:lnTo>
                    <a:pt x="462" y="133"/>
                  </a:lnTo>
                  <a:lnTo>
                    <a:pt x="467" y="119"/>
                  </a:lnTo>
                  <a:lnTo>
                    <a:pt x="467" y="110"/>
                  </a:lnTo>
                  <a:lnTo>
                    <a:pt x="467" y="105"/>
                  </a:lnTo>
                  <a:lnTo>
                    <a:pt x="471" y="96"/>
                  </a:lnTo>
                  <a:lnTo>
                    <a:pt x="471" y="96"/>
                  </a:lnTo>
                  <a:lnTo>
                    <a:pt x="467" y="96"/>
                  </a:lnTo>
                  <a:lnTo>
                    <a:pt x="471" y="87"/>
                  </a:lnTo>
                  <a:lnTo>
                    <a:pt x="476" y="78"/>
                  </a:lnTo>
                  <a:lnTo>
                    <a:pt x="476" y="59"/>
                  </a:lnTo>
                  <a:lnTo>
                    <a:pt x="499" y="37"/>
                  </a:lnTo>
                  <a:lnTo>
                    <a:pt x="508" y="32"/>
                  </a:lnTo>
                  <a:lnTo>
                    <a:pt x="517" y="32"/>
                  </a:lnTo>
                  <a:lnTo>
                    <a:pt x="531" y="27"/>
                  </a:lnTo>
                  <a:lnTo>
                    <a:pt x="544" y="23"/>
                  </a:lnTo>
                  <a:lnTo>
                    <a:pt x="549" y="14"/>
                  </a:lnTo>
                  <a:lnTo>
                    <a:pt x="549" y="9"/>
                  </a:lnTo>
                  <a:lnTo>
                    <a:pt x="549" y="5"/>
                  </a:lnTo>
                  <a:lnTo>
                    <a:pt x="549" y="9"/>
                  </a:lnTo>
                  <a:lnTo>
                    <a:pt x="554" y="9"/>
                  </a:lnTo>
                  <a:lnTo>
                    <a:pt x="563" y="9"/>
                  </a:lnTo>
                  <a:lnTo>
                    <a:pt x="572" y="5"/>
                  </a:lnTo>
                  <a:lnTo>
                    <a:pt x="590" y="5"/>
                  </a:lnTo>
                  <a:lnTo>
                    <a:pt x="595" y="0"/>
                  </a:lnTo>
                  <a:lnTo>
                    <a:pt x="599" y="0"/>
                  </a:lnTo>
                  <a:lnTo>
                    <a:pt x="599" y="5"/>
                  </a:lnTo>
                  <a:lnTo>
                    <a:pt x="604" y="9"/>
                  </a:lnTo>
                  <a:lnTo>
                    <a:pt x="599" y="9"/>
                  </a:lnTo>
                  <a:lnTo>
                    <a:pt x="599" y="14"/>
                  </a:lnTo>
                  <a:lnTo>
                    <a:pt x="595" y="27"/>
                  </a:lnTo>
                  <a:lnTo>
                    <a:pt x="595" y="32"/>
                  </a:lnTo>
                  <a:lnTo>
                    <a:pt x="599" y="32"/>
                  </a:lnTo>
                  <a:lnTo>
                    <a:pt x="604" y="37"/>
                  </a:lnTo>
                  <a:lnTo>
                    <a:pt x="604" y="41"/>
                  </a:lnTo>
                  <a:lnTo>
                    <a:pt x="608" y="46"/>
                  </a:lnTo>
                  <a:lnTo>
                    <a:pt x="613" y="50"/>
                  </a:lnTo>
                  <a:lnTo>
                    <a:pt x="613" y="55"/>
                  </a:lnTo>
                  <a:lnTo>
                    <a:pt x="618" y="55"/>
                  </a:lnTo>
                  <a:lnTo>
                    <a:pt x="618" y="55"/>
                  </a:lnTo>
                  <a:lnTo>
                    <a:pt x="618" y="59"/>
                  </a:lnTo>
                  <a:lnTo>
                    <a:pt x="627" y="64"/>
                  </a:lnTo>
                  <a:lnTo>
                    <a:pt x="631" y="69"/>
                  </a:lnTo>
                  <a:lnTo>
                    <a:pt x="636" y="69"/>
                  </a:lnTo>
                  <a:lnTo>
                    <a:pt x="636" y="73"/>
                  </a:lnTo>
                  <a:lnTo>
                    <a:pt x="640" y="78"/>
                  </a:lnTo>
                  <a:lnTo>
                    <a:pt x="650" y="78"/>
                  </a:lnTo>
                  <a:lnTo>
                    <a:pt x="645" y="78"/>
                  </a:lnTo>
                  <a:lnTo>
                    <a:pt x="645" y="82"/>
                  </a:lnTo>
                  <a:lnTo>
                    <a:pt x="640" y="87"/>
                  </a:lnTo>
                  <a:lnTo>
                    <a:pt x="640" y="91"/>
                  </a:lnTo>
                  <a:lnTo>
                    <a:pt x="636" y="96"/>
                  </a:lnTo>
                  <a:lnTo>
                    <a:pt x="636" y="96"/>
                  </a:lnTo>
                  <a:lnTo>
                    <a:pt x="627" y="96"/>
                  </a:lnTo>
                  <a:lnTo>
                    <a:pt x="622" y="96"/>
                  </a:lnTo>
                  <a:lnTo>
                    <a:pt x="618" y="101"/>
                  </a:lnTo>
                  <a:lnTo>
                    <a:pt x="618" y="101"/>
                  </a:lnTo>
                  <a:lnTo>
                    <a:pt x="613" y="105"/>
                  </a:lnTo>
                  <a:lnTo>
                    <a:pt x="613" y="110"/>
                  </a:lnTo>
                  <a:lnTo>
                    <a:pt x="613" y="114"/>
                  </a:lnTo>
                  <a:lnTo>
                    <a:pt x="613" y="119"/>
                  </a:lnTo>
                  <a:lnTo>
                    <a:pt x="618" y="119"/>
                  </a:lnTo>
                  <a:lnTo>
                    <a:pt x="618" y="119"/>
                  </a:lnTo>
                  <a:lnTo>
                    <a:pt x="618" y="119"/>
                  </a:lnTo>
                  <a:lnTo>
                    <a:pt x="622" y="123"/>
                  </a:lnTo>
                  <a:lnTo>
                    <a:pt x="622" y="128"/>
                  </a:lnTo>
                  <a:lnTo>
                    <a:pt x="627" y="128"/>
                  </a:lnTo>
                  <a:lnTo>
                    <a:pt x="627" y="133"/>
                  </a:lnTo>
                  <a:lnTo>
                    <a:pt x="622" y="133"/>
                  </a:lnTo>
                  <a:lnTo>
                    <a:pt x="622" y="137"/>
                  </a:lnTo>
                  <a:lnTo>
                    <a:pt x="622" y="142"/>
                  </a:lnTo>
                  <a:lnTo>
                    <a:pt x="618" y="142"/>
                  </a:lnTo>
                  <a:lnTo>
                    <a:pt x="618" y="146"/>
                  </a:lnTo>
                  <a:lnTo>
                    <a:pt x="618" y="151"/>
                  </a:lnTo>
                  <a:lnTo>
                    <a:pt x="622" y="155"/>
                  </a:lnTo>
                  <a:lnTo>
                    <a:pt x="622" y="160"/>
                  </a:lnTo>
                  <a:lnTo>
                    <a:pt x="622" y="165"/>
                  </a:lnTo>
                  <a:lnTo>
                    <a:pt x="622" y="165"/>
                  </a:lnTo>
                  <a:lnTo>
                    <a:pt x="622" y="169"/>
                  </a:lnTo>
                  <a:lnTo>
                    <a:pt x="618" y="169"/>
                  </a:lnTo>
                  <a:lnTo>
                    <a:pt x="613" y="169"/>
                  </a:lnTo>
                  <a:lnTo>
                    <a:pt x="608" y="174"/>
                  </a:lnTo>
                  <a:lnTo>
                    <a:pt x="604" y="174"/>
                  </a:lnTo>
                  <a:lnTo>
                    <a:pt x="604" y="178"/>
                  </a:lnTo>
                  <a:lnTo>
                    <a:pt x="599" y="183"/>
                  </a:lnTo>
                  <a:lnTo>
                    <a:pt x="599" y="187"/>
                  </a:lnTo>
                  <a:lnTo>
                    <a:pt x="599" y="187"/>
                  </a:lnTo>
                  <a:lnTo>
                    <a:pt x="595" y="197"/>
                  </a:lnTo>
                  <a:lnTo>
                    <a:pt x="595" y="201"/>
                  </a:lnTo>
                  <a:lnTo>
                    <a:pt x="595" y="206"/>
                  </a:lnTo>
                  <a:lnTo>
                    <a:pt x="595" y="206"/>
                  </a:lnTo>
                  <a:lnTo>
                    <a:pt x="590" y="210"/>
                  </a:lnTo>
                  <a:lnTo>
                    <a:pt x="590" y="215"/>
                  </a:lnTo>
                  <a:lnTo>
                    <a:pt x="590" y="219"/>
                  </a:lnTo>
                  <a:lnTo>
                    <a:pt x="590" y="224"/>
                  </a:lnTo>
                  <a:lnTo>
                    <a:pt x="586" y="229"/>
                  </a:lnTo>
                  <a:lnTo>
                    <a:pt x="586" y="233"/>
                  </a:lnTo>
                  <a:lnTo>
                    <a:pt x="586" y="238"/>
                  </a:lnTo>
                  <a:lnTo>
                    <a:pt x="581" y="242"/>
                  </a:lnTo>
                  <a:lnTo>
                    <a:pt x="576" y="251"/>
                  </a:lnTo>
                  <a:lnTo>
                    <a:pt x="576" y="256"/>
                  </a:lnTo>
                  <a:lnTo>
                    <a:pt x="572" y="261"/>
                  </a:lnTo>
                  <a:lnTo>
                    <a:pt x="572" y="265"/>
                  </a:lnTo>
                  <a:lnTo>
                    <a:pt x="572" y="270"/>
                  </a:lnTo>
                  <a:lnTo>
                    <a:pt x="567" y="274"/>
                  </a:lnTo>
                  <a:lnTo>
                    <a:pt x="567" y="274"/>
                  </a:lnTo>
                  <a:lnTo>
                    <a:pt x="563" y="274"/>
                  </a:lnTo>
                  <a:lnTo>
                    <a:pt x="563" y="279"/>
                  </a:lnTo>
                  <a:lnTo>
                    <a:pt x="558" y="279"/>
                  </a:lnTo>
                  <a:lnTo>
                    <a:pt x="558" y="283"/>
                  </a:lnTo>
                  <a:lnTo>
                    <a:pt x="554" y="293"/>
                  </a:lnTo>
                  <a:lnTo>
                    <a:pt x="549" y="297"/>
                  </a:lnTo>
                  <a:lnTo>
                    <a:pt x="549" y="302"/>
                  </a:lnTo>
                  <a:lnTo>
                    <a:pt x="549" y="306"/>
                  </a:lnTo>
                  <a:lnTo>
                    <a:pt x="554" y="315"/>
                  </a:lnTo>
                  <a:lnTo>
                    <a:pt x="554" y="320"/>
                  </a:lnTo>
                  <a:lnTo>
                    <a:pt x="549" y="329"/>
                  </a:lnTo>
                  <a:lnTo>
                    <a:pt x="549" y="334"/>
                  </a:lnTo>
                  <a:lnTo>
                    <a:pt x="544" y="338"/>
                  </a:lnTo>
                  <a:lnTo>
                    <a:pt x="540" y="338"/>
                  </a:lnTo>
                  <a:lnTo>
                    <a:pt x="540" y="343"/>
                  </a:lnTo>
                  <a:lnTo>
                    <a:pt x="540" y="347"/>
                  </a:lnTo>
                  <a:lnTo>
                    <a:pt x="535" y="347"/>
                  </a:lnTo>
                  <a:lnTo>
                    <a:pt x="535" y="352"/>
                  </a:lnTo>
                  <a:lnTo>
                    <a:pt x="531" y="352"/>
                  </a:lnTo>
                  <a:lnTo>
                    <a:pt x="531" y="357"/>
                  </a:lnTo>
                  <a:lnTo>
                    <a:pt x="531" y="361"/>
                  </a:lnTo>
                  <a:lnTo>
                    <a:pt x="531" y="366"/>
                  </a:lnTo>
                  <a:lnTo>
                    <a:pt x="531" y="370"/>
                  </a:lnTo>
                  <a:lnTo>
                    <a:pt x="531" y="375"/>
                  </a:lnTo>
                  <a:lnTo>
                    <a:pt x="531" y="384"/>
                  </a:lnTo>
                  <a:lnTo>
                    <a:pt x="526" y="384"/>
                  </a:lnTo>
                  <a:lnTo>
                    <a:pt x="526" y="384"/>
                  </a:lnTo>
                  <a:lnTo>
                    <a:pt x="517" y="393"/>
                  </a:lnTo>
                  <a:lnTo>
                    <a:pt x="512" y="398"/>
                  </a:lnTo>
                  <a:lnTo>
                    <a:pt x="508" y="398"/>
                  </a:lnTo>
                  <a:lnTo>
                    <a:pt x="508" y="398"/>
                  </a:lnTo>
                  <a:lnTo>
                    <a:pt x="503" y="393"/>
                  </a:lnTo>
                  <a:lnTo>
                    <a:pt x="499" y="393"/>
                  </a:lnTo>
                  <a:lnTo>
                    <a:pt x="499" y="389"/>
                  </a:lnTo>
                  <a:lnTo>
                    <a:pt x="494" y="384"/>
                  </a:lnTo>
                  <a:lnTo>
                    <a:pt x="490" y="384"/>
                  </a:lnTo>
                  <a:lnTo>
                    <a:pt x="485" y="389"/>
                  </a:lnTo>
                  <a:lnTo>
                    <a:pt x="485" y="389"/>
                  </a:lnTo>
                  <a:lnTo>
                    <a:pt x="480" y="389"/>
                  </a:lnTo>
                  <a:lnTo>
                    <a:pt x="480" y="393"/>
                  </a:lnTo>
                  <a:lnTo>
                    <a:pt x="476" y="393"/>
                  </a:lnTo>
                  <a:lnTo>
                    <a:pt x="476" y="398"/>
                  </a:lnTo>
                  <a:lnTo>
                    <a:pt x="471" y="402"/>
                  </a:lnTo>
                  <a:lnTo>
                    <a:pt x="467" y="402"/>
                  </a:lnTo>
                  <a:lnTo>
                    <a:pt x="467" y="407"/>
                  </a:lnTo>
                  <a:lnTo>
                    <a:pt x="462" y="407"/>
                  </a:lnTo>
                  <a:lnTo>
                    <a:pt x="462" y="402"/>
                  </a:lnTo>
                  <a:lnTo>
                    <a:pt x="458" y="389"/>
                  </a:lnTo>
                  <a:lnTo>
                    <a:pt x="458" y="384"/>
                  </a:lnTo>
                  <a:lnTo>
                    <a:pt x="453" y="384"/>
                  </a:lnTo>
                  <a:lnTo>
                    <a:pt x="448" y="379"/>
                  </a:lnTo>
                  <a:lnTo>
                    <a:pt x="448" y="375"/>
                  </a:lnTo>
                  <a:lnTo>
                    <a:pt x="444" y="366"/>
                  </a:lnTo>
                  <a:lnTo>
                    <a:pt x="444" y="361"/>
                  </a:lnTo>
                  <a:lnTo>
                    <a:pt x="444" y="361"/>
                  </a:lnTo>
                  <a:lnTo>
                    <a:pt x="448" y="361"/>
                  </a:lnTo>
                  <a:lnTo>
                    <a:pt x="453" y="361"/>
                  </a:lnTo>
                  <a:lnTo>
                    <a:pt x="462" y="361"/>
                  </a:lnTo>
                  <a:lnTo>
                    <a:pt x="462" y="361"/>
                  </a:lnTo>
                  <a:lnTo>
                    <a:pt x="462" y="357"/>
                  </a:lnTo>
                  <a:lnTo>
                    <a:pt x="462" y="357"/>
                  </a:lnTo>
                  <a:lnTo>
                    <a:pt x="462" y="352"/>
                  </a:lnTo>
                  <a:lnTo>
                    <a:pt x="458" y="352"/>
                  </a:lnTo>
                  <a:lnTo>
                    <a:pt x="458" y="347"/>
                  </a:lnTo>
                  <a:lnTo>
                    <a:pt x="453" y="347"/>
                  </a:lnTo>
                  <a:lnTo>
                    <a:pt x="453" y="343"/>
                  </a:lnTo>
                  <a:lnTo>
                    <a:pt x="448" y="343"/>
                  </a:lnTo>
                  <a:lnTo>
                    <a:pt x="439" y="343"/>
                  </a:lnTo>
                  <a:lnTo>
                    <a:pt x="430" y="343"/>
                  </a:lnTo>
                  <a:lnTo>
                    <a:pt x="421" y="343"/>
                  </a:lnTo>
                  <a:lnTo>
                    <a:pt x="412" y="343"/>
                  </a:lnTo>
                  <a:lnTo>
                    <a:pt x="407" y="343"/>
                  </a:lnTo>
                  <a:lnTo>
                    <a:pt x="398" y="343"/>
                  </a:lnTo>
                  <a:lnTo>
                    <a:pt x="398" y="343"/>
                  </a:lnTo>
                  <a:lnTo>
                    <a:pt x="371" y="338"/>
                  </a:lnTo>
                  <a:lnTo>
                    <a:pt x="352" y="338"/>
                  </a:lnTo>
                  <a:lnTo>
                    <a:pt x="352" y="338"/>
                  </a:lnTo>
                  <a:lnTo>
                    <a:pt x="348" y="338"/>
                  </a:lnTo>
                  <a:lnTo>
                    <a:pt x="343" y="338"/>
                  </a:lnTo>
                  <a:lnTo>
                    <a:pt x="334" y="347"/>
                  </a:lnTo>
                  <a:lnTo>
                    <a:pt x="334" y="352"/>
                  </a:lnTo>
                  <a:lnTo>
                    <a:pt x="330" y="357"/>
                  </a:lnTo>
                  <a:lnTo>
                    <a:pt x="330" y="361"/>
                  </a:lnTo>
                  <a:lnTo>
                    <a:pt x="330" y="361"/>
                  </a:lnTo>
                  <a:lnTo>
                    <a:pt x="325" y="366"/>
                  </a:lnTo>
                  <a:lnTo>
                    <a:pt x="325" y="370"/>
                  </a:lnTo>
                  <a:lnTo>
                    <a:pt x="320" y="370"/>
                  </a:lnTo>
                  <a:lnTo>
                    <a:pt x="320" y="379"/>
                  </a:lnTo>
                  <a:lnTo>
                    <a:pt x="320" y="384"/>
                  </a:lnTo>
                  <a:lnTo>
                    <a:pt x="316" y="384"/>
                  </a:lnTo>
                  <a:lnTo>
                    <a:pt x="311" y="384"/>
                  </a:lnTo>
                  <a:lnTo>
                    <a:pt x="311" y="389"/>
                  </a:lnTo>
                  <a:lnTo>
                    <a:pt x="311" y="389"/>
                  </a:lnTo>
                  <a:lnTo>
                    <a:pt x="307" y="389"/>
                  </a:lnTo>
                  <a:lnTo>
                    <a:pt x="307" y="393"/>
                  </a:lnTo>
                  <a:lnTo>
                    <a:pt x="302" y="393"/>
                  </a:lnTo>
                  <a:lnTo>
                    <a:pt x="302" y="398"/>
                  </a:lnTo>
                  <a:lnTo>
                    <a:pt x="298" y="398"/>
                  </a:lnTo>
                  <a:lnTo>
                    <a:pt x="298" y="402"/>
                  </a:lnTo>
                  <a:lnTo>
                    <a:pt x="298" y="407"/>
                  </a:lnTo>
                  <a:lnTo>
                    <a:pt x="293" y="411"/>
                  </a:lnTo>
                  <a:lnTo>
                    <a:pt x="293" y="421"/>
                  </a:lnTo>
                  <a:lnTo>
                    <a:pt x="293" y="425"/>
                  </a:lnTo>
                  <a:lnTo>
                    <a:pt x="288" y="425"/>
                  </a:lnTo>
                  <a:lnTo>
                    <a:pt x="288" y="439"/>
                  </a:lnTo>
                  <a:lnTo>
                    <a:pt x="288" y="448"/>
                  </a:lnTo>
                  <a:lnTo>
                    <a:pt x="293" y="448"/>
                  </a:lnTo>
                  <a:lnTo>
                    <a:pt x="293" y="453"/>
                  </a:lnTo>
                  <a:lnTo>
                    <a:pt x="298" y="453"/>
                  </a:lnTo>
                  <a:lnTo>
                    <a:pt x="298" y="457"/>
                  </a:lnTo>
                  <a:lnTo>
                    <a:pt x="302" y="457"/>
                  </a:lnTo>
                  <a:lnTo>
                    <a:pt x="307" y="457"/>
                  </a:lnTo>
                  <a:lnTo>
                    <a:pt x="307" y="462"/>
                  </a:lnTo>
                  <a:lnTo>
                    <a:pt x="311" y="466"/>
                  </a:lnTo>
                  <a:lnTo>
                    <a:pt x="307" y="471"/>
                  </a:lnTo>
                  <a:lnTo>
                    <a:pt x="307" y="475"/>
                  </a:lnTo>
                  <a:lnTo>
                    <a:pt x="302" y="480"/>
                  </a:lnTo>
                  <a:lnTo>
                    <a:pt x="302" y="485"/>
                  </a:lnTo>
                  <a:lnTo>
                    <a:pt x="298" y="489"/>
                  </a:lnTo>
                  <a:lnTo>
                    <a:pt x="298" y="494"/>
                  </a:lnTo>
                  <a:lnTo>
                    <a:pt x="293" y="494"/>
                  </a:lnTo>
                  <a:lnTo>
                    <a:pt x="288" y="498"/>
                  </a:lnTo>
                  <a:lnTo>
                    <a:pt x="288" y="503"/>
                  </a:lnTo>
                  <a:lnTo>
                    <a:pt x="288" y="507"/>
                  </a:lnTo>
                  <a:lnTo>
                    <a:pt x="284" y="512"/>
                  </a:lnTo>
                  <a:lnTo>
                    <a:pt x="284" y="517"/>
                  </a:lnTo>
                  <a:lnTo>
                    <a:pt x="284" y="526"/>
                  </a:lnTo>
                  <a:lnTo>
                    <a:pt x="279" y="530"/>
                  </a:lnTo>
                  <a:lnTo>
                    <a:pt x="279" y="535"/>
                  </a:lnTo>
                  <a:lnTo>
                    <a:pt x="275" y="535"/>
                  </a:lnTo>
                  <a:lnTo>
                    <a:pt x="275" y="535"/>
                  </a:lnTo>
                  <a:lnTo>
                    <a:pt x="266" y="535"/>
                  </a:lnTo>
                  <a:lnTo>
                    <a:pt x="261" y="535"/>
                  </a:lnTo>
                  <a:lnTo>
                    <a:pt x="256" y="535"/>
                  </a:lnTo>
                  <a:lnTo>
                    <a:pt x="256" y="539"/>
                  </a:lnTo>
                  <a:lnTo>
                    <a:pt x="256" y="549"/>
                  </a:lnTo>
                  <a:lnTo>
                    <a:pt x="256" y="553"/>
                  </a:lnTo>
                  <a:lnTo>
                    <a:pt x="252" y="558"/>
                  </a:lnTo>
                  <a:lnTo>
                    <a:pt x="252" y="562"/>
                  </a:lnTo>
                  <a:lnTo>
                    <a:pt x="252" y="567"/>
                  </a:lnTo>
                  <a:lnTo>
                    <a:pt x="252" y="571"/>
                  </a:lnTo>
                  <a:lnTo>
                    <a:pt x="252" y="576"/>
                  </a:lnTo>
                  <a:lnTo>
                    <a:pt x="256" y="581"/>
                  </a:lnTo>
                  <a:lnTo>
                    <a:pt x="261" y="585"/>
                  </a:lnTo>
                  <a:lnTo>
                    <a:pt x="266" y="585"/>
                  </a:lnTo>
                  <a:lnTo>
                    <a:pt x="266" y="590"/>
                  </a:lnTo>
                  <a:lnTo>
                    <a:pt x="266" y="590"/>
                  </a:lnTo>
                  <a:lnTo>
                    <a:pt x="266" y="594"/>
                  </a:lnTo>
                  <a:lnTo>
                    <a:pt x="270" y="594"/>
                  </a:lnTo>
                  <a:lnTo>
                    <a:pt x="275" y="594"/>
                  </a:lnTo>
                  <a:lnTo>
                    <a:pt x="284" y="599"/>
                  </a:lnTo>
                  <a:lnTo>
                    <a:pt x="288" y="603"/>
                  </a:lnTo>
                  <a:lnTo>
                    <a:pt x="288" y="603"/>
                  </a:lnTo>
                  <a:lnTo>
                    <a:pt x="293" y="608"/>
                  </a:lnTo>
                  <a:lnTo>
                    <a:pt x="293" y="613"/>
                  </a:lnTo>
                  <a:lnTo>
                    <a:pt x="288" y="617"/>
                  </a:lnTo>
                  <a:lnTo>
                    <a:pt x="288" y="622"/>
                  </a:lnTo>
                  <a:lnTo>
                    <a:pt x="284" y="626"/>
                  </a:lnTo>
                  <a:lnTo>
                    <a:pt x="284" y="626"/>
                  </a:lnTo>
                  <a:lnTo>
                    <a:pt x="279" y="626"/>
                  </a:lnTo>
                  <a:lnTo>
                    <a:pt x="279" y="631"/>
                  </a:lnTo>
                  <a:lnTo>
                    <a:pt x="279" y="635"/>
                  </a:lnTo>
                  <a:lnTo>
                    <a:pt x="275" y="645"/>
                  </a:lnTo>
                  <a:lnTo>
                    <a:pt x="275" y="645"/>
                  </a:lnTo>
                  <a:lnTo>
                    <a:pt x="270" y="645"/>
                  </a:lnTo>
                  <a:lnTo>
                    <a:pt x="270" y="654"/>
                  </a:lnTo>
                  <a:lnTo>
                    <a:pt x="266" y="658"/>
                  </a:lnTo>
                  <a:lnTo>
                    <a:pt x="266" y="663"/>
                  </a:lnTo>
                  <a:lnTo>
                    <a:pt x="266" y="663"/>
                  </a:lnTo>
                  <a:lnTo>
                    <a:pt x="266" y="667"/>
                  </a:lnTo>
                  <a:lnTo>
                    <a:pt x="266" y="667"/>
                  </a:lnTo>
                  <a:lnTo>
                    <a:pt x="261" y="672"/>
                  </a:lnTo>
                  <a:lnTo>
                    <a:pt x="261" y="677"/>
                  </a:lnTo>
                  <a:lnTo>
                    <a:pt x="252" y="681"/>
                  </a:lnTo>
                  <a:lnTo>
                    <a:pt x="252" y="690"/>
                  </a:lnTo>
                  <a:lnTo>
                    <a:pt x="252" y="690"/>
                  </a:lnTo>
                  <a:lnTo>
                    <a:pt x="247" y="699"/>
                  </a:lnTo>
                  <a:lnTo>
                    <a:pt x="238" y="713"/>
                  </a:lnTo>
                  <a:lnTo>
                    <a:pt x="234" y="713"/>
                  </a:lnTo>
                  <a:lnTo>
                    <a:pt x="229" y="709"/>
                  </a:lnTo>
                  <a:lnTo>
                    <a:pt x="220" y="690"/>
                  </a:lnTo>
                  <a:lnTo>
                    <a:pt x="215" y="686"/>
                  </a:lnTo>
                  <a:lnTo>
                    <a:pt x="211" y="681"/>
                  </a:lnTo>
                  <a:lnTo>
                    <a:pt x="202" y="672"/>
                  </a:lnTo>
                  <a:lnTo>
                    <a:pt x="183" y="658"/>
                  </a:lnTo>
                  <a:lnTo>
                    <a:pt x="179" y="654"/>
                  </a:lnTo>
                  <a:lnTo>
                    <a:pt x="170" y="640"/>
                  </a:lnTo>
                  <a:lnTo>
                    <a:pt x="160" y="635"/>
                  </a:lnTo>
                  <a:lnTo>
                    <a:pt x="160" y="635"/>
                  </a:lnTo>
                  <a:lnTo>
                    <a:pt x="156" y="631"/>
                  </a:lnTo>
                  <a:lnTo>
                    <a:pt x="151" y="626"/>
                  </a:lnTo>
                  <a:lnTo>
                    <a:pt x="151" y="626"/>
                  </a:lnTo>
                  <a:lnTo>
                    <a:pt x="128" y="608"/>
                  </a:lnTo>
                  <a:lnTo>
                    <a:pt x="115" y="594"/>
                  </a:lnTo>
                  <a:lnTo>
                    <a:pt x="106" y="585"/>
                  </a:lnTo>
                  <a:lnTo>
                    <a:pt x="96" y="585"/>
                  </a:lnTo>
                  <a:lnTo>
                    <a:pt x="92" y="576"/>
                  </a:lnTo>
                  <a:lnTo>
                    <a:pt x="83" y="571"/>
                  </a:lnTo>
                  <a:lnTo>
                    <a:pt x="78" y="567"/>
                  </a:lnTo>
                  <a:lnTo>
                    <a:pt x="69" y="558"/>
                  </a:lnTo>
                  <a:lnTo>
                    <a:pt x="69" y="558"/>
                  </a:lnTo>
                  <a:lnTo>
                    <a:pt x="69" y="553"/>
                  </a:lnTo>
                  <a:lnTo>
                    <a:pt x="74" y="553"/>
                  </a:lnTo>
                  <a:lnTo>
                    <a:pt x="78" y="553"/>
                  </a:lnTo>
                  <a:lnTo>
                    <a:pt x="87" y="544"/>
                  </a:lnTo>
                  <a:lnTo>
                    <a:pt x="87" y="539"/>
                  </a:lnTo>
                  <a:lnTo>
                    <a:pt x="87" y="535"/>
                  </a:lnTo>
                  <a:lnTo>
                    <a:pt x="87" y="535"/>
                  </a:lnTo>
                  <a:lnTo>
                    <a:pt x="83" y="535"/>
                  </a:lnTo>
                  <a:lnTo>
                    <a:pt x="83" y="530"/>
                  </a:lnTo>
                  <a:lnTo>
                    <a:pt x="78" y="526"/>
                  </a:lnTo>
                  <a:lnTo>
                    <a:pt x="74" y="526"/>
                  </a:lnTo>
                  <a:lnTo>
                    <a:pt x="69" y="526"/>
                  </a:lnTo>
                  <a:lnTo>
                    <a:pt x="64" y="526"/>
                  </a:lnTo>
                  <a:lnTo>
                    <a:pt x="60" y="526"/>
                  </a:lnTo>
                  <a:lnTo>
                    <a:pt x="55" y="526"/>
                  </a:lnTo>
                  <a:lnTo>
                    <a:pt x="46" y="526"/>
                  </a:lnTo>
                  <a:lnTo>
                    <a:pt x="42" y="526"/>
                  </a:lnTo>
                  <a:lnTo>
                    <a:pt x="42" y="521"/>
                  </a:lnTo>
                  <a:lnTo>
                    <a:pt x="42" y="517"/>
                  </a:lnTo>
                  <a:lnTo>
                    <a:pt x="42" y="517"/>
                  </a:lnTo>
                  <a:lnTo>
                    <a:pt x="46" y="517"/>
                  </a:lnTo>
                  <a:lnTo>
                    <a:pt x="51" y="512"/>
                  </a:lnTo>
                  <a:lnTo>
                    <a:pt x="64" y="512"/>
                  </a:lnTo>
                  <a:lnTo>
                    <a:pt x="69" y="507"/>
                  </a:lnTo>
                  <a:lnTo>
                    <a:pt x="69" y="503"/>
                  </a:lnTo>
                  <a:lnTo>
                    <a:pt x="69" y="494"/>
                  </a:lnTo>
                  <a:lnTo>
                    <a:pt x="74" y="494"/>
                  </a:lnTo>
                  <a:lnTo>
                    <a:pt x="78" y="494"/>
                  </a:lnTo>
                  <a:lnTo>
                    <a:pt x="83" y="494"/>
                  </a:lnTo>
                  <a:lnTo>
                    <a:pt x="87" y="494"/>
                  </a:lnTo>
                  <a:lnTo>
                    <a:pt x="87" y="489"/>
                  </a:lnTo>
                  <a:lnTo>
                    <a:pt x="87" y="480"/>
                  </a:lnTo>
                  <a:lnTo>
                    <a:pt x="87" y="475"/>
                  </a:lnTo>
                  <a:lnTo>
                    <a:pt x="83" y="471"/>
                  </a:lnTo>
                  <a:lnTo>
                    <a:pt x="83" y="471"/>
                  </a:lnTo>
                  <a:lnTo>
                    <a:pt x="83" y="457"/>
                  </a:lnTo>
                  <a:lnTo>
                    <a:pt x="87" y="453"/>
                  </a:lnTo>
                  <a:lnTo>
                    <a:pt x="87" y="448"/>
                  </a:lnTo>
                  <a:lnTo>
                    <a:pt x="87" y="448"/>
                  </a:lnTo>
                  <a:lnTo>
                    <a:pt x="87" y="443"/>
                  </a:lnTo>
                  <a:lnTo>
                    <a:pt x="87" y="439"/>
                  </a:lnTo>
                  <a:lnTo>
                    <a:pt x="87" y="434"/>
                  </a:lnTo>
                  <a:lnTo>
                    <a:pt x="83" y="434"/>
                  </a:lnTo>
                  <a:lnTo>
                    <a:pt x="83" y="430"/>
                  </a:lnTo>
                  <a:lnTo>
                    <a:pt x="78" y="430"/>
                  </a:lnTo>
                  <a:lnTo>
                    <a:pt x="74" y="430"/>
                  </a:lnTo>
                  <a:lnTo>
                    <a:pt x="74" y="434"/>
                  </a:lnTo>
                  <a:lnTo>
                    <a:pt x="69" y="439"/>
                  </a:lnTo>
                  <a:lnTo>
                    <a:pt x="69" y="443"/>
                  </a:lnTo>
                  <a:lnTo>
                    <a:pt x="64" y="443"/>
                  </a:lnTo>
                  <a:lnTo>
                    <a:pt x="60" y="448"/>
                  </a:lnTo>
                  <a:lnTo>
                    <a:pt x="55" y="448"/>
                  </a:lnTo>
                  <a:lnTo>
                    <a:pt x="55" y="453"/>
                  </a:lnTo>
                  <a:lnTo>
                    <a:pt x="51" y="453"/>
                  </a:lnTo>
                  <a:lnTo>
                    <a:pt x="46" y="453"/>
                  </a:lnTo>
                  <a:lnTo>
                    <a:pt x="42" y="453"/>
                  </a:lnTo>
                  <a:lnTo>
                    <a:pt x="37" y="453"/>
                  </a:lnTo>
                  <a:lnTo>
                    <a:pt x="32" y="453"/>
                  </a:lnTo>
                  <a:lnTo>
                    <a:pt x="23" y="453"/>
                  </a:lnTo>
                  <a:lnTo>
                    <a:pt x="14" y="448"/>
                  </a:lnTo>
                  <a:lnTo>
                    <a:pt x="10" y="448"/>
                  </a:lnTo>
                  <a:lnTo>
                    <a:pt x="5" y="443"/>
                  </a:lnTo>
                  <a:lnTo>
                    <a:pt x="0" y="439"/>
                  </a:lnTo>
                  <a:lnTo>
                    <a:pt x="0" y="434"/>
                  </a:lnTo>
                  <a:lnTo>
                    <a:pt x="0" y="430"/>
                  </a:lnTo>
                  <a:lnTo>
                    <a:pt x="0" y="425"/>
                  </a:lnTo>
                  <a:lnTo>
                    <a:pt x="0" y="421"/>
                  </a:lnTo>
                  <a:lnTo>
                    <a:pt x="0" y="407"/>
                  </a:lnTo>
                  <a:lnTo>
                    <a:pt x="5" y="402"/>
                  </a:lnTo>
                  <a:lnTo>
                    <a:pt x="5" y="398"/>
                  </a:lnTo>
                  <a:lnTo>
                    <a:pt x="10" y="393"/>
                  </a:lnTo>
                  <a:lnTo>
                    <a:pt x="23" y="384"/>
                  </a:lnTo>
                  <a:lnTo>
                    <a:pt x="28" y="384"/>
                  </a:lnTo>
                  <a:lnTo>
                    <a:pt x="37" y="379"/>
                  </a:lnTo>
                  <a:lnTo>
                    <a:pt x="42" y="375"/>
                  </a:lnTo>
                  <a:lnTo>
                    <a:pt x="46" y="370"/>
                  </a:lnTo>
                  <a:lnTo>
                    <a:pt x="51" y="370"/>
                  </a:lnTo>
                  <a:lnTo>
                    <a:pt x="55" y="366"/>
                  </a:lnTo>
                  <a:lnTo>
                    <a:pt x="64" y="361"/>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8" name="Freeform 35">
              <a:extLst>
                <a:ext uri="{FF2B5EF4-FFF2-40B4-BE49-F238E27FC236}">
                  <a16:creationId xmlns:a16="http://schemas.microsoft.com/office/drawing/2014/main" id="{C1CE97FD-3332-420B-BEEF-D1084AA93865}"/>
                </a:ext>
              </a:extLst>
            </p:cNvPr>
            <p:cNvSpPr>
              <a:spLocks/>
            </p:cNvSpPr>
            <p:nvPr>
              <p:custDataLst>
                <p:tags r:id="rId30"/>
              </p:custDataLst>
            </p:nvPr>
          </p:nvSpPr>
          <p:spPr bwMode="auto">
            <a:xfrm>
              <a:off x="579530" y="3024710"/>
              <a:ext cx="346448" cy="430705"/>
            </a:xfrm>
            <a:custGeom>
              <a:avLst/>
              <a:gdLst/>
              <a:ahLst/>
              <a:cxnLst>
                <a:cxn ang="0">
                  <a:pos x="366" y="14"/>
                </a:cxn>
                <a:cxn ang="0">
                  <a:pos x="393" y="18"/>
                </a:cxn>
                <a:cxn ang="0">
                  <a:pos x="398" y="41"/>
                </a:cxn>
                <a:cxn ang="0">
                  <a:pos x="379" y="55"/>
                </a:cxn>
                <a:cxn ang="0">
                  <a:pos x="361" y="69"/>
                </a:cxn>
                <a:cxn ang="0">
                  <a:pos x="352" y="87"/>
                </a:cxn>
                <a:cxn ang="0">
                  <a:pos x="343" y="110"/>
                </a:cxn>
                <a:cxn ang="0">
                  <a:pos x="347" y="146"/>
                </a:cxn>
                <a:cxn ang="0">
                  <a:pos x="343" y="183"/>
                </a:cxn>
                <a:cxn ang="0">
                  <a:pos x="352" y="238"/>
                </a:cxn>
                <a:cxn ang="0">
                  <a:pos x="356" y="261"/>
                </a:cxn>
                <a:cxn ang="0">
                  <a:pos x="334" y="274"/>
                </a:cxn>
                <a:cxn ang="0">
                  <a:pos x="311" y="284"/>
                </a:cxn>
                <a:cxn ang="0">
                  <a:pos x="311" y="320"/>
                </a:cxn>
                <a:cxn ang="0">
                  <a:pos x="283" y="329"/>
                </a:cxn>
                <a:cxn ang="0">
                  <a:pos x="265" y="348"/>
                </a:cxn>
                <a:cxn ang="0">
                  <a:pos x="238" y="366"/>
                </a:cxn>
                <a:cxn ang="0">
                  <a:pos x="219" y="393"/>
                </a:cxn>
                <a:cxn ang="0">
                  <a:pos x="192" y="416"/>
                </a:cxn>
                <a:cxn ang="0">
                  <a:pos x="142" y="425"/>
                </a:cxn>
                <a:cxn ang="0">
                  <a:pos x="119" y="402"/>
                </a:cxn>
                <a:cxn ang="0">
                  <a:pos x="100" y="389"/>
                </a:cxn>
                <a:cxn ang="0">
                  <a:pos x="73" y="402"/>
                </a:cxn>
                <a:cxn ang="0">
                  <a:pos x="55" y="389"/>
                </a:cxn>
                <a:cxn ang="0">
                  <a:pos x="55" y="352"/>
                </a:cxn>
                <a:cxn ang="0">
                  <a:pos x="36" y="306"/>
                </a:cxn>
                <a:cxn ang="0">
                  <a:pos x="41" y="284"/>
                </a:cxn>
                <a:cxn ang="0">
                  <a:pos x="36" y="252"/>
                </a:cxn>
                <a:cxn ang="0">
                  <a:pos x="46" y="224"/>
                </a:cxn>
                <a:cxn ang="0">
                  <a:pos x="32" y="201"/>
                </a:cxn>
                <a:cxn ang="0">
                  <a:pos x="9" y="174"/>
                </a:cxn>
                <a:cxn ang="0">
                  <a:pos x="0" y="156"/>
                </a:cxn>
                <a:cxn ang="0">
                  <a:pos x="9" y="133"/>
                </a:cxn>
                <a:cxn ang="0">
                  <a:pos x="14" y="101"/>
                </a:cxn>
                <a:cxn ang="0">
                  <a:pos x="23" y="87"/>
                </a:cxn>
                <a:cxn ang="0">
                  <a:pos x="46" y="101"/>
                </a:cxn>
                <a:cxn ang="0">
                  <a:pos x="68" y="87"/>
                </a:cxn>
                <a:cxn ang="0">
                  <a:pos x="68" y="69"/>
                </a:cxn>
                <a:cxn ang="0">
                  <a:pos x="91" y="55"/>
                </a:cxn>
                <a:cxn ang="0">
                  <a:pos x="114" y="64"/>
                </a:cxn>
                <a:cxn ang="0">
                  <a:pos x="123" y="73"/>
                </a:cxn>
                <a:cxn ang="0">
                  <a:pos x="132" y="96"/>
                </a:cxn>
                <a:cxn ang="0">
                  <a:pos x="151" y="82"/>
                </a:cxn>
                <a:cxn ang="0">
                  <a:pos x="155" y="105"/>
                </a:cxn>
                <a:cxn ang="0">
                  <a:pos x="178" y="105"/>
                </a:cxn>
                <a:cxn ang="0">
                  <a:pos x="187" y="60"/>
                </a:cxn>
                <a:cxn ang="0">
                  <a:pos x="201" y="32"/>
                </a:cxn>
                <a:cxn ang="0">
                  <a:pos x="219" y="18"/>
                </a:cxn>
                <a:cxn ang="0">
                  <a:pos x="247" y="14"/>
                </a:cxn>
                <a:cxn ang="0">
                  <a:pos x="270" y="18"/>
                </a:cxn>
                <a:cxn ang="0">
                  <a:pos x="297" y="14"/>
                </a:cxn>
                <a:cxn ang="0">
                  <a:pos x="315" y="14"/>
                </a:cxn>
                <a:cxn ang="0">
                  <a:pos x="338" y="0"/>
                </a:cxn>
              </a:cxnLst>
              <a:rect l="0" t="0" r="r" b="b"/>
              <a:pathLst>
                <a:path w="398" h="425">
                  <a:moveTo>
                    <a:pt x="352" y="0"/>
                  </a:moveTo>
                  <a:lnTo>
                    <a:pt x="352" y="5"/>
                  </a:lnTo>
                  <a:lnTo>
                    <a:pt x="356" y="5"/>
                  </a:lnTo>
                  <a:lnTo>
                    <a:pt x="361" y="5"/>
                  </a:lnTo>
                  <a:lnTo>
                    <a:pt x="366" y="9"/>
                  </a:lnTo>
                  <a:lnTo>
                    <a:pt x="366" y="14"/>
                  </a:lnTo>
                  <a:lnTo>
                    <a:pt x="370" y="18"/>
                  </a:lnTo>
                  <a:lnTo>
                    <a:pt x="375" y="18"/>
                  </a:lnTo>
                  <a:lnTo>
                    <a:pt x="375" y="23"/>
                  </a:lnTo>
                  <a:lnTo>
                    <a:pt x="375" y="23"/>
                  </a:lnTo>
                  <a:lnTo>
                    <a:pt x="379" y="23"/>
                  </a:lnTo>
                  <a:lnTo>
                    <a:pt x="393" y="18"/>
                  </a:lnTo>
                  <a:lnTo>
                    <a:pt x="398" y="18"/>
                  </a:lnTo>
                  <a:lnTo>
                    <a:pt x="398" y="18"/>
                  </a:lnTo>
                  <a:lnTo>
                    <a:pt x="398" y="32"/>
                  </a:lnTo>
                  <a:lnTo>
                    <a:pt x="398" y="32"/>
                  </a:lnTo>
                  <a:lnTo>
                    <a:pt x="398" y="37"/>
                  </a:lnTo>
                  <a:lnTo>
                    <a:pt x="398" y="41"/>
                  </a:lnTo>
                  <a:lnTo>
                    <a:pt x="388" y="46"/>
                  </a:lnTo>
                  <a:lnTo>
                    <a:pt x="388" y="50"/>
                  </a:lnTo>
                  <a:lnTo>
                    <a:pt x="384" y="50"/>
                  </a:lnTo>
                  <a:lnTo>
                    <a:pt x="384" y="55"/>
                  </a:lnTo>
                  <a:lnTo>
                    <a:pt x="379" y="55"/>
                  </a:lnTo>
                  <a:lnTo>
                    <a:pt x="379" y="55"/>
                  </a:lnTo>
                  <a:lnTo>
                    <a:pt x="375" y="60"/>
                  </a:lnTo>
                  <a:lnTo>
                    <a:pt x="370" y="64"/>
                  </a:lnTo>
                  <a:lnTo>
                    <a:pt x="366" y="64"/>
                  </a:lnTo>
                  <a:lnTo>
                    <a:pt x="366" y="64"/>
                  </a:lnTo>
                  <a:lnTo>
                    <a:pt x="361" y="64"/>
                  </a:lnTo>
                  <a:lnTo>
                    <a:pt x="361" y="69"/>
                  </a:lnTo>
                  <a:lnTo>
                    <a:pt x="352" y="73"/>
                  </a:lnTo>
                  <a:lnTo>
                    <a:pt x="352" y="73"/>
                  </a:lnTo>
                  <a:lnTo>
                    <a:pt x="352" y="78"/>
                  </a:lnTo>
                  <a:lnTo>
                    <a:pt x="352" y="78"/>
                  </a:lnTo>
                  <a:lnTo>
                    <a:pt x="352" y="82"/>
                  </a:lnTo>
                  <a:lnTo>
                    <a:pt x="352" y="87"/>
                  </a:lnTo>
                  <a:lnTo>
                    <a:pt x="347" y="87"/>
                  </a:lnTo>
                  <a:lnTo>
                    <a:pt x="347" y="87"/>
                  </a:lnTo>
                  <a:lnTo>
                    <a:pt x="343" y="96"/>
                  </a:lnTo>
                  <a:lnTo>
                    <a:pt x="343" y="101"/>
                  </a:lnTo>
                  <a:lnTo>
                    <a:pt x="338" y="105"/>
                  </a:lnTo>
                  <a:lnTo>
                    <a:pt x="343" y="110"/>
                  </a:lnTo>
                  <a:lnTo>
                    <a:pt x="343" y="114"/>
                  </a:lnTo>
                  <a:lnTo>
                    <a:pt x="347" y="124"/>
                  </a:lnTo>
                  <a:lnTo>
                    <a:pt x="347" y="128"/>
                  </a:lnTo>
                  <a:lnTo>
                    <a:pt x="347" y="128"/>
                  </a:lnTo>
                  <a:lnTo>
                    <a:pt x="347" y="142"/>
                  </a:lnTo>
                  <a:lnTo>
                    <a:pt x="347" y="146"/>
                  </a:lnTo>
                  <a:lnTo>
                    <a:pt x="347" y="151"/>
                  </a:lnTo>
                  <a:lnTo>
                    <a:pt x="343" y="151"/>
                  </a:lnTo>
                  <a:lnTo>
                    <a:pt x="343" y="156"/>
                  </a:lnTo>
                  <a:lnTo>
                    <a:pt x="343" y="169"/>
                  </a:lnTo>
                  <a:lnTo>
                    <a:pt x="343" y="174"/>
                  </a:lnTo>
                  <a:lnTo>
                    <a:pt x="343" y="183"/>
                  </a:lnTo>
                  <a:lnTo>
                    <a:pt x="343" y="197"/>
                  </a:lnTo>
                  <a:lnTo>
                    <a:pt x="347" y="201"/>
                  </a:lnTo>
                  <a:lnTo>
                    <a:pt x="347" y="210"/>
                  </a:lnTo>
                  <a:lnTo>
                    <a:pt x="347" y="215"/>
                  </a:lnTo>
                  <a:lnTo>
                    <a:pt x="347" y="224"/>
                  </a:lnTo>
                  <a:lnTo>
                    <a:pt x="352" y="238"/>
                  </a:lnTo>
                  <a:lnTo>
                    <a:pt x="352" y="238"/>
                  </a:lnTo>
                  <a:lnTo>
                    <a:pt x="352" y="242"/>
                  </a:lnTo>
                  <a:lnTo>
                    <a:pt x="352" y="256"/>
                  </a:lnTo>
                  <a:lnTo>
                    <a:pt x="356" y="256"/>
                  </a:lnTo>
                  <a:lnTo>
                    <a:pt x="356" y="261"/>
                  </a:lnTo>
                  <a:lnTo>
                    <a:pt x="356" y="261"/>
                  </a:lnTo>
                  <a:lnTo>
                    <a:pt x="356" y="265"/>
                  </a:lnTo>
                  <a:lnTo>
                    <a:pt x="356" y="270"/>
                  </a:lnTo>
                  <a:lnTo>
                    <a:pt x="352" y="270"/>
                  </a:lnTo>
                  <a:lnTo>
                    <a:pt x="347" y="274"/>
                  </a:lnTo>
                  <a:lnTo>
                    <a:pt x="343" y="274"/>
                  </a:lnTo>
                  <a:lnTo>
                    <a:pt x="334" y="274"/>
                  </a:lnTo>
                  <a:lnTo>
                    <a:pt x="329" y="274"/>
                  </a:lnTo>
                  <a:lnTo>
                    <a:pt x="324" y="274"/>
                  </a:lnTo>
                  <a:lnTo>
                    <a:pt x="320" y="274"/>
                  </a:lnTo>
                  <a:lnTo>
                    <a:pt x="315" y="274"/>
                  </a:lnTo>
                  <a:lnTo>
                    <a:pt x="311" y="279"/>
                  </a:lnTo>
                  <a:lnTo>
                    <a:pt x="311" y="284"/>
                  </a:lnTo>
                  <a:lnTo>
                    <a:pt x="311" y="284"/>
                  </a:lnTo>
                  <a:lnTo>
                    <a:pt x="311" y="293"/>
                  </a:lnTo>
                  <a:lnTo>
                    <a:pt x="311" y="302"/>
                  </a:lnTo>
                  <a:lnTo>
                    <a:pt x="311" y="306"/>
                  </a:lnTo>
                  <a:lnTo>
                    <a:pt x="311" y="311"/>
                  </a:lnTo>
                  <a:lnTo>
                    <a:pt x="311" y="320"/>
                  </a:lnTo>
                  <a:lnTo>
                    <a:pt x="311" y="325"/>
                  </a:lnTo>
                  <a:lnTo>
                    <a:pt x="311" y="325"/>
                  </a:lnTo>
                  <a:lnTo>
                    <a:pt x="306" y="325"/>
                  </a:lnTo>
                  <a:lnTo>
                    <a:pt x="302" y="325"/>
                  </a:lnTo>
                  <a:lnTo>
                    <a:pt x="292" y="329"/>
                  </a:lnTo>
                  <a:lnTo>
                    <a:pt x="283" y="329"/>
                  </a:lnTo>
                  <a:lnTo>
                    <a:pt x="279" y="329"/>
                  </a:lnTo>
                  <a:lnTo>
                    <a:pt x="274" y="334"/>
                  </a:lnTo>
                  <a:lnTo>
                    <a:pt x="270" y="338"/>
                  </a:lnTo>
                  <a:lnTo>
                    <a:pt x="265" y="338"/>
                  </a:lnTo>
                  <a:lnTo>
                    <a:pt x="265" y="343"/>
                  </a:lnTo>
                  <a:lnTo>
                    <a:pt x="265" y="348"/>
                  </a:lnTo>
                  <a:lnTo>
                    <a:pt x="260" y="348"/>
                  </a:lnTo>
                  <a:lnTo>
                    <a:pt x="256" y="348"/>
                  </a:lnTo>
                  <a:lnTo>
                    <a:pt x="251" y="352"/>
                  </a:lnTo>
                  <a:lnTo>
                    <a:pt x="242" y="357"/>
                  </a:lnTo>
                  <a:lnTo>
                    <a:pt x="242" y="361"/>
                  </a:lnTo>
                  <a:lnTo>
                    <a:pt x="238" y="366"/>
                  </a:lnTo>
                  <a:lnTo>
                    <a:pt x="228" y="370"/>
                  </a:lnTo>
                  <a:lnTo>
                    <a:pt x="224" y="375"/>
                  </a:lnTo>
                  <a:lnTo>
                    <a:pt x="224" y="384"/>
                  </a:lnTo>
                  <a:lnTo>
                    <a:pt x="224" y="389"/>
                  </a:lnTo>
                  <a:lnTo>
                    <a:pt x="219" y="393"/>
                  </a:lnTo>
                  <a:lnTo>
                    <a:pt x="219" y="393"/>
                  </a:lnTo>
                  <a:lnTo>
                    <a:pt x="215" y="398"/>
                  </a:lnTo>
                  <a:lnTo>
                    <a:pt x="210" y="412"/>
                  </a:lnTo>
                  <a:lnTo>
                    <a:pt x="206" y="416"/>
                  </a:lnTo>
                  <a:lnTo>
                    <a:pt x="201" y="416"/>
                  </a:lnTo>
                  <a:lnTo>
                    <a:pt x="196" y="416"/>
                  </a:lnTo>
                  <a:lnTo>
                    <a:pt x="192" y="416"/>
                  </a:lnTo>
                  <a:lnTo>
                    <a:pt x="178" y="416"/>
                  </a:lnTo>
                  <a:lnTo>
                    <a:pt x="174" y="416"/>
                  </a:lnTo>
                  <a:lnTo>
                    <a:pt x="169" y="416"/>
                  </a:lnTo>
                  <a:lnTo>
                    <a:pt x="164" y="421"/>
                  </a:lnTo>
                  <a:lnTo>
                    <a:pt x="151" y="425"/>
                  </a:lnTo>
                  <a:lnTo>
                    <a:pt x="142" y="425"/>
                  </a:lnTo>
                  <a:lnTo>
                    <a:pt x="137" y="425"/>
                  </a:lnTo>
                  <a:lnTo>
                    <a:pt x="132" y="421"/>
                  </a:lnTo>
                  <a:lnTo>
                    <a:pt x="128" y="416"/>
                  </a:lnTo>
                  <a:lnTo>
                    <a:pt x="123" y="416"/>
                  </a:lnTo>
                  <a:lnTo>
                    <a:pt x="123" y="412"/>
                  </a:lnTo>
                  <a:lnTo>
                    <a:pt x="119" y="402"/>
                  </a:lnTo>
                  <a:lnTo>
                    <a:pt x="119" y="398"/>
                  </a:lnTo>
                  <a:lnTo>
                    <a:pt x="114" y="393"/>
                  </a:lnTo>
                  <a:lnTo>
                    <a:pt x="114" y="393"/>
                  </a:lnTo>
                  <a:lnTo>
                    <a:pt x="114" y="393"/>
                  </a:lnTo>
                  <a:lnTo>
                    <a:pt x="110" y="389"/>
                  </a:lnTo>
                  <a:lnTo>
                    <a:pt x="100" y="389"/>
                  </a:lnTo>
                  <a:lnTo>
                    <a:pt x="96" y="393"/>
                  </a:lnTo>
                  <a:lnTo>
                    <a:pt x="91" y="393"/>
                  </a:lnTo>
                  <a:lnTo>
                    <a:pt x="87" y="398"/>
                  </a:lnTo>
                  <a:lnTo>
                    <a:pt x="82" y="398"/>
                  </a:lnTo>
                  <a:lnTo>
                    <a:pt x="78" y="402"/>
                  </a:lnTo>
                  <a:lnTo>
                    <a:pt x="73" y="402"/>
                  </a:lnTo>
                  <a:lnTo>
                    <a:pt x="68" y="402"/>
                  </a:lnTo>
                  <a:lnTo>
                    <a:pt x="68" y="398"/>
                  </a:lnTo>
                  <a:lnTo>
                    <a:pt x="64" y="393"/>
                  </a:lnTo>
                  <a:lnTo>
                    <a:pt x="59" y="393"/>
                  </a:lnTo>
                  <a:lnTo>
                    <a:pt x="59" y="389"/>
                  </a:lnTo>
                  <a:lnTo>
                    <a:pt x="55" y="389"/>
                  </a:lnTo>
                  <a:lnTo>
                    <a:pt x="55" y="375"/>
                  </a:lnTo>
                  <a:lnTo>
                    <a:pt x="50" y="370"/>
                  </a:lnTo>
                  <a:lnTo>
                    <a:pt x="46" y="366"/>
                  </a:lnTo>
                  <a:lnTo>
                    <a:pt x="50" y="361"/>
                  </a:lnTo>
                  <a:lnTo>
                    <a:pt x="50" y="357"/>
                  </a:lnTo>
                  <a:lnTo>
                    <a:pt x="55" y="352"/>
                  </a:lnTo>
                  <a:lnTo>
                    <a:pt x="55" y="348"/>
                  </a:lnTo>
                  <a:lnTo>
                    <a:pt x="50" y="338"/>
                  </a:lnTo>
                  <a:lnTo>
                    <a:pt x="50" y="334"/>
                  </a:lnTo>
                  <a:lnTo>
                    <a:pt x="46" y="325"/>
                  </a:lnTo>
                  <a:lnTo>
                    <a:pt x="41" y="316"/>
                  </a:lnTo>
                  <a:lnTo>
                    <a:pt x="36" y="306"/>
                  </a:lnTo>
                  <a:lnTo>
                    <a:pt x="36" y="306"/>
                  </a:lnTo>
                  <a:lnTo>
                    <a:pt x="36" y="302"/>
                  </a:lnTo>
                  <a:lnTo>
                    <a:pt x="36" y="293"/>
                  </a:lnTo>
                  <a:lnTo>
                    <a:pt x="36" y="288"/>
                  </a:lnTo>
                  <a:lnTo>
                    <a:pt x="36" y="288"/>
                  </a:lnTo>
                  <a:lnTo>
                    <a:pt x="41" y="284"/>
                  </a:lnTo>
                  <a:lnTo>
                    <a:pt x="36" y="284"/>
                  </a:lnTo>
                  <a:lnTo>
                    <a:pt x="32" y="270"/>
                  </a:lnTo>
                  <a:lnTo>
                    <a:pt x="32" y="261"/>
                  </a:lnTo>
                  <a:lnTo>
                    <a:pt x="32" y="261"/>
                  </a:lnTo>
                  <a:lnTo>
                    <a:pt x="36" y="256"/>
                  </a:lnTo>
                  <a:lnTo>
                    <a:pt x="36" y="252"/>
                  </a:lnTo>
                  <a:lnTo>
                    <a:pt x="41" y="252"/>
                  </a:lnTo>
                  <a:lnTo>
                    <a:pt x="41" y="247"/>
                  </a:lnTo>
                  <a:lnTo>
                    <a:pt x="41" y="242"/>
                  </a:lnTo>
                  <a:lnTo>
                    <a:pt x="41" y="238"/>
                  </a:lnTo>
                  <a:lnTo>
                    <a:pt x="46" y="229"/>
                  </a:lnTo>
                  <a:lnTo>
                    <a:pt x="46" y="224"/>
                  </a:lnTo>
                  <a:lnTo>
                    <a:pt x="46" y="220"/>
                  </a:lnTo>
                  <a:lnTo>
                    <a:pt x="41" y="215"/>
                  </a:lnTo>
                  <a:lnTo>
                    <a:pt x="36" y="215"/>
                  </a:lnTo>
                  <a:lnTo>
                    <a:pt x="36" y="210"/>
                  </a:lnTo>
                  <a:lnTo>
                    <a:pt x="32" y="206"/>
                  </a:lnTo>
                  <a:lnTo>
                    <a:pt x="32" y="201"/>
                  </a:lnTo>
                  <a:lnTo>
                    <a:pt x="27" y="197"/>
                  </a:lnTo>
                  <a:lnTo>
                    <a:pt x="27" y="197"/>
                  </a:lnTo>
                  <a:lnTo>
                    <a:pt x="23" y="192"/>
                  </a:lnTo>
                  <a:lnTo>
                    <a:pt x="23" y="188"/>
                  </a:lnTo>
                  <a:lnTo>
                    <a:pt x="18" y="183"/>
                  </a:lnTo>
                  <a:lnTo>
                    <a:pt x="9" y="174"/>
                  </a:lnTo>
                  <a:lnTo>
                    <a:pt x="4" y="174"/>
                  </a:lnTo>
                  <a:lnTo>
                    <a:pt x="4" y="174"/>
                  </a:lnTo>
                  <a:lnTo>
                    <a:pt x="0" y="169"/>
                  </a:lnTo>
                  <a:lnTo>
                    <a:pt x="0" y="165"/>
                  </a:lnTo>
                  <a:lnTo>
                    <a:pt x="0" y="160"/>
                  </a:lnTo>
                  <a:lnTo>
                    <a:pt x="0" y="156"/>
                  </a:lnTo>
                  <a:lnTo>
                    <a:pt x="4" y="151"/>
                  </a:lnTo>
                  <a:lnTo>
                    <a:pt x="4" y="151"/>
                  </a:lnTo>
                  <a:lnTo>
                    <a:pt x="4" y="146"/>
                  </a:lnTo>
                  <a:lnTo>
                    <a:pt x="9" y="142"/>
                  </a:lnTo>
                  <a:lnTo>
                    <a:pt x="9" y="137"/>
                  </a:lnTo>
                  <a:lnTo>
                    <a:pt x="9" y="133"/>
                  </a:lnTo>
                  <a:lnTo>
                    <a:pt x="9" y="128"/>
                  </a:lnTo>
                  <a:lnTo>
                    <a:pt x="9" y="128"/>
                  </a:lnTo>
                  <a:lnTo>
                    <a:pt x="9" y="119"/>
                  </a:lnTo>
                  <a:lnTo>
                    <a:pt x="9" y="114"/>
                  </a:lnTo>
                  <a:lnTo>
                    <a:pt x="9" y="110"/>
                  </a:lnTo>
                  <a:lnTo>
                    <a:pt x="14" y="101"/>
                  </a:lnTo>
                  <a:lnTo>
                    <a:pt x="14" y="96"/>
                  </a:lnTo>
                  <a:lnTo>
                    <a:pt x="14" y="92"/>
                  </a:lnTo>
                  <a:lnTo>
                    <a:pt x="14" y="87"/>
                  </a:lnTo>
                  <a:lnTo>
                    <a:pt x="18" y="87"/>
                  </a:lnTo>
                  <a:lnTo>
                    <a:pt x="23" y="87"/>
                  </a:lnTo>
                  <a:lnTo>
                    <a:pt x="23" y="87"/>
                  </a:lnTo>
                  <a:lnTo>
                    <a:pt x="27" y="92"/>
                  </a:lnTo>
                  <a:lnTo>
                    <a:pt x="27" y="96"/>
                  </a:lnTo>
                  <a:lnTo>
                    <a:pt x="32" y="101"/>
                  </a:lnTo>
                  <a:lnTo>
                    <a:pt x="36" y="101"/>
                  </a:lnTo>
                  <a:lnTo>
                    <a:pt x="41" y="101"/>
                  </a:lnTo>
                  <a:lnTo>
                    <a:pt x="46" y="101"/>
                  </a:lnTo>
                  <a:lnTo>
                    <a:pt x="50" y="96"/>
                  </a:lnTo>
                  <a:lnTo>
                    <a:pt x="55" y="96"/>
                  </a:lnTo>
                  <a:lnTo>
                    <a:pt x="59" y="96"/>
                  </a:lnTo>
                  <a:lnTo>
                    <a:pt x="64" y="92"/>
                  </a:lnTo>
                  <a:lnTo>
                    <a:pt x="68" y="87"/>
                  </a:lnTo>
                  <a:lnTo>
                    <a:pt x="68" y="87"/>
                  </a:lnTo>
                  <a:lnTo>
                    <a:pt x="64" y="87"/>
                  </a:lnTo>
                  <a:lnTo>
                    <a:pt x="64" y="82"/>
                  </a:lnTo>
                  <a:lnTo>
                    <a:pt x="64" y="78"/>
                  </a:lnTo>
                  <a:lnTo>
                    <a:pt x="68" y="78"/>
                  </a:lnTo>
                  <a:lnTo>
                    <a:pt x="68" y="73"/>
                  </a:lnTo>
                  <a:lnTo>
                    <a:pt x="68" y="69"/>
                  </a:lnTo>
                  <a:lnTo>
                    <a:pt x="73" y="69"/>
                  </a:lnTo>
                  <a:lnTo>
                    <a:pt x="78" y="64"/>
                  </a:lnTo>
                  <a:lnTo>
                    <a:pt x="78" y="64"/>
                  </a:lnTo>
                  <a:lnTo>
                    <a:pt x="82" y="60"/>
                  </a:lnTo>
                  <a:lnTo>
                    <a:pt x="87" y="60"/>
                  </a:lnTo>
                  <a:lnTo>
                    <a:pt x="91" y="55"/>
                  </a:lnTo>
                  <a:lnTo>
                    <a:pt x="91" y="55"/>
                  </a:lnTo>
                  <a:lnTo>
                    <a:pt x="96" y="55"/>
                  </a:lnTo>
                  <a:lnTo>
                    <a:pt x="100" y="60"/>
                  </a:lnTo>
                  <a:lnTo>
                    <a:pt x="105" y="64"/>
                  </a:lnTo>
                  <a:lnTo>
                    <a:pt x="110" y="64"/>
                  </a:lnTo>
                  <a:lnTo>
                    <a:pt x="114" y="64"/>
                  </a:lnTo>
                  <a:lnTo>
                    <a:pt x="114" y="64"/>
                  </a:lnTo>
                  <a:lnTo>
                    <a:pt x="114" y="64"/>
                  </a:lnTo>
                  <a:lnTo>
                    <a:pt x="114" y="64"/>
                  </a:lnTo>
                  <a:lnTo>
                    <a:pt x="119" y="64"/>
                  </a:lnTo>
                  <a:lnTo>
                    <a:pt x="119" y="69"/>
                  </a:lnTo>
                  <a:lnTo>
                    <a:pt x="123" y="73"/>
                  </a:lnTo>
                  <a:lnTo>
                    <a:pt x="123" y="78"/>
                  </a:lnTo>
                  <a:lnTo>
                    <a:pt x="123" y="82"/>
                  </a:lnTo>
                  <a:lnTo>
                    <a:pt x="128" y="87"/>
                  </a:lnTo>
                  <a:lnTo>
                    <a:pt x="128" y="92"/>
                  </a:lnTo>
                  <a:lnTo>
                    <a:pt x="128" y="96"/>
                  </a:lnTo>
                  <a:lnTo>
                    <a:pt x="132" y="96"/>
                  </a:lnTo>
                  <a:lnTo>
                    <a:pt x="132" y="92"/>
                  </a:lnTo>
                  <a:lnTo>
                    <a:pt x="132" y="87"/>
                  </a:lnTo>
                  <a:lnTo>
                    <a:pt x="137" y="87"/>
                  </a:lnTo>
                  <a:lnTo>
                    <a:pt x="142" y="82"/>
                  </a:lnTo>
                  <a:lnTo>
                    <a:pt x="146" y="82"/>
                  </a:lnTo>
                  <a:lnTo>
                    <a:pt x="151" y="82"/>
                  </a:lnTo>
                  <a:lnTo>
                    <a:pt x="151" y="87"/>
                  </a:lnTo>
                  <a:lnTo>
                    <a:pt x="151" y="87"/>
                  </a:lnTo>
                  <a:lnTo>
                    <a:pt x="155" y="96"/>
                  </a:lnTo>
                  <a:lnTo>
                    <a:pt x="155" y="101"/>
                  </a:lnTo>
                  <a:lnTo>
                    <a:pt x="155" y="105"/>
                  </a:lnTo>
                  <a:lnTo>
                    <a:pt x="155" y="105"/>
                  </a:lnTo>
                  <a:lnTo>
                    <a:pt x="164" y="114"/>
                  </a:lnTo>
                  <a:lnTo>
                    <a:pt x="169" y="119"/>
                  </a:lnTo>
                  <a:lnTo>
                    <a:pt x="169" y="119"/>
                  </a:lnTo>
                  <a:lnTo>
                    <a:pt x="174" y="114"/>
                  </a:lnTo>
                  <a:lnTo>
                    <a:pt x="178" y="110"/>
                  </a:lnTo>
                  <a:lnTo>
                    <a:pt x="178" y="105"/>
                  </a:lnTo>
                  <a:lnTo>
                    <a:pt x="187" y="101"/>
                  </a:lnTo>
                  <a:lnTo>
                    <a:pt x="196" y="96"/>
                  </a:lnTo>
                  <a:lnTo>
                    <a:pt x="196" y="87"/>
                  </a:lnTo>
                  <a:lnTo>
                    <a:pt x="196" y="78"/>
                  </a:lnTo>
                  <a:lnTo>
                    <a:pt x="196" y="64"/>
                  </a:lnTo>
                  <a:lnTo>
                    <a:pt x="187" y="60"/>
                  </a:lnTo>
                  <a:lnTo>
                    <a:pt x="187" y="55"/>
                  </a:lnTo>
                  <a:lnTo>
                    <a:pt x="192" y="55"/>
                  </a:lnTo>
                  <a:lnTo>
                    <a:pt x="196" y="50"/>
                  </a:lnTo>
                  <a:lnTo>
                    <a:pt x="201" y="50"/>
                  </a:lnTo>
                  <a:lnTo>
                    <a:pt x="201" y="41"/>
                  </a:lnTo>
                  <a:lnTo>
                    <a:pt x="201" y="32"/>
                  </a:lnTo>
                  <a:lnTo>
                    <a:pt x="201" y="28"/>
                  </a:lnTo>
                  <a:lnTo>
                    <a:pt x="201" y="23"/>
                  </a:lnTo>
                  <a:lnTo>
                    <a:pt x="206" y="18"/>
                  </a:lnTo>
                  <a:lnTo>
                    <a:pt x="210" y="18"/>
                  </a:lnTo>
                  <a:lnTo>
                    <a:pt x="215" y="18"/>
                  </a:lnTo>
                  <a:lnTo>
                    <a:pt x="219" y="18"/>
                  </a:lnTo>
                  <a:lnTo>
                    <a:pt x="224" y="18"/>
                  </a:lnTo>
                  <a:lnTo>
                    <a:pt x="228" y="18"/>
                  </a:lnTo>
                  <a:lnTo>
                    <a:pt x="238" y="18"/>
                  </a:lnTo>
                  <a:lnTo>
                    <a:pt x="242" y="18"/>
                  </a:lnTo>
                  <a:lnTo>
                    <a:pt x="242" y="18"/>
                  </a:lnTo>
                  <a:lnTo>
                    <a:pt x="247" y="14"/>
                  </a:lnTo>
                  <a:lnTo>
                    <a:pt x="251" y="18"/>
                  </a:lnTo>
                  <a:lnTo>
                    <a:pt x="256" y="18"/>
                  </a:lnTo>
                  <a:lnTo>
                    <a:pt x="265" y="18"/>
                  </a:lnTo>
                  <a:lnTo>
                    <a:pt x="265" y="18"/>
                  </a:lnTo>
                  <a:lnTo>
                    <a:pt x="265" y="18"/>
                  </a:lnTo>
                  <a:lnTo>
                    <a:pt x="270" y="18"/>
                  </a:lnTo>
                  <a:lnTo>
                    <a:pt x="283" y="18"/>
                  </a:lnTo>
                  <a:lnTo>
                    <a:pt x="288" y="18"/>
                  </a:lnTo>
                  <a:lnTo>
                    <a:pt x="288" y="14"/>
                  </a:lnTo>
                  <a:lnTo>
                    <a:pt x="288" y="14"/>
                  </a:lnTo>
                  <a:lnTo>
                    <a:pt x="292" y="14"/>
                  </a:lnTo>
                  <a:lnTo>
                    <a:pt x="297" y="14"/>
                  </a:lnTo>
                  <a:lnTo>
                    <a:pt x="297" y="9"/>
                  </a:lnTo>
                  <a:lnTo>
                    <a:pt x="302" y="9"/>
                  </a:lnTo>
                  <a:lnTo>
                    <a:pt x="306" y="9"/>
                  </a:lnTo>
                  <a:lnTo>
                    <a:pt x="311" y="9"/>
                  </a:lnTo>
                  <a:lnTo>
                    <a:pt x="311" y="9"/>
                  </a:lnTo>
                  <a:lnTo>
                    <a:pt x="315" y="14"/>
                  </a:lnTo>
                  <a:lnTo>
                    <a:pt x="320" y="14"/>
                  </a:lnTo>
                  <a:lnTo>
                    <a:pt x="324" y="9"/>
                  </a:lnTo>
                  <a:lnTo>
                    <a:pt x="329" y="9"/>
                  </a:lnTo>
                  <a:lnTo>
                    <a:pt x="334" y="5"/>
                  </a:lnTo>
                  <a:lnTo>
                    <a:pt x="334" y="0"/>
                  </a:lnTo>
                  <a:lnTo>
                    <a:pt x="338" y="0"/>
                  </a:lnTo>
                  <a:lnTo>
                    <a:pt x="343" y="0"/>
                  </a:lnTo>
                  <a:lnTo>
                    <a:pt x="352" y="0"/>
                  </a:lnTo>
                  <a:lnTo>
                    <a:pt x="352" y="0"/>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19" name="Freeform 36">
              <a:extLst>
                <a:ext uri="{FF2B5EF4-FFF2-40B4-BE49-F238E27FC236}">
                  <a16:creationId xmlns:a16="http://schemas.microsoft.com/office/drawing/2014/main" id="{9CABC8CA-65D9-40A1-B524-8DE20FC248BF}"/>
                </a:ext>
              </a:extLst>
            </p:cNvPr>
            <p:cNvSpPr>
              <a:spLocks/>
            </p:cNvSpPr>
            <p:nvPr>
              <p:custDataLst>
                <p:tags r:id="rId31"/>
              </p:custDataLst>
            </p:nvPr>
          </p:nvSpPr>
          <p:spPr bwMode="auto">
            <a:xfrm>
              <a:off x="148237" y="2604403"/>
              <a:ext cx="617950" cy="818338"/>
            </a:xfrm>
            <a:custGeom>
              <a:avLst/>
              <a:gdLst/>
              <a:ahLst/>
              <a:cxnLst>
                <a:cxn ang="0">
                  <a:pos x="503" y="535"/>
                </a:cxn>
                <a:cxn ang="0">
                  <a:pos x="494" y="581"/>
                </a:cxn>
                <a:cxn ang="0">
                  <a:pos x="526" y="622"/>
                </a:cxn>
                <a:cxn ang="0">
                  <a:pos x="530" y="668"/>
                </a:cxn>
                <a:cxn ang="0">
                  <a:pos x="530" y="722"/>
                </a:cxn>
                <a:cxn ang="0">
                  <a:pos x="540" y="768"/>
                </a:cxn>
                <a:cxn ang="0">
                  <a:pos x="494" y="786"/>
                </a:cxn>
                <a:cxn ang="0">
                  <a:pos x="457" y="800"/>
                </a:cxn>
                <a:cxn ang="0">
                  <a:pos x="384" y="805"/>
                </a:cxn>
                <a:cxn ang="0">
                  <a:pos x="389" y="764"/>
                </a:cxn>
                <a:cxn ang="0">
                  <a:pos x="380" y="718"/>
                </a:cxn>
                <a:cxn ang="0">
                  <a:pos x="357" y="677"/>
                </a:cxn>
                <a:cxn ang="0">
                  <a:pos x="316" y="663"/>
                </a:cxn>
                <a:cxn ang="0">
                  <a:pos x="265" y="649"/>
                </a:cxn>
                <a:cxn ang="0">
                  <a:pos x="238" y="677"/>
                </a:cxn>
                <a:cxn ang="0">
                  <a:pos x="206" y="700"/>
                </a:cxn>
                <a:cxn ang="0">
                  <a:pos x="169" y="681"/>
                </a:cxn>
                <a:cxn ang="0">
                  <a:pos x="137" y="640"/>
                </a:cxn>
                <a:cxn ang="0">
                  <a:pos x="114" y="613"/>
                </a:cxn>
                <a:cxn ang="0">
                  <a:pos x="96" y="572"/>
                </a:cxn>
                <a:cxn ang="0">
                  <a:pos x="101" y="512"/>
                </a:cxn>
                <a:cxn ang="0">
                  <a:pos x="78" y="530"/>
                </a:cxn>
                <a:cxn ang="0">
                  <a:pos x="60" y="485"/>
                </a:cxn>
                <a:cxn ang="0">
                  <a:pos x="32" y="457"/>
                </a:cxn>
                <a:cxn ang="0">
                  <a:pos x="9" y="425"/>
                </a:cxn>
                <a:cxn ang="0">
                  <a:pos x="18" y="380"/>
                </a:cxn>
                <a:cxn ang="0">
                  <a:pos x="5" y="348"/>
                </a:cxn>
                <a:cxn ang="0">
                  <a:pos x="5" y="288"/>
                </a:cxn>
                <a:cxn ang="0">
                  <a:pos x="23" y="261"/>
                </a:cxn>
                <a:cxn ang="0">
                  <a:pos x="37" y="215"/>
                </a:cxn>
                <a:cxn ang="0">
                  <a:pos x="78" y="215"/>
                </a:cxn>
                <a:cxn ang="0">
                  <a:pos x="119" y="178"/>
                </a:cxn>
                <a:cxn ang="0">
                  <a:pos x="146" y="156"/>
                </a:cxn>
                <a:cxn ang="0">
                  <a:pos x="188" y="151"/>
                </a:cxn>
                <a:cxn ang="0">
                  <a:pos x="233" y="137"/>
                </a:cxn>
                <a:cxn ang="0">
                  <a:pos x="279" y="119"/>
                </a:cxn>
                <a:cxn ang="0">
                  <a:pos x="357" y="87"/>
                </a:cxn>
                <a:cxn ang="0">
                  <a:pos x="384" y="69"/>
                </a:cxn>
                <a:cxn ang="0">
                  <a:pos x="398" y="27"/>
                </a:cxn>
                <a:cxn ang="0">
                  <a:pos x="430" y="0"/>
                </a:cxn>
                <a:cxn ang="0">
                  <a:pos x="476" y="18"/>
                </a:cxn>
                <a:cxn ang="0">
                  <a:pos x="494" y="60"/>
                </a:cxn>
                <a:cxn ang="0">
                  <a:pos x="521" y="82"/>
                </a:cxn>
                <a:cxn ang="0">
                  <a:pos x="562" y="96"/>
                </a:cxn>
                <a:cxn ang="0">
                  <a:pos x="599" y="69"/>
                </a:cxn>
                <a:cxn ang="0">
                  <a:pos x="594" y="105"/>
                </a:cxn>
                <a:cxn ang="0">
                  <a:pos x="562" y="142"/>
                </a:cxn>
                <a:cxn ang="0">
                  <a:pos x="553" y="188"/>
                </a:cxn>
                <a:cxn ang="0">
                  <a:pos x="572" y="229"/>
                </a:cxn>
                <a:cxn ang="0">
                  <a:pos x="599" y="274"/>
                </a:cxn>
                <a:cxn ang="0">
                  <a:pos x="626" y="329"/>
                </a:cxn>
                <a:cxn ang="0">
                  <a:pos x="672" y="370"/>
                </a:cxn>
                <a:cxn ang="0">
                  <a:pos x="686" y="412"/>
                </a:cxn>
                <a:cxn ang="0">
                  <a:pos x="695" y="466"/>
                </a:cxn>
                <a:cxn ang="0">
                  <a:pos x="649" y="485"/>
                </a:cxn>
                <a:cxn ang="0">
                  <a:pos x="626" y="512"/>
                </a:cxn>
                <a:cxn ang="0">
                  <a:pos x="608" y="480"/>
                </a:cxn>
                <a:cxn ang="0">
                  <a:pos x="572" y="480"/>
                </a:cxn>
                <a:cxn ang="0">
                  <a:pos x="553" y="512"/>
                </a:cxn>
              </a:cxnLst>
              <a:rect l="0" t="0" r="r" b="b"/>
              <a:pathLst>
                <a:path w="709" h="809">
                  <a:moveTo>
                    <a:pt x="521" y="508"/>
                  </a:moveTo>
                  <a:lnTo>
                    <a:pt x="517" y="503"/>
                  </a:lnTo>
                  <a:lnTo>
                    <a:pt x="517" y="503"/>
                  </a:lnTo>
                  <a:lnTo>
                    <a:pt x="512" y="503"/>
                  </a:lnTo>
                  <a:lnTo>
                    <a:pt x="508" y="503"/>
                  </a:lnTo>
                  <a:lnTo>
                    <a:pt x="508" y="508"/>
                  </a:lnTo>
                  <a:lnTo>
                    <a:pt x="508" y="512"/>
                  </a:lnTo>
                  <a:lnTo>
                    <a:pt x="508" y="517"/>
                  </a:lnTo>
                  <a:lnTo>
                    <a:pt x="503" y="526"/>
                  </a:lnTo>
                  <a:lnTo>
                    <a:pt x="503" y="530"/>
                  </a:lnTo>
                  <a:lnTo>
                    <a:pt x="503" y="535"/>
                  </a:lnTo>
                  <a:lnTo>
                    <a:pt x="503" y="544"/>
                  </a:lnTo>
                  <a:lnTo>
                    <a:pt x="503" y="544"/>
                  </a:lnTo>
                  <a:lnTo>
                    <a:pt x="503" y="549"/>
                  </a:lnTo>
                  <a:lnTo>
                    <a:pt x="503" y="553"/>
                  </a:lnTo>
                  <a:lnTo>
                    <a:pt x="503" y="558"/>
                  </a:lnTo>
                  <a:lnTo>
                    <a:pt x="498" y="562"/>
                  </a:lnTo>
                  <a:lnTo>
                    <a:pt x="498" y="567"/>
                  </a:lnTo>
                  <a:lnTo>
                    <a:pt x="498" y="567"/>
                  </a:lnTo>
                  <a:lnTo>
                    <a:pt x="494" y="572"/>
                  </a:lnTo>
                  <a:lnTo>
                    <a:pt x="494" y="576"/>
                  </a:lnTo>
                  <a:lnTo>
                    <a:pt x="494" y="581"/>
                  </a:lnTo>
                  <a:lnTo>
                    <a:pt x="494" y="585"/>
                  </a:lnTo>
                  <a:lnTo>
                    <a:pt x="498" y="590"/>
                  </a:lnTo>
                  <a:lnTo>
                    <a:pt x="498" y="590"/>
                  </a:lnTo>
                  <a:lnTo>
                    <a:pt x="503" y="590"/>
                  </a:lnTo>
                  <a:lnTo>
                    <a:pt x="512" y="599"/>
                  </a:lnTo>
                  <a:lnTo>
                    <a:pt x="517" y="604"/>
                  </a:lnTo>
                  <a:lnTo>
                    <a:pt x="517" y="608"/>
                  </a:lnTo>
                  <a:lnTo>
                    <a:pt x="521" y="613"/>
                  </a:lnTo>
                  <a:lnTo>
                    <a:pt x="521" y="613"/>
                  </a:lnTo>
                  <a:lnTo>
                    <a:pt x="526" y="617"/>
                  </a:lnTo>
                  <a:lnTo>
                    <a:pt x="526" y="622"/>
                  </a:lnTo>
                  <a:lnTo>
                    <a:pt x="530" y="626"/>
                  </a:lnTo>
                  <a:lnTo>
                    <a:pt x="530" y="631"/>
                  </a:lnTo>
                  <a:lnTo>
                    <a:pt x="535" y="631"/>
                  </a:lnTo>
                  <a:lnTo>
                    <a:pt x="540" y="636"/>
                  </a:lnTo>
                  <a:lnTo>
                    <a:pt x="540" y="640"/>
                  </a:lnTo>
                  <a:lnTo>
                    <a:pt x="540" y="645"/>
                  </a:lnTo>
                  <a:lnTo>
                    <a:pt x="535" y="654"/>
                  </a:lnTo>
                  <a:lnTo>
                    <a:pt x="535" y="658"/>
                  </a:lnTo>
                  <a:lnTo>
                    <a:pt x="535" y="663"/>
                  </a:lnTo>
                  <a:lnTo>
                    <a:pt x="535" y="668"/>
                  </a:lnTo>
                  <a:lnTo>
                    <a:pt x="530" y="668"/>
                  </a:lnTo>
                  <a:lnTo>
                    <a:pt x="530" y="672"/>
                  </a:lnTo>
                  <a:lnTo>
                    <a:pt x="526" y="677"/>
                  </a:lnTo>
                  <a:lnTo>
                    <a:pt x="526" y="677"/>
                  </a:lnTo>
                  <a:lnTo>
                    <a:pt x="526" y="686"/>
                  </a:lnTo>
                  <a:lnTo>
                    <a:pt x="530" y="700"/>
                  </a:lnTo>
                  <a:lnTo>
                    <a:pt x="535" y="700"/>
                  </a:lnTo>
                  <a:lnTo>
                    <a:pt x="530" y="704"/>
                  </a:lnTo>
                  <a:lnTo>
                    <a:pt x="530" y="709"/>
                  </a:lnTo>
                  <a:lnTo>
                    <a:pt x="530" y="718"/>
                  </a:lnTo>
                  <a:lnTo>
                    <a:pt x="530" y="722"/>
                  </a:lnTo>
                  <a:lnTo>
                    <a:pt x="530" y="722"/>
                  </a:lnTo>
                  <a:lnTo>
                    <a:pt x="535" y="732"/>
                  </a:lnTo>
                  <a:lnTo>
                    <a:pt x="540" y="741"/>
                  </a:lnTo>
                  <a:lnTo>
                    <a:pt x="544" y="750"/>
                  </a:lnTo>
                  <a:lnTo>
                    <a:pt x="544" y="754"/>
                  </a:lnTo>
                  <a:lnTo>
                    <a:pt x="549" y="764"/>
                  </a:lnTo>
                  <a:lnTo>
                    <a:pt x="549" y="768"/>
                  </a:lnTo>
                  <a:lnTo>
                    <a:pt x="544" y="773"/>
                  </a:lnTo>
                  <a:lnTo>
                    <a:pt x="544" y="777"/>
                  </a:lnTo>
                  <a:lnTo>
                    <a:pt x="540" y="782"/>
                  </a:lnTo>
                  <a:lnTo>
                    <a:pt x="540" y="773"/>
                  </a:lnTo>
                  <a:lnTo>
                    <a:pt x="540" y="768"/>
                  </a:lnTo>
                  <a:lnTo>
                    <a:pt x="535" y="768"/>
                  </a:lnTo>
                  <a:lnTo>
                    <a:pt x="530" y="764"/>
                  </a:lnTo>
                  <a:lnTo>
                    <a:pt x="526" y="764"/>
                  </a:lnTo>
                  <a:lnTo>
                    <a:pt x="521" y="764"/>
                  </a:lnTo>
                  <a:lnTo>
                    <a:pt x="517" y="768"/>
                  </a:lnTo>
                  <a:lnTo>
                    <a:pt x="512" y="773"/>
                  </a:lnTo>
                  <a:lnTo>
                    <a:pt x="508" y="777"/>
                  </a:lnTo>
                  <a:lnTo>
                    <a:pt x="503" y="777"/>
                  </a:lnTo>
                  <a:lnTo>
                    <a:pt x="498" y="782"/>
                  </a:lnTo>
                  <a:lnTo>
                    <a:pt x="498" y="786"/>
                  </a:lnTo>
                  <a:lnTo>
                    <a:pt x="494" y="786"/>
                  </a:lnTo>
                  <a:lnTo>
                    <a:pt x="489" y="786"/>
                  </a:lnTo>
                  <a:lnTo>
                    <a:pt x="485" y="786"/>
                  </a:lnTo>
                  <a:lnTo>
                    <a:pt x="485" y="791"/>
                  </a:lnTo>
                  <a:lnTo>
                    <a:pt x="480" y="791"/>
                  </a:lnTo>
                  <a:lnTo>
                    <a:pt x="476" y="791"/>
                  </a:lnTo>
                  <a:lnTo>
                    <a:pt x="476" y="796"/>
                  </a:lnTo>
                  <a:lnTo>
                    <a:pt x="476" y="800"/>
                  </a:lnTo>
                  <a:lnTo>
                    <a:pt x="471" y="800"/>
                  </a:lnTo>
                  <a:lnTo>
                    <a:pt x="466" y="796"/>
                  </a:lnTo>
                  <a:lnTo>
                    <a:pt x="462" y="796"/>
                  </a:lnTo>
                  <a:lnTo>
                    <a:pt x="457" y="800"/>
                  </a:lnTo>
                  <a:lnTo>
                    <a:pt x="453" y="800"/>
                  </a:lnTo>
                  <a:lnTo>
                    <a:pt x="453" y="805"/>
                  </a:lnTo>
                  <a:lnTo>
                    <a:pt x="448" y="805"/>
                  </a:lnTo>
                  <a:lnTo>
                    <a:pt x="434" y="809"/>
                  </a:lnTo>
                  <a:lnTo>
                    <a:pt x="425" y="809"/>
                  </a:lnTo>
                  <a:lnTo>
                    <a:pt x="421" y="809"/>
                  </a:lnTo>
                  <a:lnTo>
                    <a:pt x="412" y="809"/>
                  </a:lnTo>
                  <a:lnTo>
                    <a:pt x="407" y="809"/>
                  </a:lnTo>
                  <a:lnTo>
                    <a:pt x="402" y="809"/>
                  </a:lnTo>
                  <a:lnTo>
                    <a:pt x="389" y="805"/>
                  </a:lnTo>
                  <a:lnTo>
                    <a:pt x="384" y="805"/>
                  </a:lnTo>
                  <a:lnTo>
                    <a:pt x="380" y="805"/>
                  </a:lnTo>
                  <a:lnTo>
                    <a:pt x="375" y="805"/>
                  </a:lnTo>
                  <a:lnTo>
                    <a:pt x="375" y="800"/>
                  </a:lnTo>
                  <a:lnTo>
                    <a:pt x="375" y="796"/>
                  </a:lnTo>
                  <a:lnTo>
                    <a:pt x="380" y="791"/>
                  </a:lnTo>
                  <a:lnTo>
                    <a:pt x="380" y="786"/>
                  </a:lnTo>
                  <a:lnTo>
                    <a:pt x="384" y="786"/>
                  </a:lnTo>
                  <a:lnTo>
                    <a:pt x="389" y="786"/>
                  </a:lnTo>
                  <a:lnTo>
                    <a:pt x="389" y="777"/>
                  </a:lnTo>
                  <a:lnTo>
                    <a:pt x="389" y="768"/>
                  </a:lnTo>
                  <a:lnTo>
                    <a:pt x="389" y="764"/>
                  </a:lnTo>
                  <a:lnTo>
                    <a:pt x="389" y="759"/>
                  </a:lnTo>
                  <a:lnTo>
                    <a:pt x="389" y="754"/>
                  </a:lnTo>
                  <a:lnTo>
                    <a:pt x="389" y="750"/>
                  </a:lnTo>
                  <a:lnTo>
                    <a:pt x="389" y="745"/>
                  </a:lnTo>
                  <a:lnTo>
                    <a:pt x="389" y="741"/>
                  </a:lnTo>
                  <a:lnTo>
                    <a:pt x="389" y="736"/>
                  </a:lnTo>
                  <a:lnTo>
                    <a:pt x="389" y="732"/>
                  </a:lnTo>
                  <a:lnTo>
                    <a:pt x="389" y="722"/>
                  </a:lnTo>
                  <a:lnTo>
                    <a:pt x="384" y="722"/>
                  </a:lnTo>
                  <a:lnTo>
                    <a:pt x="380" y="722"/>
                  </a:lnTo>
                  <a:lnTo>
                    <a:pt x="380" y="718"/>
                  </a:lnTo>
                  <a:lnTo>
                    <a:pt x="375" y="713"/>
                  </a:lnTo>
                  <a:lnTo>
                    <a:pt x="370" y="713"/>
                  </a:lnTo>
                  <a:lnTo>
                    <a:pt x="370" y="709"/>
                  </a:lnTo>
                  <a:lnTo>
                    <a:pt x="366" y="704"/>
                  </a:lnTo>
                  <a:lnTo>
                    <a:pt x="366" y="700"/>
                  </a:lnTo>
                  <a:lnTo>
                    <a:pt x="366" y="695"/>
                  </a:lnTo>
                  <a:lnTo>
                    <a:pt x="366" y="686"/>
                  </a:lnTo>
                  <a:lnTo>
                    <a:pt x="361" y="686"/>
                  </a:lnTo>
                  <a:lnTo>
                    <a:pt x="361" y="681"/>
                  </a:lnTo>
                  <a:lnTo>
                    <a:pt x="361" y="677"/>
                  </a:lnTo>
                  <a:lnTo>
                    <a:pt x="357" y="677"/>
                  </a:lnTo>
                  <a:lnTo>
                    <a:pt x="357" y="677"/>
                  </a:lnTo>
                  <a:lnTo>
                    <a:pt x="352" y="677"/>
                  </a:lnTo>
                  <a:lnTo>
                    <a:pt x="352" y="672"/>
                  </a:lnTo>
                  <a:lnTo>
                    <a:pt x="348" y="672"/>
                  </a:lnTo>
                  <a:lnTo>
                    <a:pt x="343" y="672"/>
                  </a:lnTo>
                  <a:lnTo>
                    <a:pt x="343" y="668"/>
                  </a:lnTo>
                  <a:lnTo>
                    <a:pt x="338" y="668"/>
                  </a:lnTo>
                  <a:lnTo>
                    <a:pt x="329" y="663"/>
                  </a:lnTo>
                  <a:lnTo>
                    <a:pt x="325" y="663"/>
                  </a:lnTo>
                  <a:lnTo>
                    <a:pt x="320" y="663"/>
                  </a:lnTo>
                  <a:lnTo>
                    <a:pt x="316" y="663"/>
                  </a:lnTo>
                  <a:lnTo>
                    <a:pt x="306" y="663"/>
                  </a:lnTo>
                  <a:lnTo>
                    <a:pt x="302" y="663"/>
                  </a:lnTo>
                  <a:lnTo>
                    <a:pt x="293" y="668"/>
                  </a:lnTo>
                  <a:lnTo>
                    <a:pt x="284" y="672"/>
                  </a:lnTo>
                  <a:lnTo>
                    <a:pt x="279" y="672"/>
                  </a:lnTo>
                  <a:lnTo>
                    <a:pt x="279" y="668"/>
                  </a:lnTo>
                  <a:lnTo>
                    <a:pt x="274" y="663"/>
                  </a:lnTo>
                  <a:lnTo>
                    <a:pt x="270" y="658"/>
                  </a:lnTo>
                  <a:lnTo>
                    <a:pt x="270" y="654"/>
                  </a:lnTo>
                  <a:lnTo>
                    <a:pt x="265" y="654"/>
                  </a:lnTo>
                  <a:lnTo>
                    <a:pt x="265" y="649"/>
                  </a:lnTo>
                  <a:lnTo>
                    <a:pt x="261" y="649"/>
                  </a:lnTo>
                  <a:lnTo>
                    <a:pt x="261" y="645"/>
                  </a:lnTo>
                  <a:lnTo>
                    <a:pt x="256" y="645"/>
                  </a:lnTo>
                  <a:lnTo>
                    <a:pt x="256" y="645"/>
                  </a:lnTo>
                  <a:lnTo>
                    <a:pt x="252" y="645"/>
                  </a:lnTo>
                  <a:lnTo>
                    <a:pt x="252" y="649"/>
                  </a:lnTo>
                  <a:lnTo>
                    <a:pt x="247" y="649"/>
                  </a:lnTo>
                  <a:lnTo>
                    <a:pt x="247" y="654"/>
                  </a:lnTo>
                  <a:lnTo>
                    <a:pt x="242" y="658"/>
                  </a:lnTo>
                  <a:lnTo>
                    <a:pt x="242" y="668"/>
                  </a:lnTo>
                  <a:lnTo>
                    <a:pt x="238" y="677"/>
                  </a:lnTo>
                  <a:lnTo>
                    <a:pt x="238" y="677"/>
                  </a:lnTo>
                  <a:lnTo>
                    <a:pt x="233" y="677"/>
                  </a:lnTo>
                  <a:lnTo>
                    <a:pt x="233" y="681"/>
                  </a:lnTo>
                  <a:lnTo>
                    <a:pt x="233" y="686"/>
                  </a:lnTo>
                  <a:lnTo>
                    <a:pt x="229" y="690"/>
                  </a:lnTo>
                  <a:lnTo>
                    <a:pt x="229" y="695"/>
                  </a:lnTo>
                  <a:lnTo>
                    <a:pt x="224" y="695"/>
                  </a:lnTo>
                  <a:lnTo>
                    <a:pt x="220" y="700"/>
                  </a:lnTo>
                  <a:lnTo>
                    <a:pt x="215" y="700"/>
                  </a:lnTo>
                  <a:lnTo>
                    <a:pt x="210" y="700"/>
                  </a:lnTo>
                  <a:lnTo>
                    <a:pt x="206" y="700"/>
                  </a:lnTo>
                  <a:lnTo>
                    <a:pt x="201" y="700"/>
                  </a:lnTo>
                  <a:lnTo>
                    <a:pt x="197" y="700"/>
                  </a:lnTo>
                  <a:lnTo>
                    <a:pt x="188" y="700"/>
                  </a:lnTo>
                  <a:lnTo>
                    <a:pt x="188" y="700"/>
                  </a:lnTo>
                  <a:lnTo>
                    <a:pt x="183" y="700"/>
                  </a:lnTo>
                  <a:lnTo>
                    <a:pt x="174" y="695"/>
                  </a:lnTo>
                  <a:lnTo>
                    <a:pt x="174" y="690"/>
                  </a:lnTo>
                  <a:lnTo>
                    <a:pt x="169" y="690"/>
                  </a:lnTo>
                  <a:lnTo>
                    <a:pt x="169" y="686"/>
                  </a:lnTo>
                  <a:lnTo>
                    <a:pt x="169" y="686"/>
                  </a:lnTo>
                  <a:lnTo>
                    <a:pt x="169" y="681"/>
                  </a:lnTo>
                  <a:lnTo>
                    <a:pt x="165" y="681"/>
                  </a:lnTo>
                  <a:lnTo>
                    <a:pt x="160" y="677"/>
                  </a:lnTo>
                  <a:lnTo>
                    <a:pt x="156" y="672"/>
                  </a:lnTo>
                  <a:lnTo>
                    <a:pt x="151" y="672"/>
                  </a:lnTo>
                  <a:lnTo>
                    <a:pt x="151" y="668"/>
                  </a:lnTo>
                  <a:lnTo>
                    <a:pt x="146" y="663"/>
                  </a:lnTo>
                  <a:lnTo>
                    <a:pt x="146" y="658"/>
                  </a:lnTo>
                  <a:lnTo>
                    <a:pt x="146" y="654"/>
                  </a:lnTo>
                  <a:lnTo>
                    <a:pt x="142" y="649"/>
                  </a:lnTo>
                  <a:lnTo>
                    <a:pt x="137" y="649"/>
                  </a:lnTo>
                  <a:lnTo>
                    <a:pt x="137" y="640"/>
                  </a:lnTo>
                  <a:lnTo>
                    <a:pt x="133" y="640"/>
                  </a:lnTo>
                  <a:lnTo>
                    <a:pt x="133" y="636"/>
                  </a:lnTo>
                  <a:lnTo>
                    <a:pt x="128" y="636"/>
                  </a:lnTo>
                  <a:lnTo>
                    <a:pt x="128" y="631"/>
                  </a:lnTo>
                  <a:lnTo>
                    <a:pt x="124" y="631"/>
                  </a:lnTo>
                  <a:lnTo>
                    <a:pt x="124" y="626"/>
                  </a:lnTo>
                  <a:lnTo>
                    <a:pt x="124" y="626"/>
                  </a:lnTo>
                  <a:lnTo>
                    <a:pt x="124" y="622"/>
                  </a:lnTo>
                  <a:lnTo>
                    <a:pt x="119" y="622"/>
                  </a:lnTo>
                  <a:lnTo>
                    <a:pt x="114" y="617"/>
                  </a:lnTo>
                  <a:lnTo>
                    <a:pt x="114" y="613"/>
                  </a:lnTo>
                  <a:lnTo>
                    <a:pt x="114" y="613"/>
                  </a:lnTo>
                  <a:lnTo>
                    <a:pt x="110" y="613"/>
                  </a:lnTo>
                  <a:lnTo>
                    <a:pt x="105" y="613"/>
                  </a:lnTo>
                  <a:lnTo>
                    <a:pt x="105" y="608"/>
                  </a:lnTo>
                  <a:lnTo>
                    <a:pt x="101" y="604"/>
                  </a:lnTo>
                  <a:lnTo>
                    <a:pt x="101" y="594"/>
                  </a:lnTo>
                  <a:lnTo>
                    <a:pt x="101" y="594"/>
                  </a:lnTo>
                  <a:lnTo>
                    <a:pt x="101" y="590"/>
                  </a:lnTo>
                  <a:lnTo>
                    <a:pt x="101" y="585"/>
                  </a:lnTo>
                  <a:lnTo>
                    <a:pt x="96" y="581"/>
                  </a:lnTo>
                  <a:lnTo>
                    <a:pt x="96" y="572"/>
                  </a:lnTo>
                  <a:lnTo>
                    <a:pt x="96" y="562"/>
                  </a:lnTo>
                  <a:lnTo>
                    <a:pt x="101" y="553"/>
                  </a:lnTo>
                  <a:lnTo>
                    <a:pt x="101" y="549"/>
                  </a:lnTo>
                  <a:lnTo>
                    <a:pt x="101" y="544"/>
                  </a:lnTo>
                  <a:lnTo>
                    <a:pt x="101" y="540"/>
                  </a:lnTo>
                  <a:lnTo>
                    <a:pt x="101" y="535"/>
                  </a:lnTo>
                  <a:lnTo>
                    <a:pt x="101" y="530"/>
                  </a:lnTo>
                  <a:lnTo>
                    <a:pt x="105" y="526"/>
                  </a:lnTo>
                  <a:lnTo>
                    <a:pt x="105" y="521"/>
                  </a:lnTo>
                  <a:lnTo>
                    <a:pt x="105" y="521"/>
                  </a:lnTo>
                  <a:lnTo>
                    <a:pt x="101" y="512"/>
                  </a:lnTo>
                  <a:lnTo>
                    <a:pt x="101" y="508"/>
                  </a:lnTo>
                  <a:lnTo>
                    <a:pt x="101" y="503"/>
                  </a:lnTo>
                  <a:lnTo>
                    <a:pt x="96" y="503"/>
                  </a:lnTo>
                  <a:lnTo>
                    <a:pt x="92" y="503"/>
                  </a:lnTo>
                  <a:lnTo>
                    <a:pt x="87" y="503"/>
                  </a:lnTo>
                  <a:lnTo>
                    <a:pt x="82" y="503"/>
                  </a:lnTo>
                  <a:lnTo>
                    <a:pt x="78" y="508"/>
                  </a:lnTo>
                  <a:lnTo>
                    <a:pt x="78" y="517"/>
                  </a:lnTo>
                  <a:lnTo>
                    <a:pt x="78" y="521"/>
                  </a:lnTo>
                  <a:lnTo>
                    <a:pt x="78" y="521"/>
                  </a:lnTo>
                  <a:lnTo>
                    <a:pt x="78" y="530"/>
                  </a:lnTo>
                  <a:lnTo>
                    <a:pt x="73" y="535"/>
                  </a:lnTo>
                  <a:lnTo>
                    <a:pt x="69" y="535"/>
                  </a:lnTo>
                  <a:lnTo>
                    <a:pt x="64" y="535"/>
                  </a:lnTo>
                  <a:lnTo>
                    <a:pt x="64" y="530"/>
                  </a:lnTo>
                  <a:lnTo>
                    <a:pt x="64" y="526"/>
                  </a:lnTo>
                  <a:lnTo>
                    <a:pt x="60" y="521"/>
                  </a:lnTo>
                  <a:lnTo>
                    <a:pt x="60" y="517"/>
                  </a:lnTo>
                  <a:lnTo>
                    <a:pt x="60" y="512"/>
                  </a:lnTo>
                  <a:lnTo>
                    <a:pt x="60" y="508"/>
                  </a:lnTo>
                  <a:lnTo>
                    <a:pt x="60" y="494"/>
                  </a:lnTo>
                  <a:lnTo>
                    <a:pt x="60" y="485"/>
                  </a:lnTo>
                  <a:lnTo>
                    <a:pt x="60" y="480"/>
                  </a:lnTo>
                  <a:lnTo>
                    <a:pt x="60" y="476"/>
                  </a:lnTo>
                  <a:lnTo>
                    <a:pt x="60" y="471"/>
                  </a:lnTo>
                  <a:lnTo>
                    <a:pt x="60" y="466"/>
                  </a:lnTo>
                  <a:lnTo>
                    <a:pt x="55" y="466"/>
                  </a:lnTo>
                  <a:lnTo>
                    <a:pt x="55" y="462"/>
                  </a:lnTo>
                  <a:lnTo>
                    <a:pt x="46" y="457"/>
                  </a:lnTo>
                  <a:lnTo>
                    <a:pt x="46" y="457"/>
                  </a:lnTo>
                  <a:lnTo>
                    <a:pt x="41" y="457"/>
                  </a:lnTo>
                  <a:lnTo>
                    <a:pt x="37" y="457"/>
                  </a:lnTo>
                  <a:lnTo>
                    <a:pt x="32" y="457"/>
                  </a:lnTo>
                  <a:lnTo>
                    <a:pt x="28" y="457"/>
                  </a:lnTo>
                  <a:lnTo>
                    <a:pt x="18" y="457"/>
                  </a:lnTo>
                  <a:lnTo>
                    <a:pt x="14" y="457"/>
                  </a:lnTo>
                  <a:lnTo>
                    <a:pt x="14" y="457"/>
                  </a:lnTo>
                  <a:lnTo>
                    <a:pt x="9" y="457"/>
                  </a:lnTo>
                  <a:lnTo>
                    <a:pt x="5" y="457"/>
                  </a:lnTo>
                  <a:lnTo>
                    <a:pt x="5" y="453"/>
                  </a:lnTo>
                  <a:lnTo>
                    <a:pt x="5" y="453"/>
                  </a:lnTo>
                  <a:lnTo>
                    <a:pt x="9" y="430"/>
                  </a:lnTo>
                  <a:lnTo>
                    <a:pt x="9" y="430"/>
                  </a:lnTo>
                  <a:lnTo>
                    <a:pt x="9" y="425"/>
                  </a:lnTo>
                  <a:lnTo>
                    <a:pt x="14" y="425"/>
                  </a:lnTo>
                  <a:lnTo>
                    <a:pt x="9" y="421"/>
                  </a:lnTo>
                  <a:lnTo>
                    <a:pt x="9" y="416"/>
                  </a:lnTo>
                  <a:lnTo>
                    <a:pt x="14" y="412"/>
                  </a:lnTo>
                  <a:lnTo>
                    <a:pt x="14" y="407"/>
                  </a:lnTo>
                  <a:lnTo>
                    <a:pt x="14" y="402"/>
                  </a:lnTo>
                  <a:lnTo>
                    <a:pt x="14" y="398"/>
                  </a:lnTo>
                  <a:lnTo>
                    <a:pt x="14" y="398"/>
                  </a:lnTo>
                  <a:lnTo>
                    <a:pt x="18" y="393"/>
                  </a:lnTo>
                  <a:lnTo>
                    <a:pt x="18" y="389"/>
                  </a:lnTo>
                  <a:lnTo>
                    <a:pt x="18" y="380"/>
                  </a:lnTo>
                  <a:lnTo>
                    <a:pt x="18" y="375"/>
                  </a:lnTo>
                  <a:lnTo>
                    <a:pt x="18" y="375"/>
                  </a:lnTo>
                  <a:lnTo>
                    <a:pt x="23" y="370"/>
                  </a:lnTo>
                  <a:lnTo>
                    <a:pt x="23" y="370"/>
                  </a:lnTo>
                  <a:lnTo>
                    <a:pt x="14" y="366"/>
                  </a:lnTo>
                  <a:lnTo>
                    <a:pt x="14" y="366"/>
                  </a:lnTo>
                  <a:lnTo>
                    <a:pt x="14" y="361"/>
                  </a:lnTo>
                  <a:lnTo>
                    <a:pt x="9" y="357"/>
                  </a:lnTo>
                  <a:lnTo>
                    <a:pt x="9" y="357"/>
                  </a:lnTo>
                  <a:lnTo>
                    <a:pt x="5" y="352"/>
                  </a:lnTo>
                  <a:lnTo>
                    <a:pt x="5" y="348"/>
                  </a:lnTo>
                  <a:lnTo>
                    <a:pt x="0" y="334"/>
                  </a:lnTo>
                  <a:lnTo>
                    <a:pt x="0" y="334"/>
                  </a:lnTo>
                  <a:lnTo>
                    <a:pt x="0" y="329"/>
                  </a:lnTo>
                  <a:lnTo>
                    <a:pt x="0" y="320"/>
                  </a:lnTo>
                  <a:lnTo>
                    <a:pt x="0" y="316"/>
                  </a:lnTo>
                  <a:lnTo>
                    <a:pt x="0" y="316"/>
                  </a:lnTo>
                  <a:lnTo>
                    <a:pt x="5" y="311"/>
                  </a:lnTo>
                  <a:lnTo>
                    <a:pt x="5" y="306"/>
                  </a:lnTo>
                  <a:lnTo>
                    <a:pt x="5" y="297"/>
                  </a:lnTo>
                  <a:lnTo>
                    <a:pt x="5" y="293"/>
                  </a:lnTo>
                  <a:lnTo>
                    <a:pt x="5" y="288"/>
                  </a:lnTo>
                  <a:lnTo>
                    <a:pt x="9" y="288"/>
                  </a:lnTo>
                  <a:lnTo>
                    <a:pt x="14" y="288"/>
                  </a:lnTo>
                  <a:lnTo>
                    <a:pt x="14" y="284"/>
                  </a:lnTo>
                  <a:lnTo>
                    <a:pt x="18" y="279"/>
                  </a:lnTo>
                  <a:lnTo>
                    <a:pt x="18" y="279"/>
                  </a:lnTo>
                  <a:lnTo>
                    <a:pt x="18" y="274"/>
                  </a:lnTo>
                  <a:lnTo>
                    <a:pt x="23" y="270"/>
                  </a:lnTo>
                  <a:lnTo>
                    <a:pt x="18" y="265"/>
                  </a:lnTo>
                  <a:lnTo>
                    <a:pt x="18" y="265"/>
                  </a:lnTo>
                  <a:lnTo>
                    <a:pt x="23" y="261"/>
                  </a:lnTo>
                  <a:lnTo>
                    <a:pt x="23" y="261"/>
                  </a:lnTo>
                  <a:lnTo>
                    <a:pt x="23" y="256"/>
                  </a:lnTo>
                  <a:lnTo>
                    <a:pt x="23" y="256"/>
                  </a:lnTo>
                  <a:lnTo>
                    <a:pt x="18" y="252"/>
                  </a:lnTo>
                  <a:lnTo>
                    <a:pt x="18" y="247"/>
                  </a:lnTo>
                  <a:lnTo>
                    <a:pt x="23" y="242"/>
                  </a:lnTo>
                  <a:lnTo>
                    <a:pt x="23" y="238"/>
                  </a:lnTo>
                  <a:lnTo>
                    <a:pt x="18" y="233"/>
                  </a:lnTo>
                  <a:lnTo>
                    <a:pt x="23" y="233"/>
                  </a:lnTo>
                  <a:lnTo>
                    <a:pt x="28" y="229"/>
                  </a:lnTo>
                  <a:lnTo>
                    <a:pt x="32" y="224"/>
                  </a:lnTo>
                  <a:lnTo>
                    <a:pt x="37" y="215"/>
                  </a:lnTo>
                  <a:lnTo>
                    <a:pt x="37" y="215"/>
                  </a:lnTo>
                  <a:lnTo>
                    <a:pt x="46" y="215"/>
                  </a:lnTo>
                  <a:lnTo>
                    <a:pt x="55" y="215"/>
                  </a:lnTo>
                  <a:lnTo>
                    <a:pt x="60" y="215"/>
                  </a:lnTo>
                  <a:lnTo>
                    <a:pt x="64" y="215"/>
                  </a:lnTo>
                  <a:lnTo>
                    <a:pt x="69" y="220"/>
                  </a:lnTo>
                  <a:lnTo>
                    <a:pt x="73" y="215"/>
                  </a:lnTo>
                  <a:lnTo>
                    <a:pt x="78" y="215"/>
                  </a:lnTo>
                  <a:lnTo>
                    <a:pt x="78" y="215"/>
                  </a:lnTo>
                  <a:lnTo>
                    <a:pt x="78" y="215"/>
                  </a:lnTo>
                  <a:lnTo>
                    <a:pt x="78" y="215"/>
                  </a:lnTo>
                  <a:lnTo>
                    <a:pt x="78" y="210"/>
                  </a:lnTo>
                  <a:lnTo>
                    <a:pt x="82" y="210"/>
                  </a:lnTo>
                  <a:lnTo>
                    <a:pt x="82" y="206"/>
                  </a:lnTo>
                  <a:lnTo>
                    <a:pt x="87" y="206"/>
                  </a:lnTo>
                  <a:lnTo>
                    <a:pt x="92" y="197"/>
                  </a:lnTo>
                  <a:lnTo>
                    <a:pt x="96" y="197"/>
                  </a:lnTo>
                  <a:lnTo>
                    <a:pt x="101" y="192"/>
                  </a:lnTo>
                  <a:lnTo>
                    <a:pt x="105" y="188"/>
                  </a:lnTo>
                  <a:lnTo>
                    <a:pt x="110" y="188"/>
                  </a:lnTo>
                  <a:lnTo>
                    <a:pt x="114" y="183"/>
                  </a:lnTo>
                  <a:lnTo>
                    <a:pt x="119" y="178"/>
                  </a:lnTo>
                  <a:lnTo>
                    <a:pt x="119" y="174"/>
                  </a:lnTo>
                  <a:lnTo>
                    <a:pt x="124" y="174"/>
                  </a:lnTo>
                  <a:lnTo>
                    <a:pt x="124" y="174"/>
                  </a:lnTo>
                  <a:lnTo>
                    <a:pt x="128" y="174"/>
                  </a:lnTo>
                  <a:lnTo>
                    <a:pt x="128" y="169"/>
                  </a:lnTo>
                  <a:lnTo>
                    <a:pt x="133" y="165"/>
                  </a:lnTo>
                  <a:lnTo>
                    <a:pt x="137" y="165"/>
                  </a:lnTo>
                  <a:lnTo>
                    <a:pt x="142" y="160"/>
                  </a:lnTo>
                  <a:lnTo>
                    <a:pt x="146" y="160"/>
                  </a:lnTo>
                  <a:lnTo>
                    <a:pt x="146" y="156"/>
                  </a:lnTo>
                  <a:lnTo>
                    <a:pt x="146" y="156"/>
                  </a:lnTo>
                  <a:lnTo>
                    <a:pt x="151" y="151"/>
                  </a:lnTo>
                  <a:lnTo>
                    <a:pt x="156" y="151"/>
                  </a:lnTo>
                  <a:lnTo>
                    <a:pt x="160" y="151"/>
                  </a:lnTo>
                  <a:lnTo>
                    <a:pt x="165" y="151"/>
                  </a:lnTo>
                  <a:lnTo>
                    <a:pt x="169" y="151"/>
                  </a:lnTo>
                  <a:lnTo>
                    <a:pt x="169" y="151"/>
                  </a:lnTo>
                  <a:lnTo>
                    <a:pt x="174" y="151"/>
                  </a:lnTo>
                  <a:lnTo>
                    <a:pt x="178" y="151"/>
                  </a:lnTo>
                  <a:lnTo>
                    <a:pt x="183" y="151"/>
                  </a:lnTo>
                  <a:lnTo>
                    <a:pt x="188" y="151"/>
                  </a:lnTo>
                  <a:lnTo>
                    <a:pt x="188" y="151"/>
                  </a:lnTo>
                  <a:lnTo>
                    <a:pt x="188" y="151"/>
                  </a:lnTo>
                  <a:lnTo>
                    <a:pt x="192" y="151"/>
                  </a:lnTo>
                  <a:lnTo>
                    <a:pt x="201" y="151"/>
                  </a:lnTo>
                  <a:lnTo>
                    <a:pt x="206" y="151"/>
                  </a:lnTo>
                  <a:lnTo>
                    <a:pt x="210" y="151"/>
                  </a:lnTo>
                  <a:lnTo>
                    <a:pt x="210" y="151"/>
                  </a:lnTo>
                  <a:lnTo>
                    <a:pt x="215" y="151"/>
                  </a:lnTo>
                  <a:lnTo>
                    <a:pt x="224" y="146"/>
                  </a:lnTo>
                  <a:lnTo>
                    <a:pt x="224" y="142"/>
                  </a:lnTo>
                  <a:lnTo>
                    <a:pt x="229" y="142"/>
                  </a:lnTo>
                  <a:lnTo>
                    <a:pt x="233" y="137"/>
                  </a:lnTo>
                  <a:lnTo>
                    <a:pt x="233" y="137"/>
                  </a:lnTo>
                  <a:lnTo>
                    <a:pt x="238" y="137"/>
                  </a:lnTo>
                  <a:lnTo>
                    <a:pt x="242" y="137"/>
                  </a:lnTo>
                  <a:lnTo>
                    <a:pt x="247" y="137"/>
                  </a:lnTo>
                  <a:lnTo>
                    <a:pt x="256" y="133"/>
                  </a:lnTo>
                  <a:lnTo>
                    <a:pt x="261" y="128"/>
                  </a:lnTo>
                  <a:lnTo>
                    <a:pt x="265" y="128"/>
                  </a:lnTo>
                  <a:lnTo>
                    <a:pt x="265" y="128"/>
                  </a:lnTo>
                  <a:lnTo>
                    <a:pt x="270" y="124"/>
                  </a:lnTo>
                  <a:lnTo>
                    <a:pt x="274" y="124"/>
                  </a:lnTo>
                  <a:lnTo>
                    <a:pt x="279" y="119"/>
                  </a:lnTo>
                  <a:lnTo>
                    <a:pt x="284" y="114"/>
                  </a:lnTo>
                  <a:lnTo>
                    <a:pt x="288" y="114"/>
                  </a:lnTo>
                  <a:lnTo>
                    <a:pt x="297" y="110"/>
                  </a:lnTo>
                  <a:lnTo>
                    <a:pt x="297" y="105"/>
                  </a:lnTo>
                  <a:lnTo>
                    <a:pt x="311" y="105"/>
                  </a:lnTo>
                  <a:lnTo>
                    <a:pt x="316" y="105"/>
                  </a:lnTo>
                  <a:lnTo>
                    <a:pt x="329" y="101"/>
                  </a:lnTo>
                  <a:lnTo>
                    <a:pt x="338" y="96"/>
                  </a:lnTo>
                  <a:lnTo>
                    <a:pt x="348" y="87"/>
                  </a:lnTo>
                  <a:lnTo>
                    <a:pt x="352" y="87"/>
                  </a:lnTo>
                  <a:lnTo>
                    <a:pt x="357" y="87"/>
                  </a:lnTo>
                  <a:lnTo>
                    <a:pt x="357" y="82"/>
                  </a:lnTo>
                  <a:lnTo>
                    <a:pt x="361" y="82"/>
                  </a:lnTo>
                  <a:lnTo>
                    <a:pt x="366" y="82"/>
                  </a:lnTo>
                  <a:lnTo>
                    <a:pt x="366" y="82"/>
                  </a:lnTo>
                  <a:lnTo>
                    <a:pt x="366" y="78"/>
                  </a:lnTo>
                  <a:lnTo>
                    <a:pt x="370" y="78"/>
                  </a:lnTo>
                  <a:lnTo>
                    <a:pt x="375" y="78"/>
                  </a:lnTo>
                  <a:lnTo>
                    <a:pt x="375" y="73"/>
                  </a:lnTo>
                  <a:lnTo>
                    <a:pt x="380" y="73"/>
                  </a:lnTo>
                  <a:lnTo>
                    <a:pt x="380" y="69"/>
                  </a:lnTo>
                  <a:lnTo>
                    <a:pt x="384" y="69"/>
                  </a:lnTo>
                  <a:lnTo>
                    <a:pt x="389" y="64"/>
                  </a:lnTo>
                  <a:lnTo>
                    <a:pt x="389" y="64"/>
                  </a:lnTo>
                  <a:lnTo>
                    <a:pt x="389" y="64"/>
                  </a:lnTo>
                  <a:lnTo>
                    <a:pt x="389" y="60"/>
                  </a:lnTo>
                  <a:lnTo>
                    <a:pt x="393" y="55"/>
                  </a:lnTo>
                  <a:lnTo>
                    <a:pt x="393" y="46"/>
                  </a:lnTo>
                  <a:lnTo>
                    <a:pt x="393" y="41"/>
                  </a:lnTo>
                  <a:lnTo>
                    <a:pt x="393" y="41"/>
                  </a:lnTo>
                  <a:lnTo>
                    <a:pt x="393" y="37"/>
                  </a:lnTo>
                  <a:lnTo>
                    <a:pt x="393" y="32"/>
                  </a:lnTo>
                  <a:lnTo>
                    <a:pt x="398" y="27"/>
                  </a:lnTo>
                  <a:lnTo>
                    <a:pt x="398" y="23"/>
                  </a:lnTo>
                  <a:lnTo>
                    <a:pt x="407" y="18"/>
                  </a:lnTo>
                  <a:lnTo>
                    <a:pt x="407" y="18"/>
                  </a:lnTo>
                  <a:lnTo>
                    <a:pt x="412" y="14"/>
                  </a:lnTo>
                  <a:lnTo>
                    <a:pt x="412" y="9"/>
                  </a:lnTo>
                  <a:lnTo>
                    <a:pt x="416" y="9"/>
                  </a:lnTo>
                  <a:lnTo>
                    <a:pt x="421" y="9"/>
                  </a:lnTo>
                  <a:lnTo>
                    <a:pt x="421" y="5"/>
                  </a:lnTo>
                  <a:lnTo>
                    <a:pt x="425" y="5"/>
                  </a:lnTo>
                  <a:lnTo>
                    <a:pt x="430" y="5"/>
                  </a:lnTo>
                  <a:lnTo>
                    <a:pt x="430" y="0"/>
                  </a:lnTo>
                  <a:lnTo>
                    <a:pt x="430" y="0"/>
                  </a:lnTo>
                  <a:lnTo>
                    <a:pt x="434" y="0"/>
                  </a:lnTo>
                  <a:lnTo>
                    <a:pt x="439" y="0"/>
                  </a:lnTo>
                  <a:lnTo>
                    <a:pt x="444" y="0"/>
                  </a:lnTo>
                  <a:lnTo>
                    <a:pt x="453" y="0"/>
                  </a:lnTo>
                  <a:lnTo>
                    <a:pt x="453" y="0"/>
                  </a:lnTo>
                  <a:lnTo>
                    <a:pt x="457" y="5"/>
                  </a:lnTo>
                  <a:lnTo>
                    <a:pt x="462" y="9"/>
                  </a:lnTo>
                  <a:lnTo>
                    <a:pt x="476" y="18"/>
                  </a:lnTo>
                  <a:lnTo>
                    <a:pt x="476" y="18"/>
                  </a:lnTo>
                  <a:lnTo>
                    <a:pt x="476" y="18"/>
                  </a:lnTo>
                  <a:lnTo>
                    <a:pt x="476" y="23"/>
                  </a:lnTo>
                  <a:lnTo>
                    <a:pt x="476" y="27"/>
                  </a:lnTo>
                  <a:lnTo>
                    <a:pt x="480" y="32"/>
                  </a:lnTo>
                  <a:lnTo>
                    <a:pt x="480" y="37"/>
                  </a:lnTo>
                  <a:lnTo>
                    <a:pt x="485" y="37"/>
                  </a:lnTo>
                  <a:lnTo>
                    <a:pt x="480" y="41"/>
                  </a:lnTo>
                  <a:lnTo>
                    <a:pt x="485" y="46"/>
                  </a:lnTo>
                  <a:lnTo>
                    <a:pt x="485" y="50"/>
                  </a:lnTo>
                  <a:lnTo>
                    <a:pt x="489" y="55"/>
                  </a:lnTo>
                  <a:lnTo>
                    <a:pt x="494" y="55"/>
                  </a:lnTo>
                  <a:lnTo>
                    <a:pt x="494" y="60"/>
                  </a:lnTo>
                  <a:lnTo>
                    <a:pt x="498" y="60"/>
                  </a:lnTo>
                  <a:lnTo>
                    <a:pt x="498" y="60"/>
                  </a:lnTo>
                  <a:lnTo>
                    <a:pt x="503" y="64"/>
                  </a:lnTo>
                  <a:lnTo>
                    <a:pt x="503" y="64"/>
                  </a:lnTo>
                  <a:lnTo>
                    <a:pt x="508" y="64"/>
                  </a:lnTo>
                  <a:lnTo>
                    <a:pt x="508" y="69"/>
                  </a:lnTo>
                  <a:lnTo>
                    <a:pt x="512" y="69"/>
                  </a:lnTo>
                  <a:lnTo>
                    <a:pt x="517" y="78"/>
                  </a:lnTo>
                  <a:lnTo>
                    <a:pt x="517" y="82"/>
                  </a:lnTo>
                  <a:lnTo>
                    <a:pt x="521" y="82"/>
                  </a:lnTo>
                  <a:lnTo>
                    <a:pt x="521" y="82"/>
                  </a:lnTo>
                  <a:lnTo>
                    <a:pt x="526" y="87"/>
                  </a:lnTo>
                  <a:lnTo>
                    <a:pt x="530" y="87"/>
                  </a:lnTo>
                  <a:lnTo>
                    <a:pt x="535" y="92"/>
                  </a:lnTo>
                  <a:lnTo>
                    <a:pt x="540" y="92"/>
                  </a:lnTo>
                  <a:lnTo>
                    <a:pt x="540" y="96"/>
                  </a:lnTo>
                  <a:lnTo>
                    <a:pt x="544" y="96"/>
                  </a:lnTo>
                  <a:lnTo>
                    <a:pt x="549" y="101"/>
                  </a:lnTo>
                  <a:lnTo>
                    <a:pt x="553" y="101"/>
                  </a:lnTo>
                  <a:lnTo>
                    <a:pt x="558" y="101"/>
                  </a:lnTo>
                  <a:lnTo>
                    <a:pt x="562" y="101"/>
                  </a:lnTo>
                  <a:lnTo>
                    <a:pt x="562" y="96"/>
                  </a:lnTo>
                  <a:lnTo>
                    <a:pt x="567" y="92"/>
                  </a:lnTo>
                  <a:lnTo>
                    <a:pt x="567" y="87"/>
                  </a:lnTo>
                  <a:lnTo>
                    <a:pt x="576" y="82"/>
                  </a:lnTo>
                  <a:lnTo>
                    <a:pt x="585" y="82"/>
                  </a:lnTo>
                  <a:lnTo>
                    <a:pt x="585" y="78"/>
                  </a:lnTo>
                  <a:lnTo>
                    <a:pt x="585" y="78"/>
                  </a:lnTo>
                  <a:lnTo>
                    <a:pt x="585" y="73"/>
                  </a:lnTo>
                  <a:lnTo>
                    <a:pt x="590" y="73"/>
                  </a:lnTo>
                  <a:lnTo>
                    <a:pt x="594" y="73"/>
                  </a:lnTo>
                  <a:lnTo>
                    <a:pt x="594" y="69"/>
                  </a:lnTo>
                  <a:lnTo>
                    <a:pt x="599" y="69"/>
                  </a:lnTo>
                  <a:lnTo>
                    <a:pt x="608" y="64"/>
                  </a:lnTo>
                  <a:lnTo>
                    <a:pt x="608" y="69"/>
                  </a:lnTo>
                  <a:lnTo>
                    <a:pt x="613" y="73"/>
                  </a:lnTo>
                  <a:lnTo>
                    <a:pt x="617" y="78"/>
                  </a:lnTo>
                  <a:lnTo>
                    <a:pt x="617" y="82"/>
                  </a:lnTo>
                  <a:lnTo>
                    <a:pt x="617" y="82"/>
                  </a:lnTo>
                  <a:lnTo>
                    <a:pt x="617" y="87"/>
                  </a:lnTo>
                  <a:lnTo>
                    <a:pt x="613" y="87"/>
                  </a:lnTo>
                  <a:lnTo>
                    <a:pt x="613" y="92"/>
                  </a:lnTo>
                  <a:lnTo>
                    <a:pt x="608" y="96"/>
                  </a:lnTo>
                  <a:lnTo>
                    <a:pt x="594" y="105"/>
                  </a:lnTo>
                  <a:lnTo>
                    <a:pt x="590" y="105"/>
                  </a:lnTo>
                  <a:lnTo>
                    <a:pt x="585" y="105"/>
                  </a:lnTo>
                  <a:lnTo>
                    <a:pt x="585" y="110"/>
                  </a:lnTo>
                  <a:lnTo>
                    <a:pt x="585" y="114"/>
                  </a:lnTo>
                  <a:lnTo>
                    <a:pt x="576" y="119"/>
                  </a:lnTo>
                  <a:lnTo>
                    <a:pt x="572" y="128"/>
                  </a:lnTo>
                  <a:lnTo>
                    <a:pt x="567" y="128"/>
                  </a:lnTo>
                  <a:lnTo>
                    <a:pt x="567" y="133"/>
                  </a:lnTo>
                  <a:lnTo>
                    <a:pt x="562" y="137"/>
                  </a:lnTo>
                  <a:lnTo>
                    <a:pt x="562" y="142"/>
                  </a:lnTo>
                  <a:lnTo>
                    <a:pt x="562" y="142"/>
                  </a:lnTo>
                  <a:lnTo>
                    <a:pt x="562" y="146"/>
                  </a:lnTo>
                  <a:lnTo>
                    <a:pt x="562" y="151"/>
                  </a:lnTo>
                  <a:lnTo>
                    <a:pt x="558" y="151"/>
                  </a:lnTo>
                  <a:lnTo>
                    <a:pt x="553" y="151"/>
                  </a:lnTo>
                  <a:lnTo>
                    <a:pt x="553" y="156"/>
                  </a:lnTo>
                  <a:lnTo>
                    <a:pt x="553" y="160"/>
                  </a:lnTo>
                  <a:lnTo>
                    <a:pt x="553" y="165"/>
                  </a:lnTo>
                  <a:lnTo>
                    <a:pt x="553" y="169"/>
                  </a:lnTo>
                  <a:lnTo>
                    <a:pt x="553" y="174"/>
                  </a:lnTo>
                  <a:lnTo>
                    <a:pt x="553" y="183"/>
                  </a:lnTo>
                  <a:lnTo>
                    <a:pt x="553" y="188"/>
                  </a:lnTo>
                  <a:lnTo>
                    <a:pt x="553" y="192"/>
                  </a:lnTo>
                  <a:lnTo>
                    <a:pt x="558" y="197"/>
                  </a:lnTo>
                  <a:lnTo>
                    <a:pt x="558" y="201"/>
                  </a:lnTo>
                  <a:lnTo>
                    <a:pt x="562" y="206"/>
                  </a:lnTo>
                  <a:lnTo>
                    <a:pt x="562" y="210"/>
                  </a:lnTo>
                  <a:lnTo>
                    <a:pt x="562" y="215"/>
                  </a:lnTo>
                  <a:lnTo>
                    <a:pt x="562" y="215"/>
                  </a:lnTo>
                  <a:lnTo>
                    <a:pt x="562" y="215"/>
                  </a:lnTo>
                  <a:lnTo>
                    <a:pt x="562" y="220"/>
                  </a:lnTo>
                  <a:lnTo>
                    <a:pt x="567" y="220"/>
                  </a:lnTo>
                  <a:lnTo>
                    <a:pt x="572" y="229"/>
                  </a:lnTo>
                  <a:lnTo>
                    <a:pt x="576" y="238"/>
                  </a:lnTo>
                  <a:lnTo>
                    <a:pt x="581" y="238"/>
                  </a:lnTo>
                  <a:lnTo>
                    <a:pt x="581" y="242"/>
                  </a:lnTo>
                  <a:lnTo>
                    <a:pt x="585" y="247"/>
                  </a:lnTo>
                  <a:lnTo>
                    <a:pt x="585" y="252"/>
                  </a:lnTo>
                  <a:lnTo>
                    <a:pt x="585" y="256"/>
                  </a:lnTo>
                  <a:lnTo>
                    <a:pt x="590" y="261"/>
                  </a:lnTo>
                  <a:lnTo>
                    <a:pt x="590" y="261"/>
                  </a:lnTo>
                  <a:lnTo>
                    <a:pt x="594" y="261"/>
                  </a:lnTo>
                  <a:lnTo>
                    <a:pt x="594" y="265"/>
                  </a:lnTo>
                  <a:lnTo>
                    <a:pt x="599" y="274"/>
                  </a:lnTo>
                  <a:lnTo>
                    <a:pt x="604" y="284"/>
                  </a:lnTo>
                  <a:lnTo>
                    <a:pt x="608" y="288"/>
                  </a:lnTo>
                  <a:lnTo>
                    <a:pt x="608" y="293"/>
                  </a:lnTo>
                  <a:lnTo>
                    <a:pt x="608" y="297"/>
                  </a:lnTo>
                  <a:lnTo>
                    <a:pt x="613" y="302"/>
                  </a:lnTo>
                  <a:lnTo>
                    <a:pt x="617" y="306"/>
                  </a:lnTo>
                  <a:lnTo>
                    <a:pt x="617" y="311"/>
                  </a:lnTo>
                  <a:lnTo>
                    <a:pt x="622" y="320"/>
                  </a:lnTo>
                  <a:lnTo>
                    <a:pt x="626" y="320"/>
                  </a:lnTo>
                  <a:lnTo>
                    <a:pt x="626" y="325"/>
                  </a:lnTo>
                  <a:lnTo>
                    <a:pt x="626" y="329"/>
                  </a:lnTo>
                  <a:lnTo>
                    <a:pt x="636" y="334"/>
                  </a:lnTo>
                  <a:lnTo>
                    <a:pt x="640" y="338"/>
                  </a:lnTo>
                  <a:lnTo>
                    <a:pt x="640" y="343"/>
                  </a:lnTo>
                  <a:lnTo>
                    <a:pt x="649" y="348"/>
                  </a:lnTo>
                  <a:lnTo>
                    <a:pt x="649" y="348"/>
                  </a:lnTo>
                  <a:lnTo>
                    <a:pt x="649" y="352"/>
                  </a:lnTo>
                  <a:lnTo>
                    <a:pt x="654" y="357"/>
                  </a:lnTo>
                  <a:lnTo>
                    <a:pt x="658" y="361"/>
                  </a:lnTo>
                  <a:lnTo>
                    <a:pt x="663" y="361"/>
                  </a:lnTo>
                  <a:lnTo>
                    <a:pt x="668" y="366"/>
                  </a:lnTo>
                  <a:lnTo>
                    <a:pt x="672" y="370"/>
                  </a:lnTo>
                  <a:lnTo>
                    <a:pt x="672" y="370"/>
                  </a:lnTo>
                  <a:lnTo>
                    <a:pt x="672" y="375"/>
                  </a:lnTo>
                  <a:lnTo>
                    <a:pt x="672" y="380"/>
                  </a:lnTo>
                  <a:lnTo>
                    <a:pt x="677" y="384"/>
                  </a:lnTo>
                  <a:lnTo>
                    <a:pt x="677" y="389"/>
                  </a:lnTo>
                  <a:lnTo>
                    <a:pt x="681" y="393"/>
                  </a:lnTo>
                  <a:lnTo>
                    <a:pt x="677" y="398"/>
                  </a:lnTo>
                  <a:lnTo>
                    <a:pt x="681" y="407"/>
                  </a:lnTo>
                  <a:lnTo>
                    <a:pt x="681" y="412"/>
                  </a:lnTo>
                  <a:lnTo>
                    <a:pt x="681" y="412"/>
                  </a:lnTo>
                  <a:lnTo>
                    <a:pt x="686" y="412"/>
                  </a:lnTo>
                  <a:lnTo>
                    <a:pt x="690" y="421"/>
                  </a:lnTo>
                  <a:lnTo>
                    <a:pt x="695" y="425"/>
                  </a:lnTo>
                  <a:lnTo>
                    <a:pt x="700" y="430"/>
                  </a:lnTo>
                  <a:lnTo>
                    <a:pt x="709" y="434"/>
                  </a:lnTo>
                  <a:lnTo>
                    <a:pt x="704" y="434"/>
                  </a:lnTo>
                  <a:lnTo>
                    <a:pt x="700" y="434"/>
                  </a:lnTo>
                  <a:lnTo>
                    <a:pt x="695" y="439"/>
                  </a:lnTo>
                  <a:lnTo>
                    <a:pt x="695" y="444"/>
                  </a:lnTo>
                  <a:lnTo>
                    <a:pt x="695" y="448"/>
                  </a:lnTo>
                  <a:lnTo>
                    <a:pt x="695" y="457"/>
                  </a:lnTo>
                  <a:lnTo>
                    <a:pt x="695" y="466"/>
                  </a:lnTo>
                  <a:lnTo>
                    <a:pt x="690" y="466"/>
                  </a:lnTo>
                  <a:lnTo>
                    <a:pt x="686" y="471"/>
                  </a:lnTo>
                  <a:lnTo>
                    <a:pt x="681" y="471"/>
                  </a:lnTo>
                  <a:lnTo>
                    <a:pt x="677" y="476"/>
                  </a:lnTo>
                  <a:lnTo>
                    <a:pt x="672" y="476"/>
                  </a:lnTo>
                  <a:lnTo>
                    <a:pt x="672" y="480"/>
                  </a:lnTo>
                  <a:lnTo>
                    <a:pt x="668" y="480"/>
                  </a:lnTo>
                  <a:lnTo>
                    <a:pt x="658" y="480"/>
                  </a:lnTo>
                  <a:lnTo>
                    <a:pt x="654" y="480"/>
                  </a:lnTo>
                  <a:lnTo>
                    <a:pt x="654" y="480"/>
                  </a:lnTo>
                  <a:lnTo>
                    <a:pt x="649" y="485"/>
                  </a:lnTo>
                  <a:lnTo>
                    <a:pt x="649" y="489"/>
                  </a:lnTo>
                  <a:lnTo>
                    <a:pt x="649" y="489"/>
                  </a:lnTo>
                  <a:lnTo>
                    <a:pt x="649" y="494"/>
                  </a:lnTo>
                  <a:lnTo>
                    <a:pt x="649" y="498"/>
                  </a:lnTo>
                  <a:lnTo>
                    <a:pt x="645" y="498"/>
                  </a:lnTo>
                  <a:lnTo>
                    <a:pt x="640" y="498"/>
                  </a:lnTo>
                  <a:lnTo>
                    <a:pt x="636" y="498"/>
                  </a:lnTo>
                  <a:lnTo>
                    <a:pt x="631" y="503"/>
                  </a:lnTo>
                  <a:lnTo>
                    <a:pt x="626" y="503"/>
                  </a:lnTo>
                  <a:lnTo>
                    <a:pt x="626" y="508"/>
                  </a:lnTo>
                  <a:lnTo>
                    <a:pt x="626" y="512"/>
                  </a:lnTo>
                  <a:lnTo>
                    <a:pt x="622" y="512"/>
                  </a:lnTo>
                  <a:lnTo>
                    <a:pt x="622" y="508"/>
                  </a:lnTo>
                  <a:lnTo>
                    <a:pt x="622" y="503"/>
                  </a:lnTo>
                  <a:lnTo>
                    <a:pt x="617" y="498"/>
                  </a:lnTo>
                  <a:lnTo>
                    <a:pt x="617" y="494"/>
                  </a:lnTo>
                  <a:lnTo>
                    <a:pt x="617" y="489"/>
                  </a:lnTo>
                  <a:lnTo>
                    <a:pt x="613" y="485"/>
                  </a:lnTo>
                  <a:lnTo>
                    <a:pt x="613" y="480"/>
                  </a:lnTo>
                  <a:lnTo>
                    <a:pt x="608" y="480"/>
                  </a:lnTo>
                  <a:lnTo>
                    <a:pt x="608" y="480"/>
                  </a:lnTo>
                  <a:lnTo>
                    <a:pt x="608" y="480"/>
                  </a:lnTo>
                  <a:lnTo>
                    <a:pt x="608" y="480"/>
                  </a:lnTo>
                  <a:lnTo>
                    <a:pt x="604" y="480"/>
                  </a:lnTo>
                  <a:lnTo>
                    <a:pt x="599" y="480"/>
                  </a:lnTo>
                  <a:lnTo>
                    <a:pt x="594" y="476"/>
                  </a:lnTo>
                  <a:lnTo>
                    <a:pt x="590" y="471"/>
                  </a:lnTo>
                  <a:lnTo>
                    <a:pt x="585" y="471"/>
                  </a:lnTo>
                  <a:lnTo>
                    <a:pt x="585" y="471"/>
                  </a:lnTo>
                  <a:lnTo>
                    <a:pt x="581" y="476"/>
                  </a:lnTo>
                  <a:lnTo>
                    <a:pt x="576" y="476"/>
                  </a:lnTo>
                  <a:lnTo>
                    <a:pt x="572" y="480"/>
                  </a:lnTo>
                  <a:lnTo>
                    <a:pt x="572" y="480"/>
                  </a:lnTo>
                  <a:lnTo>
                    <a:pt x="567" y="485"/>
                  </a:lnTo>
                  <a:lnTo>
                    <a:pt x="562" y="485"/>
                  </a:lnTo>
                  <a:lnTo>
                    <a:pt x="562" y="489"/>
                  </a:lnTo>
                  <a:lnTo>
                    <a:pt x="562" y="494"/>
                  </a:lnTo>
                  <a:lnTo>
                    <a:pt x="558" y="494"/>
                  </a:lnTo>
                  <a:lnTo>
                    <a:pt x="558" y="498"/>
                  </a:lnTo>
                  <a:lnTo>
                    <a:pt x="558" y="503"/>
                  </a:lnTo>
                  <a:lnTo>
                    <a:pt x="562" y="503"/>
                  </a:lnTo>
                  <a:lnTo>
                    <a:pt x="562" y="503"/>
                  </a:lnTo>
                  <a:lnTo>
                    <a:pt x="558" y="508"/>
                  </a:lnTo>
                  <a:lnTo>
                    <a:pt x="553" y="512"/>
                  </a:lnTo>
                  <a:lnTo>
                    <a:pt x="549" y="512"/>
                  </a:lnTo>
                  <a:lnTo>
                    <a:pt x="544" y="512"/>
                  </a:lnTo>
                  <a:lnTo>
                    <a:pt x="540" y="517"/>
                  </a:lnTo>
                  <a:lnTo>
                    <a:pt x="535" y="517"/>
                  </a:lnTo>
                  <a:lnTo>
                    <a:pt x="530" y="517"/>
                  </a:lnTo>
                  <a:lnTo>
                    <a:pt x="526" y="517"/>
                  </a:lnTo>
                  <a:lnTo>
                    <a:pt x="521" y="512"/>
                  </a:lnTo>
                  <a:lnTo>
                    <a:pt x="521" y="508"/>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0" name="Freeform 37">
              <a:extLst>
                <a:ext uri="{FF2B5EF4-FFF2-40B4-BE49-F238E27FC236}">
                  <a16:creationId xmlns:a16="http://schemas.microsoft.com/office/drawing/2014/main" id="{9ED13C30-B56F-46BD-ACC5-E082D693D04C}"/>
                </a:ext>
              </a:extLst>
            </p:cNvPr>
            <p:cNvSpPr>
              <a:spLocks/>
            </p:cNvSpPr>
            <p:nvPr>
              <p:custDataLst>
                <p:tags r:id="rId32"/>
              </p:custDataLst>
            </p:nvPr>
          </p:nvSpPr>
          <p:spPr bwMode="auto">
            <a:xfrm>
              <a:off x="2095415" y="2160331"/>
              <a:ext cx="690067" cy="772298"/>
            </a:xfrm>
            <a:custGeom>
              <a:avLst/>
              <a:gdLst/>
              <a:ahLst/>
              <a:cxnLst>
                <a:cxn ang="0">
                  <a:pos x="137" y="508"/>
                </a:cxn>
                <a:cxn ang="0">
                  <a:pos x="87" y="485"/>
                </a:cxn>
                <a:cxn ang="0">
                  <a:pos x="41" y="439"/>
                </a:cxn>
                <a:cxn ang="0">
                  <a:pos x="50" y="412"/>
                </a:cxn>
                <a:cxn ang="0">
                  <a:pos x="41" y="389"/>
                </a:cxn>
                <a:cxn ang="0">
                  <a:pos x="9" y="361"/>
                </a:cxn>
                <a:cxn ang="0">
                  <a:pos x="0" y="320"/>
                </a:cxn>
                <a:cxn ang="0">
                  <a:pos x="14" y="274"/>
                </a:cxn>
                <a:cxn ang="0">
                  <a:pos x="18" y="238"/>
                </a:cxn>
                <a:cxn ang="0">
                  <a:pos x="23" y="178"/>
                </a:cxn>
                <a:cxn ang="0">
                  <a:pos x="41" y="146"/>
                </a:cxn>
                <a:cxn ang="0">
                  <a:pos x="41" y="87"/>
                </a:cxn>
                <a:cxn ang="0">
                  <a:pos x="64" y="64"/>
                </a:cxn>
                <a:cxn ang="0">
                  <a:pos x="82" y="18"/>
                </a:cxn>
                <a:cxn ang="0">
                  <a:pos x="96" y="9"/>
                </a:cxn>
                <a:cxn ang="0">
                  <a:pos x="137" y="18"/>
                </a:cxn>
                <a:cxn ang="0">
                  <a:pos x="146" y="55"/>
                </a:cxn>
                <a:cxn ang="0">
                  <a:pos x="155" y="82"/>
                </a:cxn>
                <a:cxn ang="0">
                  <a:pos x="155" y="146"/>
                </a:cxn>
                <a:cxn ang="0">
                  <a:pos x="192" y="133"/>
                </a:cxn>
                <a:cxn ang="0">
                  <a:pos x="238" y="151"/>
                </a:cxn>
                <a:cxn ang="0">
                  <a:pos x="247" y="183"/>
                </a:cxn>
                <a:cxn ang="0">
                  <a:pos x="238" y="215"/>
                </a:cxn>
                <a:cxn ang="0">
                  <a:pos x="238" y="256"/>
                </a:cxn>
                <a:cxn ang="0">
                  <a:pos x="265" y="261"/>
                </a:cxn>
                <a:cxn ang="0">
                  <a:pos x="283" y="297"/>
                </a:cxn>
                <a:cxn ang="0">
                  <a:pos x="347" y="320"/>
                </a:cxn>
                <a:cxn ang="0">
                  <a:pos x="425" y="316"/>
                </a:cxn>
                <a:cxn ang="0">
                  <a:pos x="457" y="302"/>
                </a:cxn>
                <a:cxn ang="0">
                  <a:pos x="494" y="270"/>
                </a:cxn>
                <a:cxn ang="0">
                  <a:pos x="494" y="247"/>
                </a:cxn>
                <a:cxn ang="0">
                  <a:pos x="480" y="229"/>
                </a:cxn>
                <a:cxn ang="0">
                  <a:pos x="512" y="215"/>
                </a:cxn>
                <a:cxn ang="0">
                  <a:pos x="544" y="229"/>
                </a:cxn>
                <a:cxn ang="0">
                  <a:pos x="590" y="247"/>
                </a:cxn>
                <a:cxn ang="0">
                  <a:pos x="635" y="265"/>
                </a:cxn>
                <a:cxn ang="0">
                  <a:pos x="677" y="284"/>
                </a:cxn>
                <a:cxn ang="0">
                  <a:pos x="709" y="302"/>
                </a:cxn>
                <a:cxn ang="0">
                  <a:pos x="754" y="338"/>
                </a:cxn>
                <a:cxn ang="0">
                  <a:pos x="754" y="366"/>
                </a:cxn>
                <a:cxn ang="0">
                  <a:pos x="754" y="421"/>
                </a:cxn>
                <a:cxn ang="0">
                  <a:pos x="782" y="503"/>
                </a:cxn>
                <a:cxn ang="0">
                  <a:pos x="791" y="531"/>
                </a:cxn>
                <a:cxn ang="0">
                  <a:pos x="768" y="558"/>
                </a:cxn>
                <a:cxn ang="0">
                  <a:pos x="704" y="567"/>
                </a:cxn>
                <a:cxn ang="0">
                  <a:pos x="677" y="595"/>
                </a:cxn>
                <a:cxn ang="0">
                  <a:pos x="635" y="631"/>
                </a:cxn>
                <a:cxn ang="0">
                  <a:pos x="608" y="654"/>
                </a:cxn>
                <a:cxn ang="0">
                  <a:pos x="590" y="677"/>
                </a:cxn>
                <a:cxn ang="0">
                  <a:pos x="567" y="691"/>
                </a:cxn>
                <a:cxn ang="0">
                  <a:pos x="549" y="704"/>
                </a:cxn>
                <a:cxn ang="0">
                  <a:pos x="526" y="723"/>
                </a:cxn>
                <a:cxn ang="0">
                  <a:pos x="498" y="741"/>
                </a:cxn>
                <a:cxn ang="0">
                  <a:pos x="466" y="755"/>
                </a:cxn>
                <a:cxn ang="0">
                  <a:pos x="430" y="764"/>
                </a:cxn>
                <a:cxn ang="0">
                  <a:pos x="361" y="741"/>
                </a:cxn>
                <a:cxn ang="0">
                  <a:pos x="261" y="723"/>
                </a:cxn>
                <a:cxn ang="0">
                  <a:pos x="192" y="723"/>
                </a:cxn>
                <a:cxn ang="0">
                  <a:pos x="151" y="704"/>
                </a:cxn>
                <a:cxn ang="0">
                  <a:pos x="128" y="654"/>
                </a:cxn>
                <a:cxn ang="0">
                  <a:pos x="137" y="595"/>
                </a:cxn>
                <a:cxn ang="0">
                  <a:pos x="174" y="544"/>
                </a:cxn>
              </a:cxnLst>
              <a:rect l="0" t="0" r="r" b="b"/>
              <a:pathLst>
                <a:path w="791" h="764">
                  <a:moveTo>
                    <a:pt x="178" y="503"/>
                  </a:moveTo>
                  <a:lnTo>
                    <a:pt x="174" y="503"/>
                  </a:lnTo>
                  <a:lnTo>
                    <a:pt x="174" y="503"/>
                  </a:lnTo>
                  <a:lnTo>
                    <a:pt x="169" y="503"/>
                  </a:lnTo>
                  <a:lnTo>
                    <a:pt x="160" y="503"/>
                  </a:lnTo>
                  <a:lnTo>
                    <a:pt x="151" y="503"/>
                  </a:lnTo>
                  <a:lnTo>
                    <a:pt x="146" y="503"/>
                  </a:lnTo>
                  <a:lnTo>
                    <a:pt x="137" y="508"/>
                  </a:lnTo>
                  <a:lnTo>
                    <a:pt x="128" y="508"/>
                  </a:lnTo>
                  <a:lnTo>
                    <a:pt x="128" y="508"/>
                  </a:lnTo>
                  <a:lnTo>
                    <a:pt x="119" y="503"/>
                  </a:lnTo>
                  <a:lnTo>
                    <a:pt x="105" y="503"/>
                  </a:lnTo>
                  <a:lnTo>
                    <a:pt x="91" y="503"/>
                  </a:lnTo>
                  <a:lnTo>
                    <a:pt x="87" y="503"/>
                  </a:lnTo>
                  <a:lnTo>
                    <a:pt x="87" y="494"/>
                  </a:lnTo>
                  <a:lnTo>
                    <a:pt x="87" y="485"/>
                  </a:lnTo>
                  <a:lnTo>
                    <a:pt x="82" y="480"/>
                  </a:lnTo>
                  <a:lnTo>
                    <a:pt x="78" y="480"/>
                  </a:lnTo>
                  <a:lnTo>
                    <a:pt x="78" y="462"/>
                  </a:lnTo>
                  <a:lnTo>
                    <a:pt x="73" y="453"/>
                  </a:lnTo>
                  <a:lnTo>
                    <a:pt x="73" y="444"/>
                  </a:lnTo>
                  <a:lnTo>
                    <a:pt x="59" y="444"/>
                  </a:lnTo>
                  <a:lnTo>
                    <a:pt x="50" y="444"/>
                  </a:lnTo>
                  <a:lnTo>
                    <a:pt x="41" y="439"/>
                  </a:lnTo>
                  <a:lnTo>
                    <a:pt x="41" y="434"/>
                  </a:lnTo>
                  <a:lnTo>
                    <a:pt x="41" y="434"/>
                  </a:lnTo>
                  <a:lnTo>
                    <a:pt x="41" y="430"/>
                  </a:lnTo>
                  <a:lnTo>
                    <a:pt x="41" y="425"/>
                  </a:lnTo>
                  <a:lnTo>
                    <a:pt x="46" y="421"/>
                  </a:lnTo>
                  <a:lnTo>
                    <a:pt x="46" y="416"/>
                  </a:lnTo>
                  <a:lnTo>
                    <a:pt x="50" y="412"/>
                  </a:lnTo>
                  <a:lnTo>
                    <a:pt x="50" y="412"/>
                  </a:lnTo>
                  <a:lnTo>
                    <a:pt x="55" y="407"/>
                  </a:lnTo>
                  <a:lnTo>
                    <a:pt x="55" y="402"/>
                  </a:lnTo>
                  <a:lnTo>
                    <a:pt x="55" y="398"/>
                  </a:lnTo>
                  <a:lnTo>
                    <a:pt x="50" y="393"/>
                  </a:lnTo>
                  <a:lnTo>
                    <a:pt x="46" y="393"/>
                  </a:lnTo>
                  <a:lnTo>
                    <a:pt x="46" y="389"/>
                  </a:lnTo>
                  <a:lnTo>
                    <a:pt x="41" y="389"/>
                  </a:lnTo>
                  <a:lnTo>
                    <a:pt x="41" y="389"/>
                  </a:lnTo>
                  <a:lnTo>
                    <a:pt x="41" y="384"/>
                  </a:lnTo>
                  <a:lnTo>
                    <a:pt x="37" y="384"/>
                  </a:lnTo>
                  <a:lnTo>
                    <a:pt x="32" y="384"/>
                  </a:lnTo>
                  <a:lnTo>
                    <a:pt x="32" y="380"/>
                  </a:lnTo>
                  <a:lnTo>
                    <a:pt x="27" y="380"/>
                  </a:lnTo>
                  <a:lnTo>
                    <a:pt x="18" y="370"/>
                  </a:lnTo>
                  <a:lnTo>
                    <a:pt x="14" y="361"/>
                  </a:lnTo>
                  <a:lnTo>
                    <a:pt x="9" y="361"/>
                  </a:lnTo>
                  <a:lnTo>
                    <a:pt x="9" y="357"/>
                  </a:lnTo>
                  <a:lnTo>
                    <a:pt x="5" y="352"/>
                  </a:lnTo>
                  <a:lnTo>
                    <a:pt x="5" y="348"/>
                  </a:lnTo>
                  <a:lnTo>
                    <a:pt x="0" y="348"/>
                  </a:lnTo>
                  <a:lnTo>
                    <a:pt x="0" y="343"/>
                  </a:lnTo>
                  <a:lnTo>
                    <a:pt x="0" y="338"/>
                  </a:lnTo>
                  <a:lnTo>
                    <a:pt x="0" y="329"/>
                  </a:lnTo>
                  <a:lnTo>
                    <a:pt x="0" y="320"/>
                  </a:lnTo>
                  <a:lnTo>
                    <a:pt x="0" y="311"/>
                  </a:lnTo>
                  <a:lnTo>
                    <a:pt x="0" y="306"/>
                  </a:lnTo>
                  <a:lnTo>
                    <a:pt x="0" y="302"/>
                  </a:lnTo>
                  <a:lnTo>
                    <a:pt x="5" y="297"/>
                  </a:lnTo>
                  <a:lnTo>
                    <a:pt x="5" y="293"/>
                  </a:lnTo>
                  <a:lnTo>
                    <a:pt x="9" y="284"/>
                  </a:lnTo>
                  <a:lnTo>
                    <a:pt x="14" y="279"/>
                  </a:lnTo>
                  <a:lnTo>
                    <a:pt x="14" y="274"/>
                  </a:lnTo>
                  <a:lnTo>
                    <a:pt x="14" y="270"/>
                  </a:lnTo>
                  <a:lnTo>
                    <a:pt x="18" y="265"/>
                  </a:lnTo>
                  <a:lnTo>
                    <a:pt x="18" y="261"/>
                  </a:lnTo>
                  <a:lnTo>
                    <a:pt x="18" y="261"/>
                  </a:lnTo>
                  <a:lnTo>
                    <a:pt x="18" y="256"/>
                  </a:lnTo>
                  <a:lnTo>
                    <a:pt x="18" y="247"/>
                  </a:lnTo>
                  <a:lnTo>
                    <a:pt x="18" y="242"/>
                  </a:lnTo>
                  <a:lnTo>
                    <a:pt x="18" y="238"/>
                  </a:lnTo>
                  <a:lnTo>
                    <a:pt x="18" y="233"/>
                  </a:lnTo>
                  <a:lnTo>
                    <a:pt x="18" y="229"/>
                  </a:lnTo>
                  <a:lnTo>
                    <a:pt x="18" y="206"/>
                  </a:lnTo>
                  <a:lnTo>
                    <a:pt x="18" y="201"/>
                  </a:lnTo>
                  <a:lnTo>
                    <a:pt x="18" y="192"/>
                  </a:lnTo>
                  <a:lnTo>
                    <a:pt x="23" y="188"/>
                  </a:lnTo>
                  <a:lnTo>
                    <a:pt x="23" y="183"/>
                  </a:lnTo>
                  <a:lnTo>
                    <a:pt x="23" y="178"/>
                  </a:lnTo>
                  <a:lnTo>
                    <a:pt x="32" y="174"/>
                  </a:lnTo>
                  <a:lnTo>
                    <a:pt x="32" y="169"/>
                  </a:lnTo>
                  <a:lnTo>
                    <a:pt x="32" y="165"/>
                  </a:lnTo>
                  <a:lnTo>
                    <a:pt x="32" y="160"/>
                  </a:lnTo>
                  <a:lnTo>
                    <a:pt x="37" y="160"/>
                  </a:lnTo>
                  <a:lnTo>
                    <a:pt x="37" y="151"/>
                  </a:lnTo>
                  <a:lnTo>
                    <a:pt x="41" y="151"/>
                  </a:lnTo>
                  <a:lnTo>
                    <a:pt x="41" y="146"/>
                  </a:lnTo>
                  <a:lnTo>
                    <a:pt x="41" y="142"/>
                  </a:lnTo>
                  <a:lnTo>
                    <a:pt x="41" y="137"/>
                  </a:lnTo>
                  <a:lnTo>
                    <a:pt x="41" y="133"/>
                  </a:lnTo>
                  <a:lnTo>
                    <a:pt x="41" y="128"/>
                  </a:lnTo>
                  <a:lnTo>
                    <a:pt x="41" y="124"/>
                  </a:lnTo>
                  <a:lnTo>
                    <a:pt x="41" y="105"/>
                  </a:lnTo>
                  <a:lnTo>
                    <a:pt x="41" y="96"/>
                  </a:lnTo>
                  <a:lnTo>
                    <a:pt x="41" y="87"/>
                  </a:lnTo>
                  <a:lnTo>
                    <a:pt x="41" y="82"/>
                  </a:lnTo>
                  <a:lnTo>
                    <a:pt x="41" y="78"/>
                  </a:lnTo>
                  <a:lnTo>
                    <a:pt x="46" y="73"/>
                  </a:lnTo>
                  <a:lnTo>
                    <a:pt x="50" y="69"/>
                  </a:lnTo>
                  <a:lnTo>
                    <a:pt x="55" y="64"/>
                  </a:lnTo>
                  <a:lnTo>
                    <a:pt x="59" y="64"/>
                  </a:lnTo>
                  <a:lnTo>
                    <a:pt x="59" y="64"/>
                  </a:lnTo>
                  <a:lnTo>
                    <a:pt x="64" y="64"/>
                  </a:lnTo>
                  <a:lnTo>
                    <a:pt x="64" y="60"/>
                  </a:lnTo>
                  <a:lnTo>
                    <a:pt x="69" y="55"/>
                  </a:lnTo>
                  <a:lnTo>
                    <a:pt x="73" y="50"/>
                  </a:lnTo>
                  <a:lnTo>
                    <a:pt x="73" y="46"/>
                  </a:lnTo>
                  <a:lnTo>
                    <a:pt x="78" y="41"/>
                  </a:lnTo>
                  <a:lnTo>
                    <a:pt x="82" y="37"/>
                  </a:lnTo>
                  <a:lnTo>
                    <a:pt x="82" y="32"/>
                  </a:lnTo>
                  <a:lnTo>
                    <a:pt x="82" y="18"/>
                  </a:lnTo>
                  <a:lnTo>
                    <a:pt x="82" y="14"/>
                  </a:lnTo>
                  <a:lnTo>
                    <a:pt x="82" y="5"/>
                  </a:lnTo>
                  <a:lnTo>
                    <a:pt x="78" y="0"/>
                  </a:lnTo>
                  <a:lnTo>
                    <a:pt x="82" y="0"/>
                  </a:lnTo>
                  <a:lnTo>
                    <a:pt x="87" y="0"/>
                  </a:lnTo>
                  <a:lnTo>
                    <a:pt x="87" y="0"/>
                  </a:lnTo>
                  <a:lnTo>
                    <a:pt x="91" y="5"/>
                  </a:lnTo>
                  <a:lnTo>
                    <a:pt x="96" y="9"/>
                  </a:lnTo>
                  <a:lnTo>
                    <a:pt x="110" y="14"/>
                  </a:lnTo>
                  <a:lnTo>
                    <a:pt x="110" y="14"/>
                  </a:lnTo>
                  <a:lnTo>
                    <a:pt x="114" y="14"/>
                  </a:lnTo>
                  <a:lnTo>
                    <a:pt x="119" y="14"/>
                  </a:lnTo>
                  <a:lnTo>
                    <a:pt x="123" y="14"/>
                  </a:lnTo>
                  <a:lnTo>
                    <a:pt x="128" y="14"/>
                  </a:lnTo>
                  <a:lnTo>
                    <a:pt x="133" y="18"/>
                  </a:lnTo>
                  <a:lnTo>
                    <a:pt x="137" y="18"/>
                  </a:lnTo>
                  <a:lnTo>
                    <a:pt x="137" y="18"/>
                  </a:lnTo>
                  <a:lnTo>
                    <a:pt x="142" y="23"/>
                  </a:lnTo>
                  <a:lnTo>
                    <a:pt x="146" y="28"/>
                  </a:lnTo>
                  <a:lnTo>
                    <a:pt x="146" y="32"/>
                  </a:lnTo>
                  <a:lnTo>
                    <a:pt x="146" y="41"/>
                  </a:lnTo>
                  <a:lnTo>
                    <a:pt x="146" y="46"/>
                  </a:lnTo>
                  <a:lnTo>
                    <a:pt x="146" y="50"/>
                  </a:lnTo>
                  <a:lnTo>
                    <a:pt x="146" y="55"/>
                  </a:lnTo>
                  <a:lnTo>
                    <a:pt x="146" y="60"/>
                  </a:lnTo>
                  <a:lnTo>
                    <a:pt x="151" y="64"/>
                  </a:lnTo>
                  <a:lnTo>
                    <a:pt x="151" y="64"/>
                  </a:lnTo>
                  <a:lnTo>
                    <a:pt x="151" y="69"/>
                  </a:lnTo>
                  <a:lnTo>
                    <a:pt x="151" y="73"/>
                  </a:lnTo>
                  <a:lnTo>
                    <a:pt x="151" y="78"/>
                  </a:lnTo>
                  <a:lnTo>
                    <a:pt x="155" y="82"/>
                  </a:lnTo>
                  <a:lnTo>
                    <a:pt x="155" y="82"/>
                  </a:lnTo>
                  <a:lnTo>
                    <a:pt x="155" y="87"/>
                  </a:lnTo>
                  <a:lnTo>
                    <a:pt x="155" y="96"/>
                  </a:lnTo>
                  <a:lnTo>
                    <a:pt x="155" y="101"/>
                  </a:lnTo>
                  <a:lnTo>
                    <a:pt x="155" y="105"/>
                  </a:lnTo>
                  <a:lnTo>
                    <a:pt x="155" y="119"/>
                  </a:lnTo>
                  <a:lnTo>
                    <a:pt x="155" y="133"/>
                  </a:lnTo>
                  <a:lnTo>
                    <a:pt x="155" y="137"/>
                  </a:lnTo>
                  <a:lnTo>
                    <a:pt x="155" y="146"/>
                  </a:lnTo>
                  <a:lnTo>
                    <a:pt x="160" y="151"/>
                  </a:lnTo>
                  <a:lnTo>
                    <a:pt x="160" y="151"/>
                  </a:lnTo>
                  <a:lnTo>
                    <a:pt x="165" y="151"/>
                  </a:lnTo>
                  <a:lnTo>
                    <a:pt x="169" y="151"/>
                  </a:lnTo>
                  <a:lnTo>
                    <a:pt x="174" y="146"/>
                  </a:lnTo>
                  <a:lnTo>
                    <a:pt x="183" y="142"/>
                  </a:lnTo>
                  <a:lnTo>
                    <a:pt x="187" y="137"/>
                  </a:lnTo>
                  <a:lnTo>
                    <a:pt x="192" y="133"/>
                  </a:lnTo>
                  <a:lnTo>
                    <a:pt x="192" y="133"/>
                  </a:lnTo>
                  <a:lnTo>
                    <a:pt x="197" y="133"/>
                  </a:lnTo>
                  <a:lnTo>
                    <a:pt x="206" y="133"/>
                  </a:lnTo>
                  <a:lnTo>
                    <a:pt x="219" y="137"/>
                  </a:lnTo>
                  <a:lnTo>
                    <a:pt x="219" y="137"/>
                  </a:lnTo>
                  <a:lnTo>
                    <a:pt x="224" y="142"/>
                  </a:lnTo>
                  <a:lnTo>
                    <a:pt x="233" y="151"/>
                  </a:lnTo>
                  <a:lnTo>
                    <a:pt x="238" y="151"/>
                  </a:lnTo>
                  <a:lnTo>
                    <a:pt x="238" y="156"/>
                  </a:lnTo>
                  <a:lnTo>
                    <a:pt x="238" y="165"/>
                  </a:lnTo>
                  <a:lnTo>
                    <a:pt x="242" y="169"/>
                  </a:lnTo>
                  <a:lnTo>
                    <a:pt x="242" y="174"/>
                  </a:lnTo>
                  <a:lnTo>
                    <a:pt x="242" y="174"/>
                  </a:lnTo>
                  <a:lnTo>
                    <a:pt x="247" y="174"/>
                  </a:lnTo>
                  <a:lnTo>
                    <a:pt x="247" y="178"/>
                  </a:lnTo>
                  <a:lnTo>
                    <a:pt x="247" y="183"/>
                  </a:lnTo>
                  <a:lnTo>
                    <a:pt x="247" y="188"/>
                  </a:lnTo>
                  <a:lnTo>
                    <a:pt x="247" y="192"/>
                  </a:lnTo>
                  <a:lnTo>
                    <a:pt x="242" y="201"/>
                  </a:lnTo>
                  <a:lnTo>
                    <a:pt x="242" y="206"/>
                  </a:lnTo>
                  <a:lnTo>
                    <a:pt x="238" y="210"/>
                  </a:lnTo>
                  <a:lnTo>
                    <a:pt x="238" y="215"/>
                  </a:lnTo>
                  <a:lnTo>
                    <a:pt x="238" y="215"/>
                  </a:lnTo>
                  <a:lnTo>
                    <a:pt x="238" y="215"/>
                  </a:lnTo>
                  <a:lnTo>
                    <a:pt x="233" y="220"/>
                  </a:lnTo>
                  <a:lnTo>
                    <a:pt x="229" y="233"/>
                  </a:lnTo>
                  <a:lnTo>
                    <a:pt x="229" y="238"/>
                  </a:lnTo>
                  <a:lnTo>
                    <a:pt x="229" y="238"/>
                  </a:lnTo>
                  <a:lnTo>
                    <a:pt x="233" y="247"/>
                  </a:lnTo>
                  <a:lnTo>
                    <a:pt x="233" y="252"/>
                  </a:lnTo>
                  <a:lnTo>
                    <a:pt x="238" y="256"/>
                  </a:lnTo>
                  <a:lnTo>
                    <a:pt x="238" y="256"/>
                  </a:lnTo>
                  <a:lnTo>
                    <a:pt x="242" y="256"/>
                  </a:lnTo>
                  <a:lnTo>
                    <a:pt x="247" y="256"/>
                  </a:lnTo>
                  <a:lnTo>
                    <a:pt x="251" y="256"/>
                  </a:lnTo>
                  <a:lnTo>
                    <a:pt x="256" y="256"/>
                  </a:lnTo>
                  <a:lnTo>
                    <a:pt x="256" y="261"/>
                  </a:lnTo>
                  <a:lnTo>
                    <a:pt x="261" y="261"/>
                  </a:lnTo>
                  <a:lnTo>
                    <a:pt x="261" y="261"/>
                  </a:lnTo>
                  <a:lnTo>
                    <a:pt x="265" y="261"/>
                  </a:lnTo>
                  <a:lnTo>
                    <a:pt x="270" y="270"/>
                  </a:lnTo>
                  <a:lnTo>
                    <a:pt x="274" y="274"/>
                  </a:lnTo>
                  <a:lnTo>
                    <a:pt x="274" y="279"/>
                  </a:lnTo>
                  <a:lnTo>
                    <a:pt x="274" y="284"/>
                  </a:lnTo>
                  <a:lnTo>
                    <a:pt x="279" y="284"/>
                  </a:lnTo>
                  <a:lnTo>
                    <a:pt x="283" y="288"/>
                  </a:lnTo>
                  <a:lnTo>
                    <a:pt x="283" y="293"/>
                  </a:lnTo>
                  <a:lnTo>
                    <a:pt x="283" y="297"/>
                  </a:lnTo>
                  <a:lnTo>
                    <a:pt x="288" y="297"/>
                  </a:lnTo>
                  <a:lnTo>
                    <a:pt x="288" y="302"/>
                  </a:lnTo>
                  <a:lnTo>
                    <a:pt x="293" y="302"/>
                  </a:lnTo>
                  <a:lnTo>
                    <a:pt x="297" y="302"/>
                  </a:lnTo>
                  <a:lnTo>
                    <a:pt x="302" y="302"/>
                  </a:lnTo>
                  <a:lnTo>
                    <a:pt x="306" y="306"/>
                  </a:lnTo>
                  <a:lnTo>
                    <a:pt x="315" y="311"/>
                  </a:lnTo>
                  <a:lnTo>
                    <a:pt x="347" y="320"/>
                  </a:lnTo>
                  <a:lnTo>
                    <a:pt x="347" y="320"/>
                  </a:lnTo>
                  <a:lnTo>
                    <a:pt x="352" y="320"/>
                  </a:lnTo>
                  <a:lnTo>
                    <a:pt x="366" y="320"/>
                  </a:lnTo>
                  <a:lnTo>
                    <a:pt x="370" y="320"/>
                  </a:lnTo>
                  <a:lnTo>
                    <a:pt x="393" y="320"/>
                  </a:lnTo>
                  <a:lnTo>
                    <a:pt x="393" y="320"/>
                  </a:lnTo>
                  <a:lnTo>
                    <a:pt x="411" y="320"/>
                  </a:lnTo>
                  <a:lnTo>
                    <a:pt x="425" y="316"/>
                  </a:lnTo>
                  <a:lnTo>
                    <a:pt x="430" y="316"/>
                  </a:lnTo>
                  <a:lnTo>
                    <a:pt x="439" y="311"/>
                  </a:lnTo>
                  <a:lnTo>
                    <a:pt x="443" y="311"/>
                  </a:lnTo>
                  <a:lnTo>
                    <a:pt x="443" y="306"/>
                  </a:lnTo>
                  <a:lnTo>
                    <a:pt x="448" y="306"/>
                  </a:lnTo>
                  <a:lnTo>
                    <a:pt x="453" y="302"/>
                  </a:lnTo>
                  <a:lnTo>
                    <a:pt x="453" y="302"/>
                  </a:lnTo>
                  <a:lnTo>
                    <a:pt x="457" y="302"/>
                  </a:lnTo>
                  <a:lnTo>
                    <a:pt x="457" y="297"/>
                  </a:lnTo>
                  <a:lnTo>
                    <a:pt x="457" y="288"/>
                  </a:lnTo>
                  <a:lnTo>
                    <a:pt x="457" y="284"/>
                  </a:lnTo>
                  <a:lnTo>
                    <a:pt x="462" y="284"/>
                  </a:lnTo>
                  <a:lnTo>
                    <a:pt x="466" y="279"/>
                  </a:lnTo>
                  <a:lnTo>
                    <a:pt x="475" y="274"/>
                  </a:lnTo>
                  <a:lnTo>
                    <a:pt x="480" y="274"/>
                  </a:lnTo>
                  <a:lnTo>
                    <a:pt x="494" y="270"/>
                  </a:lnTo>
                  <a:lnTo>
                    <a:pt x="498" y="270"/>
                  </a:lnTo>
                  <a:lnTo>
                    <a:pt x="503" y="265"/>
                  </a:lnTo>
                  <a:lnTo>
                    <a:pt x="503" y="261"/>
                  </a:lnTo>
                  <a:lnTo>
                    <a:pt x="503" y="261"/>
                  </a:lnTo>
                  <a:lnTo>
                    <a:pt x="503" y="256"/>
                  </a:lnTo>
                  <a:lnTo>
                    <a:pt x="498" y="252"/>
                  </a:lnTo>
                  <a:lnTo>
                    <a:pt x="498" y="247"/>
                  </a:lnTo>
                  <a:lnTo>
                    <a:pt x="494" y="247"/>
                  </a:lnTo>
                  <a:lnTo>
                    <a:pt x="494" y="242"/>
                  </a:lnTo>
                  <a:lnTo>
                    <a:pt x="489" y="242"/>
                  </a:lnTo>
                  <a:lnTo>
                    <a:pt x="489" y="238"/>
                  </a:lnTo>
                  <a:lnTo>
                    <a:pt x="485" y="238"/>
                  </a:lnTo>
                  <a:lnTo>
                    <a:pt x="485" y="238"/>
                  </a:lnTo>
                  <a:lnTo>
                    <a:pt x="480" y="238"/>
                  </a:lnTo>
                  <a:lnTo>
                    <a:pt x="480" y="233"/>
                  </a:lnTo>
                  <a:lnTo>
                    <a:pt x="480" y="229"/>
                  </a:lnTo>
                  <a:lnTo>
                    <a:pt x="480" y="224"/>
                  </a:lnTo>
                  <a:lnTo>
                    <a:pt x="480" y="220"/>
                  </a:lnTo>
                  <a:lnTo>
                    <a:pt x="485" y="215"/>
                  </a:lnTo>
                  <a:lnTo>
                    <a:pt x="489" y="215"/>
                  </a:lnTo>
                  <a:lnTo>
                    <a:pt x="494" y="215"/>
                  </a:lnTo>
                  <a:lnTo>
                    <a:pt x="503" y="215"/>
                  </a:lnTo>
                  <a:lnTo>
                    <a:pt x="507" y="215"/>
                  </a:lnTo>
                  <a:lnTo>
                    <a:pt x="512" y="215"/>
                  </a:lnTo>
                  <a:lnTo>
                    <a:pt x="512" y="215"/>
                  </a:lnTo>
                  <a:lnTo>
                    <a:pt x="526" y="220"/>
                  </a:lnTo>
                  <a:lnTo>
                    <a:pt x="526" y="220"/>
                  </a:lnTo>
                  <a:lnTo>
                    <a:pt x="530" y="224"/>
                  </a:lnTo>
                  <a:lnTo>
                    <a:pt x="535" y="224"/>
                  </a:lnTo>
                  <a:lnTo>
                    <a:pt x="539" y="224"/>
                  </a:lnTo>
                  <a:lnTo>
                    <a:pt x="539" y="229"/>
                  </a:lnTo>
                  <a:lnTo>
                    <a:pt x="544" y="229"/>
                  </a:lnTo>
                  <a:lnTo>
                    <a:pt x="558" y="229"/>
                  </a:lnTo>
                  <a:lnTo>
                    <a:pt x="567" y="233"/>
                  </a:lnTo>
                  <a:lnTo>
                    <a:pt x="571" y="238"/>
                  </a:lnTo>
                  <a:lnTo>
                    <a:pt x="576" y="238"/>
                  </a:lnTo>
                  <a:lnTo>
                    <a:pt x="581" y="238"/>
                  </a:lnTo>
                  <a:lnTo>
                    <a:pt x="585" y="242"/>
                  </a:lnTo>
                  <a:lnTo>
                    <a:pt x="590" y="242"/>
                  </a:lnTo>
                  <a:lnTo>
                    <a:pt x="590" y="247"/>
                  </a:lnTo>
                  <a:lnTo>
                    <a:pt x="594" y="247"/>
                  </a:lnTo>
                  <a:lnTo>
                    <a:pt x="594" y="252"/>
                  </a:lnTo>
                  <a:lnTo>
                    <a:pt x="599" y="256"/>
                  </a:lnTo>
                  <a:lnTo>
                    <a:pt x="603" y="261"/>
                  </a:lnTo>
                  <a:lnTo>
                    <a:pt x="608" y="261"/>
                  </a:lnTo>
                  <a:lnTo>
                    <a:pt x="613" y="261"/>
                  </a:lnTo>
                  <a:lnTo>
                    <a:pt x="617" y="265"/>
                  </a:lnTo>
                  <a:lnTo>
                    <a:pt x="635" y="265"/>
                  </a:lnTo>
                  <a:lnTo>
                    <a:pt x="645" y="270"/>
                  </a:lnTo>
                  <a:lnTo>
                    <a:pt x="649" y="274"/>
                  </a:lnTo>
                  <a:lnTo>
                    <a:pt x="658" y="274"/>
                  </a:lnTo>
                  <a:lnTo>
                    <a:pt x="663" y="279"/>
                  </a:lnTo>
                  <a:lnTo>
                    <a:pt x="667" y="279"/>
                  </a:lnTo>
                  <a:lnTo>
                    <a:pt x="672" y="284"/>
                  </a:lnTo>
                  <a:lnTo>
                    <a:pt x="677" y="284"/>
                  </a:lnTo>
                  <a:lnTo>
                    <a:pt x="677" y="284"/>
                  </a:lnTo>
                  <a:lnTo>
                    <a:pt x="681" y="288"/>
                  </a:lnTo>
                  <a:lnTo>
                    <a:pt x="686" y="293"/>
                  </a:lnTo>
                  <a:lnTo>
                    <a:pt x="690" y="293"/>
                  </a:lnTo>
                  <a:lnTo>
                    <a:pt x="695" y="297"/>
                  </a:lnTo>
                  <a:lnTo>
                    <a:pt x="699" y="302"/>
                  </a:lnTo>
                  <a:lnTo>
                    <a:pt x="699" y="302"/>
                  </a:lnTo>
                  <a:lnTo>
                    <a:pt x="704" y="302"/>
                  </a:lnTo>
                  <a:lnTo>
                    <a:pt x="709" y="302"/>
                  </a:lnTo>
                  <a:lnTo>
                    <a:pt x="713" y="306"/>
                  </a:lnTo>
                  <a:lnTo>
                    <a:pt x="722" y="311"/>
                  </a:lnTo>
                  <a:lnTo>
                    <a:pt x="727" y="320"/>
                  </a:lnTo>
                  <a:lnTo>
                    <a:pt x="741" y="325"/>
                  </a:lnTo>
                  <a:lnTo>
                    <a:pt x="745" y="329"/>
                  </a:lnTo>
                  <a:lnTo>
                    <a:pt x="745" y="334"/>
                  </a:lnTo>
                  <a:lnTo>
                    <a:pt x="745" y="334"/>
                  </a:lnTo>
                  <a:lnTo>
                    <a:pt x="754" y="338"/>
                  </a:lnTo>
                  <a:lnTo>
                    <a:pt x="759" y="343"/>
                  </a:lnTo>
                  <a:lnTo>
                    <a:pt x="777" y="338"/>
                  </a:lnTo>
                  <a:lnTo>
                    <a:pt x="763" y="348"/>
                  </a:lnTo>
                  <a:lnTo>
                    <a:pt x="763" y="352"/>
                  </a:lnTo>
                  <a:lnTo>
                    <a:pt x="759" y="357"/>
                  </a:lnTo>
                  <a:lnTo>
                    <a:pt x="759" y="361"/>
                  </a:lnTo>
                  <a:lnTo>
                    <a:pt x="759" y="366"/>
                  </a:lnTo>
                  <a:lnTo>
                    <a:pt x="754" y="366"/>
                  </a:lnTo>
                  <a:lnTo>
                    <a:pt x="754" y="370"/>
                  </a:lnTo>
                  <a:lnTo>
                    <a:pt x="754" y="375"/>
                  </a:lnTo>
                  <a:lnTo>
                    <a:pt x="750" y="380"/>
                  </a:lnTo>
                  <a:lnTo>
                    <a:pt x="750" y="384"/>
                  </a:lnTo>
                  <a:lnTo>
                    <a:pt x="750" y="389"/>
                  </a:lnTo>
                  <a:lnTo>
                    <a:pt x="750" y="398"/>
                  </a:lnTo>
                  <a:lnTo>
                    <a:pt x="754" y="407"/>
                  </a:lnTo>
                  <a:lnTo>
                    <a:pt x="754" y="421"/>
                  </a:lnTo>
                  <a:lnTo>
                    <a:pt x="759" y="434"/>
                  </a:lnTo>
                  <a:lnTo>
                    <a:pt x="759" y="448"/>
                  </a:lnTo>
                  <a:lnTo>
                    <a:pt x="763" y="462"/>
                  </a:lnTo>
                  <a:lnTo>
                    <a:pt x="768" y="480"/>
                  </a:lnTo>
                  <a:lnTo>
                    <a:pt x="773" y="489"/>
                  </a:lnTo>
                  <a:lnTo>
                    <a:pt x="777" y="499"/>
                  </a:lnTo>
                  <a:lnTo>
                    <a:pt x="777" y="503"/>
                  </a:lnTo>
                  <a:lnTo>
                    <a:pt x="782" y="503"/>
                  </a:lnTo>
                  <a:lnTo>
                    <a:pt x="782" y="508"/>
                  </a:lnTo>
                  <a:lnTo>
                    <a:pt x="786" y="508"/>
                  </a:lnTo>
                  <a:lnTo>
                    <a:pt x="786" y="512"/>
                  </a:lnTo>
                  <a:lnTo>
                    <a:pt x="786" y="517"/>
                  </a:lnTo>
                  <a:lnTo>
                    <a:pt x="786" y="521"/>
                  </a:lnTo>
                  <a:lnTo>
                    <a:pt x="791" y="521"/>
                  </a:lnTo>
                  <a:lnTo>
                    <a:pt x="791" y="526"/>
                  </a:lnTo>
                  <a:lnTo>
                    <a:pt x="791" y="531"/>
                  </a:lnTo>
                  <a:lnTo>
                    <a:pt x="791" y="540"/>
                  </a:lnTo>
                  <a:lnTo>
                    <a:pt x="786" y="544"/>
                  </a:lnTo>
                  <a:lnTo>
                    <a:pt x="786" y="544"/>
                  </a:lnTo>
                  <a:lnTo>
                    <a:pt x="782" y="549"/>
                  </a:lnTo>
                  <a:lnTo>
                    <a:pt x="777" y="553"/>
                  </a:lnTo>
                  <a:lnTo>
                    <a:pt x="773" y="553"/>
                  </a:lnTo>
                  <a:lnTo>
                    <a:pt x="768" y="558"/>
                  </a:lnTo>
                  <a:lnTo>
                    <a:pt x="768" y="558"/>
                  </a:lnTo>
                  <a:lnTo>
                    <a:pt x="754" y="563"/>
                  </a:lnTo>
                  <a:lnTo>
                    <a:pt x="736" y="563"/>
                  </a:lnTo>
                  <a:lnTo>
                    <a:pt x="727" y="563"/>
                  </a:lnTo>
                  <a:lnTo>
                    <a:pt x="722" y="567"/>
                  </a:lnTo>
                  <a:lnTo>
                    <a:pt x="718" y="567"/>
                  </a:lnTo>
                  <a:lnTo>
                    <a:pt x="713" y="567"/>
                  </a:lnTo>
                  <a:lnTo>
                    <a:pt x="709" y="567"/>
                  </a:lnTo>
                  <a:lnTo>
                    <a:pt x="704" y="567"/>
                  </a:lnTo>
                  <a:lnTo>
                    <a:pt x="704" y="572"/>
                  </a:lnTo>
                  <a:lnTo>
                    <a:pt x="699" y="572"/>
                  </a:lnTo>
                  <a:lnTo>
                    <a:pt x="699" y="576"/>
                  </a:lnTo>
                  <a:lnTo>
                    <a:pt x="695" y="576"/>
                  </a:lnTo>
                  <a:lnTo>
                    <a:pt x="690" y="581"/>
                  </a:lnTo>
                  <a:lnTo>
                    <a:pt x="686" y="585"/>
                  </a:lnTo>
                  <a:lnTo>
                    <a:pt x="677" y="590"/>
                  </a:lnTo>
                  <a:lnTo>
                    <a:pt x="677" y="595"/>
                  </a:lnTo>
                  <a:lnTo>
                    <a:pt x="672" y="595"/>
                  </a:lnTo>
                  <a:lnTo>
                    <a:pt x="667" y="599"/>
                  </a:lnTo>
                  <a:lnTo>
                    <a:pt x="663" y="604"/>
                  </a:lnTo>
                  <a:lnTo>
                    <a:pt x="658" y="613"/>
                  </a:lnTo>
                  <a:lnTo>
                    <a:pt x="649" y="613"/>
                  </a:lnTo>
                  <a:lnTo>
                    <a:pt x="640" y="622"/>
                  </a:lnTo>
                  <a:lnTo>
                    <a:pt x="635" y="627"/>
                  </a:lnTo>
                  <a:lnTo>
                    <a:pt x="635" y="631"/>
                  </a:lnTo>
                  <a:lnTo>
                    <a:pt x="635" y="631"/>
                  </a:lnTo>
                  <a:lnTo>
                    <a:pt x="635" y="631"/>
                  </a:lnTo>
                  <a:lnTo>
                    <a:pt x="631" y="631"/>
                  </a:lnTo>
                  <a:lnTo>
                    <a:pt x="617" y="645"/>
                  </a:lnTo>
                  <a:lnTo>
                    <a:pt x="617" y="649"/>
                  </a:lnTo>
                  <a:lnTo>
                    <a:pt x="613" y="649"/>
                  </a:lnTo>
                  <a:lnTo>
                    <a:pt x="613" y="654"/>
                  </a:lnTo>
                  <a:lnTo>
                    <a:pt x="608" y="654"/>
                  </a:lnTo>
                  <a:lnTo>
                    <a:pt x="608" y="659"/>
                  </a:lnTo>
                  <a:lnTo>
                    <a:pt x="603" y="659"/>
                  </a:lnTo>
                  <a:lnTo>
                    <a:pt x="599" y="663"/>
                  </a:lnTo>
                  <a:lnTo>
                    <a:pt x="599" y="668"/>
                  </a:lnTo>
                  <a:lnTo>
                    <a:pt x="594" y="668"/>
                  </a:lnTo>
                  <a:lnTo>
                    <a:pt x="590" y="668"/>
                  </a:lnTo>
                  <a:lnTo>
                    <a:pt x="590" y="672"/>
                  </a:lnTo>
                  <a:lnTo>
                    <a:pt x="590" y="677"/>
                  </a:lnTo>
                  <a:lnTo>
                    <a:pt x="585" y="677"/>
                  </a:lnTo>
                  <a:lnTo>
                    <a:pt x="585" y="677"/>
                  </a:lnTo>
                  <a:lnTo>
                    <a:pt x="581" y="677"/>
                  </a:lnTo>
                  <a:lnTo>
                    <a:pt x="576" y="681"/>
                  </a:lnTo>
                  <a:lnTo>
                    <a:pt x="576" y="686"/>
                  </a:lnTo>
                  <a:lnTo>
                    <a:pt x="571" y="686"/>
                  </a:lnTo>
                  <a:lnTo>
                    <a:pt x="567" y="686"/>
                  </a:lnTo>
                  <a:lnTo>
                    <a:pt x="567" y="691"/>
                  </a:lnTo>
                  <a:lnTo>
                    <a:pt x="567" y="691"/>
                  </a:lnTo>
                  <a:lnTo>
                    <a:pt x="567" y="695"/>
                  </a:lnTo>
                  <a:lnTo>
                    <a:pt x="562" y="695"/>
                  </a:lnTo>
                  <a:lnTo>
                    <a:pt x="558" y="695"/>
                  </a:lnTo>
                  <a:lnTo>
                    <a:pt x="558" y="700"/>
                  </a:lnTo>
                  <a:lnTo>
                    <a:pt x="553" y="700"/>
                  </a:lnTo>
                  <a:lnTo>
                    <a:pt x="549" y="700"/>
                  </a:lnTo>
                  <a:lnTo>
                    <a:pt x="549" y="704"/>
                  </a:lnTo>
                  <a:lnTo>
                    <a:pt x="544" y="704"/>
                  </a:lnTo>
                  <a:lnTo>
                    <a:pt x="539" y="709"/>
                  </a:lnTo>
                  <a:lnTo>
                    <a:pt x="535" y="709"/>
                  </a:lnTo>
                  <a:lnTo>
                    <a:pt x="535" y="713"/>
                  </a:lnTo>
                  <a:lnTo>
                    <a:pt x="530" y="713"/>
                  </a:lnTo>
                  <a:lnTo>
                    <a:pt x="526" y="718"/>
                  </a:lnTo>
                  <a:lnTo>
                    <a:pt x="526" y="718"/>
                  </a:lnTo>
                  <a:lnTo>
                    <a:pt x="526" y="723"/>
                  </a:lnTo>
                  <a:lnTo>
                    <a:pt x="521" y="723"/>
                  </a:lnTo>
                  <a:lnTo>
                    <a:pt x="517" y="723"/>
                  </a:lnTo>
                  <a:lnTo>
                    <a:pt x="512" y="727"/>
                  </a:lnTo>
                  <a:lnTo>
                    <a:pt x="507" y="732"/>
                  </a:lnTo>
                  <a:lnTo>
                    <a:pt x="503" y="732"/>
                  </a:lnTo>
                  <a:lnTo>
                    <a:pt x="503" y="736"/>
                  </a:lnTo>
                  <a:lnTo>
                    <a:pt x="498" y="736"/>
                  </a:lnTo>
                  <a:lnTo>
                    <a:pt x="498" y="741"/>
                  </a:lnTo>
                  <a:lnTo>
                    <a:pt x="494" y="741"/>
                  </a:lnTo>
                  <a:lnTo>
                    <a:pt x="489" y="741"/>
                  </a:lnTo>
                  <a:lnTo>
                    <a:pt x="485" y="741"/>
                  </a:lnTo>
                  <a:lnTo>
                    <a:pt x="480" y="745"/>
                  </a:lnTo>
                  <a:lnTo>
                    <a:pt x="480" y="745"/>
                  </a:lnTo>
                  <a:lnTo>
                    <a:pt x="471" y="750"/>
                  </a:lnTo>
                  <a:lnTo>
                    <a:pt x="466" y="750"/>
                  </a:lnTo>
                  <a:lnTo>
                    <a:pt x="466" y="755"/>
                  </a:lnTo>
                  <a:lnTo>
                    <a:pt x="462" y="755"/>
                  </a:lnTo>
                  <a:lnTo>
                    <a:pt x="457" y="759"/>
                  </a:lnTo>
                  <a:lnTo>
                    <a:pt x="457" y="759"/>
                  </a:lnTo>
                  <a:lnTo>
                    <a:pt x="448" y="759"/>
                  </a:lnTo>
                  <a:lnTo>
                    <a:pt x="443" y="759"/>
                  </a:lnTo>
                  <a:lnTo>
                    <a:pt x="439" y="764"/>
                  </a:lnTo>
                  <a:lnTo>
                    <a:pt x="439" y="764"/>
                  </a:lnTo>
                  <a:lnTo>
                    <a:pt x="430" y="764"/>
                  </a:lnTo>
                  <a:lnTo>
                    <a:pt x="425" y="764"/>
                  </a:lnTo>
                  <a:lnTo>
                    <a:pt x="416" y="764"/>
                  </a:lnTo>
                  <a:lnTo>
                    <a:pt x="416" y="759"/>
                  </a:lnTo>
                  <a:lnTo>
                    <a:pt x="402" y="755"/>
                  </a:lnTo>
                  <a:lnTo>
                    <a:pt x="393" y="755"/>
                  </a:lnTo>
                  <a:lnTo>
                    <a:pt x="379" y="750"/>
                  </a:lnTo>
                  <a:lnTo>
                    <a:pt x="370" y="750"/>
                  </a:lnTo>
                  <a:lnTo>
                    <a:pt x="361" y="741"/>
                  </a:lnTo>
                  <a:lnTo>
                    <a:pt x="352" y="741"/>
                  </a:lnTo>
                  <a:lnTo>
                    <a:pt x="334" y="732"/>
                  </a:lnTo>
                  <a:lnTo>
                    <a:pt x="315" y="723"/>
                  </a:lnTo>
                  <a:lnTo>
                    <a:pt x="302" y="723"/>
                  </a:lnTo>
                  <a:lnTo>
                    <a:pt x="293" y="718"/>
                  </a:lnTo>
                  <a:lnTo>
                    <a:pt x="283" y="718"/>
                  </a:lnTo>
                  <a:lnTo>
                    <a:pt x="265" y="718"/>
                  </a:lnTo>
                  <a:lnTo>
                    <a:pt x="261" y="723"/>
                  </a:lnTo>
                  <a:lnTo>
                    <a:pt x="256" y="723"/>
                  </a:lnTo>
                  <a:lnTo>
                    <a:pt x="242" y="723"/>
                  </a:lnTo>
                  <a:lnTo>
                    <a:pt x="224" y="723"/>
                  </a:lnTo>
                  <a:lnTo>
                    <a:pt x="210" y="723"/>
                  </a:lnTo>
                  <a:lnTo>
                    <a:pt x="201" y="727"/>
                  </a:lnTo>
                  <a:lnTo>
                    <a:pt x="197" y="727"/>
                  </a:lnTo>
                  <a:lnTo>
                    <a:pt x="197" y="727"/>
                  </a:lnTo>
                  <a:lnTo>
                    <a:pt x="192" y="723"/>
                  </a:lnTo>
                  <a:lnTo>
                    <a:pt x="187" y="718"/>
                  </a:lnTo>
                  <a:lnTo>
                    <a:pt x="183" y="713"/>
                  </a:lnTo>
                  <a:lnTo>
                    <a:pt x="178" y="709"/>
                  </a:lnTo>
                  <a:lnTo>
                    <a:pt x="174" y="704"/>
                  </a:lnTo>
                  <a:lnTo>
                    <a:pt x="169" y="700"/>
                  </a:lnTo>
                  <a:lnTo>
                    <a:pt x="165" y="704"/>
                  </a:lnTo>
                  <a:lnTo>
                    <a:pt x="155" y="704"/>
                  </a:lnTo>
                  <a:lnTo>
                    <a:pt x="151" y="704"/>
                  </a:lnTo>
                  <a:lnTo>
                    <a:pt x="151" y="700"/>
                  </a:lnTo>
                  <a:lnTo>
                    <a:pt x="151" y="695"/>
                  </a:lnTo>
                  <a:lnTo>
                    <a:pt x="151" y="686"/>
                  </a:lnTo>
                  <a:lnTo>
                    <a:pt x="151" y="677"/>
                  </a:lnTo>
                  <a:lnTo>
                    <a:pt x="146" y="672"/>
                  </a:lnTo>
                  <a:lnTo>
                    <a:pt x="137" y="672"/>
                  </a:lnTo>
                  <a:lnTo>
                    <a:pt x="133" y="663"/>
                  </a:lnTo>
                  <a:lnTo>
                    <a:pt x="128" y="654"/>
                  </a:lnTo>
                  <a:lnTo>
                    <a:pt x="128" y="654"/>
                  </a:lnTo>
                  <a:lnTo>
                    <a:pt x="128" y="645"/>
                  </a:lnTo>
                  <a:lnTo>
                    <a:pt x="119" y="636"/>
                  </a:lnTo>
                  <a:lnTo>
                    <a:pt x="114" y="631"/>
                  </a:lnTo>
                  <a:lnTo>
                    <a:pt x="114" y="617"/>
                  </a:lnTo>
                  <a:lnTo>
                    <a:pt x="123" y="608"/>
                  </a:lnTo>
                  <a:lnTo>
                    <a:pt x="128" y="604"/>
                  </a:lnTo>
                  <a:lnTo>
                    <a:pt x="137" y="595"/>
                  </a:lnTo>
                  <a:lnTo>
                    <a:pt x="137" y="590"/>
                  </a:lnTo>
                  <a:lnTo>
                    <a:pt x="142" y="576"/>
                  </a:lnTo>
                  <a:lnTo>
                    <a:pt x="151" y="576"/>
                  </a:lnTo>
                  <a:lnTo>
                    <a:pt x="155" y="572"/>
                  </a:lnTo>
                  <a:lnTo>
                    <a:pt x="165" y="567"/>
                  </a:lnTo>
                  <a:lnTo>
                    <a:pt x="169" y="563"/>
                  </a:lnTo>
                  <a:lnTo>
                    <a:pt x="169" y="558"/>
                  </a:lnTo>
                  <a:lnTo>
                    <a:pt x="174" y="544"/>
                  </a:lnTo>
                  <a:lnTo>
                    <a:pt x="178" y="535"/>
                  </a:lnTo>
                  <a:lnTo>
                    <a:pt x="183" y="521"/>
                  </a:lnTo>
                  <a:lnTo>
                    <a:pt x="178" y="517"/>
                  </a:lnTo>
                  <a:lnTo>
                    <a:pt x="178" y="503"/>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1" name="Freeform 38">
              <a:extLst>
                <a:ext uri="{FF2B5EF4-FFF2-40B4-BE49-F238E27FC236}">
                  <a16:creationId xmlns:a16="http://schemas.microsoft.com/office/drawing/2014/main" id="{15FE10DF-E105-4103-9A5B-8F5CE0977796}"/>
                </a:ext>
              </a:extLst>
            </p:cNvPr>
            <p:cNvSpPr>
              <a:spLocks/>
            </p:cNvSpPr>
            <p:nvPr>
              <p:custDataLst>
                <p:tags r:id="rId33"/>
              </p:custDataLst>
            </p:nvPr>
          </p:nvSpPr>
          <p:spPr bwMode="auto">
            <a:xfrm>
              <a:off x="1353026" y="3921764"/>
              <a:ext cx="411495" cy="545065"/>
            </a:xfrm>
            <a:custGeom>
              <a:avLst/>
              <a:gdLst/>
              <a:ahLst/>
              <a:cxnLst>
                <a:cxn ang="0">
                  <a:pos x="347" y="338"/>
                </a:cxn>
                <a:cxn ang="0">
                  <a:pos x="393" y="338"/>
                </a:cxn>
                <a:cxn ang="0">
                  <a:pos x="434" y="347"/>
                </a:cxn>
                <a:cxn ang="0">
                  <a:pos x="452" y="370"/>
                </a:cxn>
                <a:cxn ang="0">
                  <a:pos x="457" y="398"/>
                </a:cxn>
                <a:cxn ang="0">
                  <a:pos x="452" y="439"/>
                </a:cxn>
                <a:cxn ang="0">
                  <a:pos x="471" y="471"/>
                </a:cxn>
                <a:cxn ang="0">
                  <a:pos x="461" y="489"/>
                </a:cxn>
                <a:cxn ang="0">
                  <a:pos x="402" y="498"/>
                </a:cxn>
                <a:cxn ang="0">
                  <a:pos x="365" y="498"/>
                </a:cxn>
                <a:cxn ang="0">
                  <a:pos x="343" y="507"/>
                </a:cxn>
                <a:cxn ang="0">
                  <a:pos x="301" y="517"/>
                </a:cxn>
                <a:cxn ang="0">
                  <a:pos x="301" y="507"/>
                </a:cxn>
                <a:cxn ang="0">
                  <a:pos x="311" y="489"/>
                </a:cxn>
                <a:cxn ang="0">
                  <a:pos x="288" y="485"/>
                </a:cxn>
                <a:cxn ang="0">
                  <a:pos x="288" y="489"/>
                </a:cxn>
                <a:cxn ang="0">
                  <a:pos x="269" y="494"/>
                </a:cxn>
                <a:cxn ang="0">
                  <a:pos x="256" y="494"/>
                </a:cxn>
                <a:cxn ang="0">
                  <a:pos x="247" y="498"/>
                </a:cxn>
                <a:cxn ang="0">
                  <a:pos x="251" y="517"/>
                </a:cxn>
                <a:cxn ang="0">
                  <a:pos x="242" y="521"/>
                </a:cxn>
                <a:cxn ang="0">
                  <a:pos x="228" y="521"/>
                </a:cxn>
                <a:cxn ang="0">
                  <a:pos x="196" y="526"/>
                </a:cxn>
                <a:cxn ang="0">
                  <a:pos x="146" y="530"/>
                </a:cxn>
                <a:cxn ang="0">
                  <a:pos x="105" y="539"/>
                </a:cxn>
                <a:cxn ang="0">
                  <a:pos x="91" y="535"/>
                </a:cxn>
                <a:cxn ang="0">
                  <a:pos x="41" y="530"/>
                </a:cxn>
                <a:cxn ang="0">
                  <a:pos x="50" y="485"/>
                </a:cxn>
                <a:cxn ang="0">
                  <a:pos x="59" y="448"/>
                </a:cxn>
                <a:cxn ang="0">
                  <a:pos x="59" y="411"/>
                </a:cxn>
                <a:cxn ang="0">
                  <a:pos x="64" y="384"/>
                </a:cxn>
                <a:cxn ang="0">
                  <a:pos x="23" y="379"/>
                </a:cxn>
                <a:cxn ang="0">
                  <a:pos x="4" y="338"/>
                </a:cxn>
                <a:cxn ang="0">
                  <a:pos x="23" y="302"/>
                </a:cxn>
                <a:cxn ang="0">
                  <a:pos x="23" y="270"/>
                </a:cxn>
                <a:cxn ang="0">
                  <a:pos x="59" y="224"/>
                </a:cxn>
                <a:cxn ang="0">
                  <a:pos x="73" y="183"/>
                </a:cxn>
                <a:cxn ang="0">
                  <a:pos x="82" y="142"/>
                </a:cxn>
                <a:cxn ang="0">
                  <a:pos x="50" y="133"/>
                </a:cxn>
                <a:cxn ang="0">
                  <a:pos x="64" y="78"/>
                </a:cxn>
                <a:cxn ang="0">
                  <a:pos x="91" y="14"/>
                </a:cxn>
                <a:cxn ang="0">
                  <a:pos x="128" y="37"/>
                </a:cxn>
                <a:cxn ang="0">
                  <a:pos x="123" y="64"/>
                </a:cxn>
                <a:cxn ang="0">
                  <a:pos x="105" y="110"/>
                </a:cxn>
                <a:cxn ang="0">
                  <a:pos x="155" y="110"/>
                </a:cxn>
                <a:cxn ang="0">
                  <a:pos x="151" y="151"/>
                </a:cxn>
                <a:cxn ang="0">
                  <a:pos x="146" y="169"/>
                </a:cxn>
                <a:cxn ang="0">
                  <a:pos x="169" y="192"/>
                </a:cxn>
                <a:cxn ang="0">
                  <a:pos x="196" y="210"/>
                </a:cxn>
                <a:cxn ang="0">
                  <a:pos x="242" y="210"/>
                </a:cxn>
                <a:cxn ang="0">
                  <a:pos x="288" y="215"/>
                </a:cxn>
                <a:cxn ang="0">
                  <a:pos x="311" y="210"/>
                </a:cxn>
                <a:cxn ang="0">
                  <a:pos x="347" y="224"/>
                </a:cxn>
                <a:cxn ang="0">
                  <a:pos x="347" y="274"/>
                </a:cxn>
                <a:cxn ang="0">
                  <a:pos x="324" y="293"/>
                </a:cxn>
                <a:cxn ang="0">
                  <a:pos x="311" y="311"/>
                </a:cxn>
              </a:cxnLst>
              <a:rect l="0" t="0" r="r" b="b"/>
              <a:pathLst>
                <a:path w="471" h="539">
                  <a:moveTo>
                    <a:pt x="315" y="334"/>
                  </a:moveTo>
                  <a:lnTo>
                    <a:pt x="320" y="338"/>
                  </a:lnTo>
                  <a:lnTo>
                    <a:pt x="324" y="338"/>
                  </a:lnTo>
                  <a:lnTo>
                    <a:pt x="329" y="343"/>
                  </a:lnTo>
                  <a:lnTo>
                    <a:pt x="333" y="343"/>
                  </a:lnTo>
                  <a:lnTo>
                    <a:pt x="343" y="343"/>
                  </a:lnTo>
                  <a:lnTo>
                    <a:pt x="347" y="338"/>
                  </a:lnTo>
                  <a:lnTo>
                    <a:pt x="352" y="338"/>
                  </a:lnTo>
                  <a:lnTo>
                    <a:pt x="361" y="338"/>
                  </a:lnTo>
                  <a:lnTo>
                    <a:pt x="365" y="338"/>
                  </a:lnTo>
                  <a:lnTo>
                    <a:pt x="375" y="338"/>
                  </a:lnTo>
                  <a:lnTo>
                    <a:pt x="384" y="338"/>
                  </a:lnTo>
                  <a:lnTo>
                    <a:pt x="388" y="338"/>
                  </a:lnTo>
                  <a:lnTo>
                    <a:pt x="393" y="338"/>
                  </a:lnTo>
                  <a:lnTo>
                    <a:pt x="402" y="338"/>
                  </a:lnTo>
                  <a:lnTo>
                    <a:pt x="411" y="343"/>
                  </a:lnTo>
                  <a:lnTo>
                    <a:pt x="411" y="338"/>
                  </a:lnTo>
                  <a:lnTo>
                    <a:pt x="420" y="343"/>
                  </a:lnTo>
                  <a:lnTo>
                    <a:pt x="429" y="347"/>
                  </a:lnTo>
                  <a:lnTo>
                    <a:pt x="429" y="347"/>
                  </a:lnTo>
                  <a:lnTo>
                    <a:pt x="434" y="347"/>
                  </a:lnTo>
                  <a:lnTo>
                    <a:pt x="434" y="352"/>
                  </a:lnTo>
                  <a:lnTo>
                    <a:pt x="439" y="352"/>
                  </a:lnTo>
                  <a:lnTo>
                    <a:pt x="439" y="357"/>
                  </a:lnTo>
                  <a:lnTo>
                    <a:pt x="443" y="357"/>
                  </a:lnTo>
                  <a:lnTo>
                    <a:pt x="448" y="361"/>
                  </a:lnTo>
                  <a:lnTo>
                    <a:pt x="448" y="361"/>
                  </a:lnTo>
                  <a:lnTo>
                    <a:pt x="452" y="370"/>
                  </a:lnTo>
                  <a:lnTo>
                    <a:pt x="452" y="375"/>
                  </a:lnTo>
                  <a:lnTo>
                    <a:pt x="457" y="379"/>
                  </a:lnTo>
                  <a:lnTo>
                    <a:pt x="457" y="384"/>
                  </a:lnTo>
                  <a:lnTo>
                    <a:pt x="457" y="384"/>
                  </a:lnTo>
                  <a:lnTo>
                    <a:pt x="457" y="389"/>
                  </a:lnTo>
                  <a:lnTo>
                    <a:pt x="457" y="393"/>
                  </a:lnTo>
                  <a:lnTo>
                    <a:pt x="457" y="398"/>
                  </a:lnTo>
                  <a:lnTo>
                    <a:pt x="452" y="402"/>
                  </a:lnTo>
                  <a:lnTo>
                    <a:pt x="452" y="407"/>
                  </a:lnTo>
                  <a:lnTo>
                    <a:pt x="452" y="411"/>
                  </a:lnTo>
                  <a:lnTo>
                    <a:pt x="452" y="421"/>
                  </a:lnTo>
                  <a:lnTo>
                    <a:pt x="452" y="425"/>
                  </a:lnTo>
                  <a:lnTo>
                    <a:pt x="452" y="425"/>
                  </a:lnTo>
                  <a:lnTo>
                    <a:pt x="452" y="439"/>
                  </a:lnTo>
                  <a:lnTo>
                    <a:pt x="457" y="439"/>
                  </a:lnTo>
                  <a:lnTo>
                    <a:pt x="457" y="448"/>
                  </a:lnTo>
                  <a:lnTo>
                    <a:pt x="457" y="453"/>
                  </a:lnTo>
                  <a:lnTo>
                    <a:pt x="457" y="462"/>
                  </a:lnTo>
                  <a:lnTo>
                    <a:pt x="461" y="466"/>
                  </a:lnTo>
                  <a:lnTo>
                    <a:pt x="466" y="471"/>
                  </a:lnTo>
                  <a:lnTo>
                    <a:pt x="471" y="471"/>
                  </a:lnTo>
                  <a:lnTo>
                    <a:pt x="471" y="475"/>
                  </a:lnTo>
                  <a:lnTo>
                    <a:pt x="471" y="475"/>
                  </a:lnTo>
                  <a:lnTo>
                    <a:pt x="466" y="480"/>
                  </a:lnTo>
                  <a:lnTo>
                    <a:pt x="466" y="480"/>
                  </a:lnTo>
                  <a:lnTo>
                    <a:pt x="466" y="489"/>
                  </a:lnTo>
                  <a:lnTo>
                    <a:pt x="466" y="489"/>
                  </a:lnTo>
                  <a:lnTo>
                    <a:pt x="461" y="489"/>
                  </a:lnTo>
                  <a:lnTo>
                    <a:pt x="443" y="489"/>
                  </a:lnTo>
                  <a:lnTo>
                    <a:pt x="434" y="489"/>
                  </a:lnTo>
                  <a:lnTo>
                    <a:pt x="420" y="489"/>
                  </a:lnTo>
                  <a:lnTo>
                    <a:pt x="416" y="494"/>
                  </a:lnTo>
                  <a:lnTo>
                    <a:pt x="411" y="494"/>
                  </a:lnTo>
                  <a:lnTo>
                    <a:pt x="407" y="494"/>
                  </a:lnTo>
                  <a:lnTo>
                    <a:pt x="402" y="498"/>
                  </a:lnTo>
                  <a:lnTo>
                    <a:pt x="397" y="498"/>
                  </a:lnTo>
                  <a:lnTo>
                    <a:pt x="388" y="494"/>
                  </a:lnTo>
                  <a:lnTo>
                    <a:pt x="370" y="494"/>
                  </a:lnTo>
                  <a:lnTo>
                    <a:pt x="370" y="489"/>
                  </a:lnTo>
                  <a:lnTo>
                    <a:pt x="365" y="494"/>
                  </a:lnTo>
                  <a:lnTo>
                    <a:pt x="365" y="494"/>
                  </a:lnTo>
                  <a:lnTo>
                    <a:pt x="365" y="498"/>
                  </a:lnTo>
                  <a:lnTo>
                    <a:pt x="365" y="503"/>
                  </a:lnTo>
                  <a:lnTo>
                    <a:pt x="361" y="503"/>
                  </a:lnTo>
                  <a:lnTo>
                    <a:pt x="352" y="503"/>
                  </a:lnTo>
                  <a:lnTo>
                    <a:pt x="352" y="507"/>
                  </a:lnTo>
                  <a:lnTo>
                    <a:pt x="347" y="507"/>
                  </a:lnTo>
                  <a:lnTo>
                    <a:pt x="343" y="507"/>
                  </a:lnTo>
                  <a:lnTo>
                    <a:pt x="343" y="507"/>
                  </a:lnTo>
                  <a:lnTo>
                    <a:pt x="329" y="512"/>
                  </a:lnTo>
                  <a:lnTo>
                    <a:pt x="329" y="512"/>
                  </a:lnTo>
                  <a:lnTo>
                    <a:pt x="329" y="512"/>
                  </a:lnTo>
                  <a:lnTo>
                    <a:pt x="324" y="517"/>
                  </a:lnTo>
                  <a:lnTo>
                    <a:pt x="320" y="517"/>
                  </a:lnTo>
                  <a:lnTo>
                    <a:pt x="301" y="517"/>
                  </a:lnTo>
                  <a:lnTo>
                    <a:pt x="301" y="517"/>
                  </a:lnTo>
                  <a:lnTo>
                    <a:pt x="297" y="517"/>
                  </a:lnTo>
                  <a:lnTo>
                    <a:pt x="297" y="517"/>
                  </a:lnTo>
                  <a:lnTo>
                    <a:pt x="297" y="512"/>
                  </a:lnTo>
                  <a:lnTo>
                    <a:pt x="297" y="507"/>
                  </a:lnTo>
                  <a:lnTo>
                    <a:pt x="297" y="503"/>
                  </a:lnTo>
                  <a:lnTo>
                    <a:pt x="301" y="507"/>
                  </a:lnTo>
                  <a:lnTo>
                    <a:pt x="301" y="507"/>
                  </a:lnTo>
                  <a:lnTo>
                    <a:pt x="301" y="507"/>
                  </a:lnTo>
                  <a:lnTo>
                    <a:pt x="301" y="507"/>
                  </a:lnTo>
                  <a:lnTo>
                    <a:pt x="301" y="507"/>
                  </a:lnTo>
                  <a:lnTo>
                    <a:pt x="297" y="507"/>
                  </a:lnTo>
                  <a:lnTo>
                    <a:pt x="301" y="503"/>
                  </a:lnTo>
                  <a:lnTo>
                    <a:pt x="306" y="494"/>
                  </a:lnTo>
                  <a:lnTo>
                    <a:pt x="311" y="489"/>
                  </a:lnTo>
                  <a:lnTo>
                    <a:pt x="301" y="485"/>
                  </a:lnTo>
                  <a:lnTo>
                    <a:pt x="301" y="480"/>
                  </a:lnTo>
                  <a:lnTo>
                    <a:pt x="297" y="485"/>
                  </a:lnTo>
                  <a:lnTo>
                    <a:pt x="292" y="485"/>
                  </a:lnTo>
                  <a:lnTo>
                    <a:pt x="292" y="485"/>
                  </a:lnTo>
                  <a:lnTo>
                    <a:pt x="292" y="485"/>
                  </a:lnTo>
                  <a:lnTo>
                    <a:pt x="288" y="485"/>
                  </a:lnTo>
                  <a:lnTo>
                    <a:pt x="288" y="485"/>
                  </a:lnTo>
                  <a:lnTo>
                    <a:pt x="288" y="485"/>
                  </a:lnTo>
                  <a:lnTo>
                    <a:pt x="283" y="485"/>
                  </a:lnTo>
                  <a:lnTo>
                    <a:pt x="283" y="489"/>
                  </a:lnTo>
                  <a:lnTo>
                    <a:pt x="283" y="489"/>
                  </a:lnTo>
                  <a:lnTo>
                    <a:pt x="288" y="489"/>
                  </a:lnTo>
                  <a:lnTo>
                    <a:pt x="288" y="489"/>
                  </a:lnTo>
                  <a:lnTo>
                    <a:pt x="283" y="494"/>
                  </a:lnTo>
                  <a:lnTo>
                    <a:pt x="279" y="489"/>
                  </a:lnTo>
                  <a:lnTo>
                    <a:pt x="279" y="489"/>
                  </a:lnTo>
                  <a:lnTo>
                    <a:pt x="274" y="489"/>
                  </a:lnTo>
                  <a:lnTo>
                    <a:pt x="274" y="494"/>
                  </a:lnTo>
                  <a:lnTo>
                    <a:pt x="274" y="494"/>
                  </a:lnTo>
                  <a:lnTo>
                    <a:pt x="269" y="494"/>
                  </a:lnTo>
                  <a:lnTo>
                    <a:pt x="260" y="498"/>
                  </a:lnTo>
                  <a:lnTo>
                    <a:pt x="260" y="498"/>
                  </a:lnTo>
                  <a:lnTo>
                    <a:pt x="256" y="498"/>
                  </a:lnTo>
                  <a:lnTo>
                    <a:pt x="256" y="494"/>
                  </a:lnTo>
                  <a:lnTo>
                    <a:pt x="256" y="494"/>
                  </a:lnTo>
                  <a:lnTo>
                    <a:pt x="256" y="494"/>
                  </a:lnTo>
                  <a:lnTo>
                    <a:pt x="256" y="494"/>
                  </a:lnTo>
                  <a:lnTo>
                    <a:pt x="251" y="489"/>
                  </a:lnTo>
                  <a:lnTo>
                    <a:pt x="247" y="485"/>
                  </a:lnTo>
                  <a:lnTo>
                    <a:pt x="247" y="485"/>
                  </a:lnTo>
                  <a:lnTo>
                    <a:pt x="242" y="485"/>
                  </a:lnTo>
                  <a:lnTo>
                    <a:pt x="242" y="485"/>
                  </a:lnTo>
                  <a:lnTo>
                    <a:pt x="242" y="489"/>
                  </a:lnTo>
                  <a:lnTo>
                    <a:pt x="247" y="498"/>
                  </a:lnTo>
                  <a:lnTo>
                    <a:pt x="247" y="503"/>
                  </a:lnTo>
                  <a:lnTo>
                    <a:pt x="251" y="507"/>
                  </a:lnTo>
                  <a:lnTo>
                    <a:pt x="251" y="507"/>
                  </a:lnTo>
                  <a:lnTo>
                    <a:pt x="251" y="507"/>
                  </a:lnTo>
                  <a:lnTo>
                    <a:pt x="247" y="517"/>
                  </a:lnTo>
                  <a:lnTo>
                    <a:pt x="247" y="517"/>
                  </a:lnTo>
                  <a:lnTo>
                    <a:pt x="251" y="517"/>
                  </a:lnTo>
                  <a:lnTo>
                    <a:pt x="251" y="512"/>
                  </a:lnTo>
                  <a:lnTo>
                    <a:pt x="251" y="512"/>
                  </a:lnTo>
                  <a:lnTo>
                    <a:pt x="251" y="517"/>
                  </a:lnTo>
                  <a:lnTo>
                    <a:pt x="251" y="517"/>
                  </a:lnTo>
                  <a:lnTo>
                    <a:pt x="247" y="521"/>
                  </a:lnTo>
                  <a:lnTo>
                    <a:pt x="242" y="521"/>
                  </a:lnTo>
                  <a:lnTo>
                    <a:pt x="242" y="521"/>
                  </a:lnTo>
                  <a:lnTo>
                    <a:pt x="237" y="517"/>
                  </a:lnTo>
                  <a:lnTo>
                    <a:pt x="237" y="517"/>
                  </a:lnTo>
                  <a:lnTo>
                    <a:pt x="233" y="517"/>
                  </a:lnTo>
                  <a:lnTo>
                    <a:pt x="237" y="517"/>
                  </a:lnTo>
                  <a:lnTo>
                    <a:pt x="233" y="517"/>
                  </a:lnTo>
                  <a:lnTo>
                    <a:pt x="233" y="521"/>
                  </a:lnTo>
                  <a:lnTo>
                    <a:pt x="228" y="521"/>
                  </a:lnTo>
                  <a:lnTo>
                    <a:pt x="224" y="517"/>
                  </a:lnTo>
                  <a:lnTo>
                    <a:pt x="210" y="517"/>
                  </a:lnTo>
                  <a:lnTo>
                    <a:pt x="196" y="512"/>
                  </a:lnTo>
                  <a:lnTo>
                    <a:pt x="192" y="521"/>
                  </a:lnTo>
                  <a:lnTo>
                    <a:pt x="196" y="521"/>
                  </a:lnTo>
                  <a:lnTo>
                    <a:pt x="196" y="526"/>
                  </a:lnTo>
                  <a:lnTo>
                    <a:pt x="196" y="526"/>
                  </a:lnTo>
                  <a:lnTo>
                    <a:pt x="192" y="526"/>
                  </a:lnTo>
                  <a:lnTo>
                    <a:pt x="187" y="526"/>
                  </a:lnTo>
                  <a:lnTo>
                    <a:pt x="173" y="526"/>
                  </a:lnTo>
                  <a:lnTo>
                    <a:pt x="173" y="526"/>
                  </a:lnTo>
                  <a:lnTo>
                    <a:pt x="164" y="530"/>
                  </a:lnTo>
                  <a:lnTo>
                    <a:pt x="155" y="530"/>
                  </a:lnTo>
                  <a:lnTo>
                    <a:pt x="146" y="530"/>
                  </a:lnTo>
                  <a:lnTo>
                    <a:pt x="146" y="530"/>
                  </a:lnTo>
                  <a:lnTo>
                    <a:pt x="141" y="530"/>
                  </a:lnTo>
                  <a:lnTo>
                    <a:pt x="137" y="530"/>
                  </a:lnTo>
                  <a:lnTo>
                    <a:pt x="137" y="530"/>
                  </a:lnTo>
                  <a:lnTo>
                    <a:pt x="132" y="535"/>
                  </a:lnTo>
                  <a:lnTo>
                    <a:pt x="109" y="535"/>
                  </a:lnTo>
                  <a:lnTo>
                    <a:pt x="105" y="539"/>
                  </a:lnTo>
                  <a:lnTo>
                    <a:pt x="105" y="539"/>
                  </a:lnTo>
                  <a:lnTo>
                    <a:pt x="100" y="539"/>
                  </a:lnTo>
                  <a:lnTo>
                    <a:pt x="100" y="539"/>
                  </a:lnTo>
                  <a:lnTo>
                    <a:pt x="100" y="535"/>
                  </a:lnTo>
                  <a:lnTo>
                    <a:pt x="96" y="535"/>
                  </a:lnTo>
                  <a:lnTo>
                    <a:pt x="91" y="535"/>
                  </a:lnTo>
                  <a:lnTo>
                    <a:pt x="91" y="535"/>
                  </a:lnTo>
                  <a:lnTo>
                    <a:pt x="87" y="539"/>
                  </a:lnTo>
                  <a:lnTo>
                    <a:pt x="73" y="539"/>
                  </a:lnTo>
                  <a:lnTo>
                    <a:pt x="55" y="539"/>
                  </a:lnTo>
                  <a:lnTo>
                    <a:pt x="55" y="539"/>
                  </a:lnTo>
                  <a:lnTo>
                    <a:pt x="50" y="535"/>
                  </a:lnTo>
                  <a:lnTo>
                    <a:pt x="41" y="535"/>
                  </a:lnTo>
                  <a:lnTo>
                    <a:pt x="41" y="530"/>
                  </a:lnTo>
                  <a:lnTo>
                    <a:pt x="36" y="526"/>
                  </a:lnTo>
                  <a:lnTo>
                    <a:pt x="36" y="517"/>
                  </a:lnTo>
                  <a:lnTo>
                    <a:pt x="41" y="512"/>
                  </a:lnTo>
                  <a:lnTo>
                    <a:pt x="45" y="498"/>
                  </a:lnTo>
                  <a:lnTo>
                    <a:pt x="45" y="494"/>
                  </a:lnTo>
                  <a:lnTo>
                    <a:pt x="45" y="489"/>
                  </a:lnTo>
                  <a:lnTo>
                    <a:pt x="50" y="485"/>
                  </a:lnTo>
                  <a:lnTo>
                    <a:pt x="59" y="480"/>
                  </a:lnTo>
                  <a:lnTo>
                    <a:pt x="59" y="471"/>
                  </a:lnTo>
                  <a:lnTo>
                    <a:pt x="59" y="471"/>
                  </a:lnTo>
                  <a:lnTo>
                    <a:pt x="59" y="466"/>
                  </a:lnTo>
                  <a:lnTo>
                    <a:pt x="64" y="457"/>
                  </a:lnTo>
                  <a:lnTo>
                    <a:pt x="59" y="453"/>
                  </a:lnTo>
                  <a:lnTo>
                    <a:pt x="59" y="448"/>
                  </a:lnTo>
                  <a:lnTo>
                    <a:pt x="59" y="448"/>
                  </a:lnTo>
                  <a:lnTo>
                    <a:pt x="55" y="439"/>
                  </a:lnTo>
                  <a:lnTo>
                    <a:pt x="50" y="430"/>
                  </a:lnTo>
                  <a:lnTo>
                    <a:pt x="45" y="425"/>
                  </a:lnTo>
                  <a:lnTo>
                    <a:pt x="50" y="421"/>
                  </a:lnTo>
                  <a:lnTo>
                    <a:pt x="55" y="416"/>
                  </a:lnTo>
                  <a:lnTo>
                    <a:pt x="59" y="411"/>
                  </a:lnTo>
                  <a:lnTo>
                    <a:pt x="68" y="402"/>
                  </a:lnTo>
                  <a:lnTo>
                    <a:pt x="73" y="402"/>
                  </a:lnTo>
                  <a:lnTo>
                    <a:pt x="82" y="393"/>
                  </a:lnTo>
                  <a:lnTo>
                    <a:pt x="91" y="389"/>
                  </a:lnTo>
                  <a:lnTo>
                    <a:pt x="87" y="384"/>
                  </a:lnTo>
                  <a:lnTo>
                    <a:pt x="77" y="384"/>
                  </a:lnTo>
                  <a:lnTo>
                    <a:pt x="64" y="384"/>
                  </a:lnTo>
                  <a:lnTo>
                    <a:pt x="55" y="384"/>
                  </a:lnTo>
                  <a:lnTo>
                    <a:pt x="41" y="389"/>
                  </a:lnTo>
                  <a:lnTo>
                    <a:pt x="32" y="393"/>
                  </a:lnTo>
                  <a:lnTo>
                    <a:pt x="32" y="389"/>
                  </a:lnTo>
                  <a:lnTo>
                    <a:pt x="27" y="384"/>
                  </a:lnTo>
                  <a:lnTo>
                    <a:pt x="23" y="384"/>
                  </a:lnTo>
                  <a:lnTo>
                    <a:pt x="23" y="379"/>
                  </a:lnTo>
                  <a:lnTo>
                    <a:pt x="27" y="375"/>
                  </a:lnTo>
                  <a:lnTo>
                    <a:pt x="23" y="370"/>
                  </a:lnTo>
                  <a:lnTo>
                    <a:pt x="13" y="370"/>
                  </a:lnTo>
                  <a:lnTo>
                    <a:pt x="9" y="361"/>
                  </a:lnTo>
                  <a:lnTo>
                    <a:pt x="0" y="357"/>
                  </a:lnTo>
                  <a:lnTo>
                    <a:pt x="0" y="343"/>
                  </a:lnTo>
                  <a:lnTo>
                    <a:pt x="4" y="338"/>
                  </a:lnTo>
                  <a:lnTo>
                    <a:pt x="13" y="329"/>
                  </a:lnTo>
                  <a:lnTo>
                    <a:pt x="13" y="320"/>
                  </a:lnTo>
                  <a:lnTo>
                    <a:pt x="23" y="315"/>
                  </a:lnTo>
                  <a:lnTo>
                    <a:pt x="23" y="311"/>
                  </a:lnTo>
                  <a:lnTo>
                    <a:pt x="27" y="306"/>
                  </a:lnTo>
                  <a:lnTo>
                    <a:pt x="27" y="302"/>
                  </a:lnTo>
                  <a:lnTo>
                    <a:pt x="23" y="302"/>
                  </a:lnTo>
                  <a:lnTo>
                    <a:pt x="18" y="302"/>
                  </a:lnTo>
                  <a:lnTo>
                    <a:pt x="18" y="297"/>
                  </a:lnTo>
                  <a:lnTo>
                    <a:pt x="13" y="293"/>
                  </a:lnTo>
                  <a:lnTo>
                    <a:pt x="13" y="288"/>
                  </a:lnTo>
                  <a:lnTo>
                    <a:pt x="13" y="279"/>
                  </a:lnTo>
                  <a:lnTo>
                    <a:pt x="18" y="274"/>
                  </a:lnTo>
                  <a:lnTo>
                    <a:pt x="23" y="270"/>
                  </a:lnTo>
                  <a:lnTo>
                    <a:pt x="27" y="256"/>
                  </a:lnTo>
                  <a:lnTo>
                    <a:pt x="36" y="247"/>
                  </a:lnTo>
                  <a:lnTo>
                    <a:pt x="36" y="233"/>
                  </a:lnTo>
                  <a:lnTo>
                    <a:pt x="41" y="229"/>
                  </a:lnTo>
                  <a:lnTo>
                    <a:pt x="45" y="219"/>
                  </a:lnTo>
                  <a:lnTo>
                    <a:pt x="55" y="219"/>
                  </a:lnTo>
                  <a:lnTo>
                    <a:pt x="59" y="224"/>
                  </a:lnTo>
                  <a:lnTo>
                    <a:pt x="73" y="219"/>
                  </a:lnTo>
                  <a:lnTo>
                    <a:pt x="73" y="215"/>
                  </a:lnTo>
                  <a:lnTo>
                    <a:pt x="77" y="206"/>
                  </a:lnTo>
                  <a:lnTo>
                    <a:pt x="77" y="206"/>
                  </a:lnTo>
                  <a:lnTo>
                    <a:pt x="82" y="197"/>
                  </a:lnTo>
                  <a:lnTo>
                    <a:pt x="73" y="192"/>
                  </a:lnTo>
                  <a:lnTo>
                    <a:pt x="73" y="183"/>
                  </a:lnTo>
                  <a:lnTo>
                    <a:pt x="68" y="178"/>
                  </a:lnTo>
                  <a:lnTo>
                    <a:pt x="64" y="169"/>
                  </a:lnTo>
                  <a:lnTo>
                    <a:pt x="68" y="165"/>
                  </a:lnTo>
                  <a:lnTo>
                    <a:pt x="73" y="160"/>
                  </a:lnTo>
                  <a:lnTo>
                    <a:pt x="77" y="151"/>
                  </a:lnTo>
                  <a:lnTo>
                    <a:pt x="82" y="146"/>
                  </a:lnTo>
                  <a:lnTo>
                    <a:pt x="82" y="142"/>
                  </a:lnTo>
                  <a:lnTo>
                    <a:pt x="77" y="142"/>
                  </a:lnTo>
                  <a:lnTo>
                    <a:pt x="68" y="142"/>
                  </a:lnTo>
                  <a:lnTo>
                    <a:pt x="59" y="142"/>
                  </a:lnTo>
                  <a:lnTo>
                    <a:pt x="59" y="142"/>
                  </a:lnTo>
                  <a:lnTo>
                    <a:pt x="55" y="142"/>
                  </a:lnTo>
                  <a:lnTo>
                    <a:pt x="50" y="142"/>
                  </a:lnTo>
                  <a:lnTo>
                    <a:pt x="50" y="133"/>
                  </a:lnTo>
                  <a:lnTo>
                    <a:pt x="50" y="128"/>
                  </a:lnTo>
                  <a:lnTo>
                    <a:pt x="59" y="119"/>
                  </a:lnTo>
                  <a:lnTo>
                    <a:pt x="64" y="119"/>
                  </a:lnTo>
                  <a:lnTo>
                    <a:pt x="68" y="110"/>
                  </a:lnTo>
                  <a:lnTo>
                    <a:pt x="68" y="96"/>
                  </a:lnTo>
                  <a:lnTo>
                    <a:pt x="64" y="87"/>
                  </a:lnTo>
                  <a:lnTo>
                    <a:pt x="64" y="78"/>
                  </a:lnTo>
                  <a:lnTo>
                    <a:pt x="73" y="69"/>
                  </a:lnTo>
                  <a:lnTo>
                    <a:pt x="82" y="59"/>
                  </a:lnTo>
                  <a:lnTo>
                    <a:pt x="87" y="55"/>
                  </a:lnTo>
                  <a:lnTo>
                    <a:pt x="91" y="46"/>
                  </a:lnTo>
                  <a:lnTo>
                    <a:pt x="91" y="32"/>
                  </a:lnTo>
                  <a:lnTo>
                    <a:pt x="91" y="27"/>
                  </a:lnTo>
                  <a:lnTo>
                    <a:pt x="91" y="14"/>
                  </a:lnTo>
                  <a:lnTo>
                    <a:pt x="96" y="9"/>
                  </a:lnTo>
                  <a:lnTo>
                    <a:pt x="105" y="0"/>
                  </a:lnTo>
                  <a:lnTo>
                    <a:pt x="105" y="0"/>
                  </a:lnTo>
                  <a:lnTo>
                    <a:pt x="123" y="5"/>
                  </a:lnTo>
                  <a:lnTo>
                    <a:pt x="128" y="23"/>
                  </a:lnTo>
                  <a:lnTo>
                    <a:pt x="128" y="27"/>
                  </a:lnTo>
                  <a:lnTo>
                    <a:pt x="128" y="37"/>
                  </a:lnTo>
                  <a:lnTo>
                    <a:pt x="123" y="41"/>
                  </a:lnTo>
                  <a:lnTo>
                    <a:pt x="123" y="46"/>
                  </a:lnTo>
                  <a:lnTo>
                    <a:pt x="123" y="50"/>
                  </a:lnTo>
                  <a:lnTo>
                    <a:pt x="123" y="55"/>
                  </a:lnTo>
                  <a:lnTo>
                    <a:pt x="123" y="55"/>
                  </a:lnTo>
                  <a:lnTo>
                    <a:pt x="123" y="59"/>
                  </a:lnTo>
                  <a:lnTo>
                    <a:pt x="123" y="64"/>
                  </a:lnTo>
                  <a:lnTo>
                    <a:pt x="119" y="73"/>
                  </a:lnTo>
                  <a:lnTo>
                    <a:pt x="114" y="82"/>
                  </a:lnTo>
                  <a:lnTo>
                    <a:pt x="114" y="87"/>
                  </a:lnTo>
                  <a:lnTo>
                    <a:pt x="109" y="96"/>
                  </a:lnTo>
                  <a:lnTo>
                    <a:pt x="105" y="101"/>
                  </a:lnTo>
                  <a:lnTo>
                    <a:pt x="105" y="105"/>
                  </a:lnTo>
                  <a:lnTo>
                    <a:pt x="105" y="110"/>
                  </a:lnTo>
                  <a:lnTo>
                    <a:pt x="119" y="110"/>
                  </a:lnTo>
                  <a:lnTo>
                    <a:pt x="123" y="110"/>
                  </a:lnTo>
                  <a:lnTo>
                    <a:pt x="132" y="110"/>
                  </a:lnTo>
                  <a:lnTo>
                    <a:pt x="141" y="114"/>
                  </a:lnTo>
                  <a:lnTo>
                    <a:pt x="146" y="110"/>
                  </a:lnTo>
                  <a:lnTo>
                    <a:pt x="151" y="110"/>
                  </a:lnTo>
                  <a:lnTo>
                    <a:pt x="155" y="110"/>
                  </a:lnTo>
                  <a:lnTo>
                    <a:pt x="160" y="114"/>
                  </a:lnTo>
                  <a:lnTo>
                    <a:pt x="160" y="119"/>
                  </a:lnTo>
                  <a:lnTo>
                    <a:pt x="155" y="119"/>
                  </a:lnTo>
                  <a:lnTo>
                    <a:pt x="151" y="133"/>
                  </a:lnTo>
                  <a:lnTo>
                    <a:pt x="151" y="142"/>
                  </a:lnTo>
                  <a:lnTo>
                    <a:pt x="151" y="142"/>
                  </a:lnTo>
                  <a:lnTo>
                    <a:pt x="151" y="151"/>
                  </a:lnTo>
                  <a:lnTo>
                    <a:pt x="146" y="151"/>
                  </a:lnTo>
                  <a:lnTo>
                    <a:pt x="146" y="155"/>
                  </a:lnTo>
                  <a:lnTo>
                    <a:pt x="146" y="160"/>
                  </a:lnTo>
                  <a:lnTo>
                    <a:pt x="146" y="165"/>
                  </a:lnTo>
                  <a:lnTo>
                    <a:pt x="146" y="165"/>
                  </a:lnTo>
                  <a:lnTo>
                    <a:pt x="146" y="169"/>
                  </a:lnTo>
                  <a:lnTo>
                    <a:pt x="146" y="169"/>
                  </a:lnTo>
                  <a:lnTo>
                    <a:pt x="151" y="174"/>
                  </a:lnTo>
                  <a:lnTo>
                    <a:pt x="155" y="178"/>
                  </a:lnTo>
                  <a:lnTo>
                    <a:pt x="160" y="183"/>
                  </a:lnTo>
                  <a:lnTo>
                    <a:pt x="164" y="183"/>
                  </a:lnTo>
                  <a:lnTo>
                    <a:pt x="164" y="187"/>
                  </a:lnTo>
                  <a:lnTo>
                    <a:pt x="169" y="187"/>
                  </a:lnTo>
                  <a:lnTo>
                    <a:pt x="169" y="192"/>
                  </a:lnTo>
                  <a:lnTo>
                    <a:pt x="169" y="192"/>
                  </a:lnTo>
                  <a:lnTo>
                    <a:pt x="173" y="201"/>
                  </a:lnTo>
                  <a:lnTo>
                    <a:pt x="178" y="206"/>
                  </a:lnTo>
                  <a:lnTo>
                    <a:pt x="183" y="206"/>
                  </a:lnTo>
                  <a:lnTo>
                    <a:pt x="187" y="206"/>
                  </a:lnTo>
                  <a:lnTo>
                    <a:pt x="192" y="206"/>
                  </a:lnTo>
                  <a:lnTo>
                    <a:pt x="196" y="210"/>
                  </a:lnTo>
                  <a:lnTo>
                    <a:pt x="210" y="210"/>
                  </a:lnTo>
                  <a:lnTo>
                    <a:pt x="215" y="210"/>
                  </a:lnTo>
                  <a:lnTo>
                    <a:pt x="215" y="210"/>
                  </a:lnTo>
                  <a:lnTo>
                    <a:pt x="228" y="210"/>
                  </a:lnTo>
                  <a:lnTo>
                    <a:pt x="233" y="210"/>
                  </a:lnTo>
                  <a:lnTo>
                    <a:pt x="237" y="210"/>
                  </a:lnTo>
                  <a:lnTo>
                    <a:pt x="242" y="210"/>
                  </a:lnTo>
                  <a:lnTo>
                    <a:pt x="251" y="210"/>
                  </a:lnTo>
                  <a:lnTo>
                    <a:pt x="260" y="210"/>
                  </a:lnTo>
                  <a:lnTo>
                    <a:pt x="265" y="210"/>
                  </a:lnTo>
                  <a:lnTo>
                    <a:pt x="269" y="210"/>
                  </a:lnTo>
                  <a:lnTo>
                    <a:pt x="274" y="210"/>
                  </a:lnTo>
                  <a:lnTo>
                    <a:pt x="283" y="210"/>
                  </a:lnTo>
                  <a:lnTo>
                    <a:pt x="288" y="215"/>
                  </a:lnTo>
                  <a:lnTo>
                    <a:pt x="288" y="215"/>
                  </a:lnTo>
                  <a:lnTo>
                    <a:pt x="292" y="215"/>
                  </a:lnTo>
                  <a:lnTo>
                    <a:pt x="292" y="210"/>
                  </a:lnTo>
                  <a:lnTo>
                    <a:pt x="301" y="215"/>
                  </a:lnTo>
                  <a:lnTo>
                    <a:pt x="301" y="215"/>
                  </a:lnTo>
                  <a:lnTo>
                    <a:pt x="306" y="210"/>
                  </a:lnTo>
                  <a:lnTo>
                    <a:pt x="311" y="210"/>
                  </a:lnTo>
                  <a:lnTo>
                    <a:pt x="315" y="215"/>
                  </a:lnTo>
                  <a:lnTo>
                    <a:pt x="320" y="215"/>
                  </a:lnTo>
                  <a:lnTo>
                    <a:pt x="329" y="219"/>
                  </a:lnTo>
                  <a:lnTo>
                    <a:pt x="333" y="219"/>
                  </a:lnTo>
                  <a:lnTo>
                    <a:pt x="343" y="215"/>
                  </a:lnTo>
                  <a:lnTo>
                    <a:pt x="347" y="219"/>
                  </a:lnTo>
                  <a:lnTo>
                    <a:pt x="347" y="224"/>
                  </a:lnTo>
                  <a:lnTo>
                    <a:pt x="347" y="229"/>
                  </a:lnTo>
                  <a:lnTo>
                    <a:pt x="347" y="233"/>
                  </a:lnTo>
                  <a:lnTo>
                    <a:pt x="347" y="256"/>
                  </a:lnTo>
                  <a:lnTo>
                    <a:pt x="347" y="261"/>
                  </a:lnTo>
                  <a:lnTo>
                    <a:pt x="347" y="270"/>
                  </a:lnTo>
                  <a:lnTo>
                    <a:pt x="347" y="274"/>
                  </a:lnTo>
                  <a:lnTo>
                    <a:pt x="347" y="274"/>
                  </a:lnTo>
                  <a:lnTo>
                    <a:pt x="343" y="274"/>
                  </a:lnTo>
                  <a:lnTo>
                    <a:pt x="343" y="279"/>
                  </a:lnTo>
                  <a:lnTo>
                    <a:pt x="343" y="283"/>
                  </a:lnTo>
                  <a:lnTo>
                    <a:pt x="343" y="288"/>
                  </a:lnTo>
                  <a:lnTo>
                    <a:pt x="338" y="288"/>
                  </a:lnTo>
                  <a:lnTo>
                    <a:pt x="333" y="293"/>
                  </a:lnTo>
                  <a:lnTo>
                    <a:pt x="324" y="293"/>
                  </a:lnTo>
                  <a:lnTo>
                    <a:pt x="324" y="293"/>
                  </a:lnTo>
                  <a:lnTo>
                    <a:pt x="320" y="293"/>
                  </a:lnTo>
                  <a:lnTo>
                    <a:pt x="315" y="297"/>
                  </a:lnTo>
                  <a:lnTo>
                    <a:pt x="315" y="302"/>
                  </a:lnTo>
                  <a:lnTo>
                    <a:pt x="315" y="302"/>
                  </a:lnTo>
                  <a:lnTo>
                    <a:pt x="315" y="306"/>
                  </a:lnTo>
                  <a:lnTo>
                    <a:pt x="311" y="311"/>
                  </a:lnTo>
                  <a:lnTo>
                    <a:pt x="311" y="315"/>
                  </a:lnTo>
                  <a:lnTo>
                    <a:pt x="306" y="320"/>
                  </a:lnTo>
                  <a:lnTo>
                    <a:pt x="306" y="325"/>
                  </a:lnTo>
                  <a:lnTo>
                    <a:pt x="311" y="329"/>
                  </a:lnTo>
                  <a:lnTo>
                    <a:pt x="311" y="334"/>
                  </a:lnTo>
                  <a:lnTo>
                    <a:pt x="315" y="334"/>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2" name="Freeform 39">
              <a:extLst>
                <a:ext uri="{FF2B5EF4-FFF2-40B4-BE49-F238E27FC236}">
                  <a16:creationId xmlns:a16="http://schemas.microsoft.com/office/drawing/2014/main" id="{B0BA079C-5D7B-4E42-A9CA-0307B13EBD44}"/>
                </a:ext>
              </a:extLst>
            </p:cNvPr>
            <p:cNvSpPr>
              <a:spLocks/>
            </p:cNvSpPr>
            <p:nvPr>
              <p:custDataLst>
                <p:tags r:id="rId34"/>
              </p:custDataLst>
            </p:nvPr>
          </p:nvSpPr>
          <p:spPr bwMode="auto">
            <a:xfrm>
              <a:off x="619123" y="807325"/>
              <a:ext cx="897936" cy="715860"/>
            </a:xfrm>
            <a:custGeom>
              <a:avLst/>
              <a:gdLst/>
              <a:ahLst/>
              <a:cxnLst>
                <a:cxn ang="0">
                  <a:pos x="374" y="617"/>
                </a:cxn>
                <a:cxn ang="0">
                  <a:pos x="306" y="635"/>
                </a:cxn>
                <a:cxn ang="0">
                  <a:pos x="242" y="676"/>
                </a:cxn>
                <a:cxn ang="0">
                  <a:pos x="192" y="704"/>
                </a:cxn>
                <a:cxn ang="0">
                  <a:pos x="169" y="690"/>
                </a:cxn>
                <a:cxn ang="0">
                  <a:pos x="169" y="608"/>
                </a:cxn>
                <a:cxn ang="0">
                  <a:pos x="196" y="557"/>
                </a:cxn>
                <a:cxn ang="0">
                  <a:pos x="242" y="567"/>
                </a:cxn>
                <a:cxn ang="0">
                  <a:pos x="246" y="489"/>
                </a:cxn>
                <a:cxn ang="0">
                  <a:pos x="246" y="443"/>
                </a:cxn>
                <a:cxn ang="0">
                  <a:pos x="242" y="384"/>
                </a:cxn>
                <a:cxn ang="0">
                  <a:pos x="228" y="361"/>
                </a:cxn>
                <a:cxn ang="0">
                  <a:pos x="242" y="329"/>
                </a:cxn>
                <a:cxn ang="0">
                  <a:pos x="251" y="297"/>
                </a:cxn>
                <a:cxn ang="0">
                  <a:pos x="242" y="283"/>
                </a:cxn>
                <a:cxn ang="0">
                  <a:pos x="219" y="301"/>
                </a:cxn>
                <a:cxn ang="0">
                  <a:pos x="201" y="311"/>
                </a:cxn>
                <a:cxn ang="0">
                  <a:pos x="178" y="301"/>
                </a:cxn>
                <a:cxn ang="0">
                  <a:pos x="155" y="292"/>
                </a:cxn>
                <a:cxn ang="0">
                  <a:pos x="123" y="283"/>
                </a:cxn>
                <a:cxn ang="0">
                  <a:pos x="105" y="260"/>
                </a:cxn>
                <a:cxn ang="0">
                  <a:pos x="86" y="256"/>
                </a:cxn>
                <a:cxn ang="0">
                  <a:pos x="68" y="237"/>
                </a:cxn>
                <a:cxn ang="0">
                  <a:pos x="54" y="247"/>
                </a:cxn>
                <a:cxn ang="0">
                  <a:pos x="0" y="215"/>
                </a:cxn>
                <a:cxn ang="0">
                  <a:pos x="0" y="160"/>
                </a:cxn>
                <a:cxn ang="0">
                  <a:pos x="45" y="141"/>
                </a:cxn>
                <a:cxn ang="0">
                  <a:pos x="105" y="91"/>
                </a:cxn>
                <a:cxn ang="0">
                  <a:pos x="132" y="68"/>
                </a:cxn>
                <a:cxn ang="0">
                  <a:pos x="173" y="64"/>
                </a:cxn>
                <a:cxn ang="0">
                  <a:pos x="219" y="55"/>
                </a:cxn>
                <a:cxn ang="0">
                  <a:pos x="274" y="45"/>
                </a:cxn>
                <a:cxn ang="0">
                  <a:pos x="320" y="55"/>
                </a:cxn>
                <a:cxn ang="0">
                  <a:pos x="352" y="55"/>
                </a:cxn>
                <a:cxn ang="0">
                  <a:pos x="393" y="55"/>
                </a:cxn>
                <a:cxn ang="0">
                  <a:pos x="425" y="55"/>
                </a:cxn>
                <a:cxn ang="0">
                  <a:pos x="466" y="18"/>
                </a:cxn>
                <a:cxn ang="0">
                  <a:pos x="516" y="4"/>
                </a:cxn>
                <a:cxn ang="0">
                  <a:pos x="566" y="18"/>
                </a:cxn>
                <a:cxn ang="0">
                  <a:pos x="649" y="50"/>
                </a:cxn>
                <a:cxn ang="0">
                  <a:pos x="713" y="68"/>
                </a:cxn>
                <a:cxn ang="0">
                  <a:pos x="768" y="96"/>
                </a:cxn>
                <a:cxn ang="0">
                  <a:pos x="795" y="87"/>
                </a:cxn>
                <a:cxn ang="0">
                  <a:pos x="822" y="87"/>
                </a:cxn>
                <a:cxn ang="0">
                  <a:pos x="868" y="109"/>
                </a:cxn>
                <a:cxn ang="0">
                  <a:pos x="928" y="164"/>
                </a:cxn>
                <a:cxn ang="0">
                  <a:pos x="969" y="210"/>
                </a:cxn>
                <a:cxn ang="0">
                  <a:pos x="987" y="237"/>
                </a:cxn>
                <a:cxn ang="0">
                  <a:pos x="1010" y="279"/>
                </a:cxn>
                <a:cxn ang="0">
                  <a:pos x="850" y="324"/>
                </a:cxn>
                <a:cxn ang="0">
                  <a:pos x="749" y="365"/>
                </a:cxn>
                <a:cxn ang="0">
                  <a:pos x="722" y="411"/>
                </a:cxn>
                <a:cxn ang="0">
                  <a:pos x="635" y="434"/>
                </a:cxn>
                <a:cxn ang="0">
                  <a:pos x="571" y="461"/>
                </a:cxn>
                <a:cxn ang="0">
                  <a:pos x="516" y="525"/>
                </a:cxn>
                <a:cxn ang="0">
                  <a:pos x="534" y="599"/>
                </a:cxn>
                <a:cxn ang="0">
                  <a:pos x="461" y="612"/>
                </a:cxn>
              </a:cxnLst>
              <a:rect l="0" t="0" r="r" b="b"/>
              <a:pathLst>
                <a:path w="1028" h="708">
                  <a:moveTo>
                    <a:pt x="438" y="612"/>
                  </a:moveTo>
                  <a:lnTo>
                    <a:pt x="434" y="612"/>
                  </a:lnTo>
                  <a:lnTo>
                    <a:pt x="416" y="617"/>
                  </a:lnTo>
                  <a:lnTo>
                    <a:pt x="402" y="617"/>
                  </a:lnTo>
                  <a:lnTo>
                    <a:pt x="388" y="617"/>
                  </a:lnTo>
                  <a:lnTo>
                    <a:pt x="374" y="617"/>
                  </a:lnTo>
                  <a:lnTo>
                    <a:pt x="370" y="617"/>
                  </a:lnTo>
                  <a:lnTo>
                    <a:pt x="361" y="621"/>
                  </a:lnTo>
                  <a:lnTo>
                    <a:pt x="352" y="631"/>
                  </a:lnTo>
                  <a:lnTo>
                    <a:pt x="329" y="635"/>
                  </a:lnTo>
                  <a:lnTo>
                    <a:pt x="320" y="635"/>
                  </a:lnTo>
                  <a:lnTo>
                    <a:pt x="306" y="635"/>
                  </a:lnTo>
                  <a:lnTo>
                    <a:pt x="297" y="635"/>
                  </a:lnTo>
                  <a:lnTo>
                    <a:pt x="283" y="640"/>
                  </a:lnTo>
                  <a:lnTo>
                    <a:pt x="269" y="649"/>
                  </a:lnTo>
                  <a:lnTo>
                    <a:pt x="260" y="653"/>
                  </a:lnTo>
                  <a:lnTo>
                    <a:pt x="246" y="667"/>
                  </a:lnTo>
                  <a:lnTo>
                    <a:pt x="242" y="676"/>
                  </a:lnTo>
                  <a:lnTo>
                    <a:pt x="228" y="685"/>
                  </a:lnTo>
                  <a:lnTo>
                    <a:pt x="219" y="695"/>
                  </a:lnTo>
                  <a:lnTo>
                    <a:pt x="210" y="699"/>
                  </a:lnTo>
                  <a:lnTo>
                    <a:pt x="196" y="699"/>
                  </a:lnTo>
                  <a:lnTo>
                    <a:pt x="196" y="699"/>
                  </a:lnTo>
                  <a:lnTo>
                    <a:pt x="192" y="704"/>
                  </a:lnTo>
                  <a:lnTo>
                    <a:pt x="187" y="708"/>
                  </a:lnTo>
                  <a:lnTo>
                    <a:pt x="178" y="708"/>
                  </a:lnTo>
                  <a:lnTo>
                    <a:pt x="178" y="708"/>
                  </a:lnTo>
                  <a:lnTo>
                    <a:pt x="173" y="708"/>
                  </a:lnTo>
                  <a:lnTo>
                    <a:pt x="169" y="708"/>
                  </a:lnTo>
                  <a:lnTo>
                    <a:pt x="169" y="690"/>
                  </a:lnTo>
                  <a:lnTo>
                    <a:pt x="164" y="676"/>
                  </a:lnTo>
                  <a:lnTo>
                    <a:pt x="164" y="658"/>
                  </a:lnTo>
                  <a:lnTo>
                    <a:pt x="164" y="640"/>
                  </a:lnTo>
                  <a:lnTo>
                    <a:pt x="164" y="621"/>
                  </a:lnTo>
                  <a:lnTo>
                    <a:pt x="169" y="608"/>
                  </a:lnTo>
                  <a:lnTo>
                    <a:pt x="169" y="608"/>
                  </a:lnTo>
                  <a:lnTo>
                    <a:pt x="164" y="589"/>
                  </a:lnTo>
                  <a:lnTo>
                    <a:pt x="169" y="580"/>
                  </a:lnTo>
                  <a:lnTo>
                    <a:pt x="173" y="576"/>
                  </a:lnTo>
                  <a:lnTo>
                    <a:pt x="178" y="567"/>
                  </a:lnTo>
                  <a:lnTo>
                    <a:pt x="187" y="562"/>
                  </a:lnTo>
                  <a:lnTo>
                    <a:pt x="196" y="557"/>
                  </a:lnTo>
                  <a:lnTo>
                    <a:pt x="205" y="553"/>
                  </a:lnTo>
                  <a:lnTo>
                    <a:pt x="219" y="548"/>
                  </a:lnTo>
                  <a:lnTo>
                    <a:pt x="228" y="553"/>
                  </a:lnTo>
                  <a:lnTo>
                    <a:pt x="237" y="562"/>
                  </a:lnTo>
                  <a:lnTo>
                    <a:pt x="242" y="567"/>
                  </a:lnTo>
                  <a:lnTo>
                    <a:pt x="242" y="567"/>
                  </a:lnTo>
                  <a:lnTo>
                    <a:pt x="246" y="562"/>
                  </a:lnTo>
                  <a:lnTo>
                    <a:pt x="246" y="548"/>
                  </a:lnTo>
                  <a:lnTo>
                    <a:pt x="251" y="535"/>
                  </a:lnTo>
                  <a:lnTo>
                    <a:pt x="251" y="521"/>
                  </a:lnTo>
                  <a:lnTo>
                    <a:pt x="251" y="503"/>
                  </a:lnTo>
                  <a:lnTo>
                    <a:pt x="246" y="489"/>
                  </a:lnTo>
                  <a:lnTo>
                    <a:pt x="242" y="480"/>
                  </a:lnTo>
                  <a:lnTo>
                    <a:pt x="242" y="475"/>
                  </a:lnTo>
                  <a:lnTo>
                    <a:pt x="242" y="466"/>
                  </a:lnTo>
                  <a:lnTo>
                    <a:pt x="242" y="457"/>
                  </a:lnTo>
                  <a:lnTo>
                    <a:pt x="242" y="452"/>
                  </a:lnTo>
                  <a:lnTo>
                    <a:pt x="246" y="443"/>
                  </a:lnTo>
                  <a:lnTo>
                    <a:pt x="246" y="434"/>
                  </a:lnTo>
                  <a:lnTo>
                    <a:pt x="251" y="420"/>
                  </a:lnTo>
                  <a:lnTo>
                    <a:pt x="246" y="411"/>
                  </a:lnTo>
                  <a:lnTo>
                    <a:pt x="246" y="397"/>
                  </a:lnTo>
                  <a:lnTo>
                    <a:pt x="246" y="393"/>
                  </a:lnTo>
                  <a:lnTo>
                    <a:pt x="242" y="384"/>
                  </a:lnTo>
                  <a:lnTo>
                    <a:pt x="237" y="379"/>
                  </a:lnTo>
                  <a:lnTo>
                    <a:pt x="233" y="375"/>
                  </a:lnTo>
                  <a:lnTo>
                    <a:pt x="228" y="370"/>
                  </a:lnTo>
                  <a:lnTo>
                    <a:pt x="228" y="370"/>
                  </a:lnTo>
                  <a:lnTo>
                    <a:pt x="228" y="365"/>
                  </a:lnTo>
                  <a:lnTo>
                    <a:pt x="228" y="361"/>
                  </a:lnTo>
                  <a:lnTo>
                    <a:pt x="228" y="356"/>
                  </a:lnTo>
                  <a:lnTo>
                    <a:pt x="233" y="352"/>
                  </a:lnTo>
                  <a:lnTo>
                    <a:pt x="233" y="347"/>
                  </a:lnTo>
                  <a:lnTo>
                    <a:pt x="237" y="347"/>
                  </a:lnTo>
                  <a:lnTo>
                    <a:pt x="242" y="338"/>
                  </a:lnTo>
                  <a:lnTo>
                    <a:pt x="242" y="329"/>
                  </a:lnTo>
                  <a:lnTo>
                    <a:pt x="242" y="324"/>
                  </a:lnTo>
                  <a:lnTo>
                    <a:pt x="242" y="320"/>
                  </a:lnTo>
                  <a:lnTo>
                    <a:pt x="242" y="315"/>
                  </a:lnTo>
                  <a:lnTo>
                    <a:pt x="246" y="306"/>
                  </a:lnTo>
                  <a:lnTo>
                    <a:pt x="251" y="301"/>
                  </a:lnTo>
                  <a:lnTo>
                    <a:pt x="251" y="297"/>
                  </a:lnTo>
                  <a:lnTo>
                    <a:pt x="251" y="292"/>
                  </a:lnTo>
                  <a:lnTo>
                    <a:pt x="251" y="288"/>
                  </a:lnTo>
                  <a:lnTo>
                    <a:pt x="246" y="283"/>
                  </a:lnTo>
                  <a:lnTo>
                    <a:pt x="246" y="283"/>
                  </a:lnTo>
                  <a:lnTo>
                    <a:pt x="242" y="283"/>
                  </a:lnTo>
                  <a:lnTo>
                    <a:pt x="242" y="283"/>
                  </a:lnTo>
                  <a:lnTo>
                    <a:pt x="237" y="283"/>
                  </a:lnTo>
                  <a:lnTo>
                    <a:pt x="228" y="288"/>
                  </a:lnTo>
                  <a:lnTo>
                    <a:pt x="224" y="292"/>
                  </a:lnTo>
                  <a:lnTo>
                    <a:pt x="224" y="297"/>
                  </a:lnTo>
                  <a:lnTo>
                    <a:pt x="219" y="297"/>
                  </a:lnTo>
                  <a:lnTo>
                    <a:pt x="219" y="301"/>
                  </a:lnTo>
                  <a:lnTo>
                    <a:pt x="219" y="306"/>
                  </a:lnTo>
                  <a:lnTo>
                    <a:pt x="219" y="306"/>
                  </a:lnTo>
                  <a:lnTo>
                    <a:pt x="214" y="306"/>
                  </a:lnTo>
                  <a:lnTo>
                    <a:pt x="210" y="311"/>
                  </a:lnTo>
                  <a:lnTo>
                    <a:pt x="205" y="311"/>
                  </a:lnTo>
                  <a:lnTo>
                    <a:pt x="201" y="311"/>
                  </a:lnTo>
                  <a:lnTo>
                    <a:pt x="196" y="311"/>
                  </a:lnTo>
                  <a:lnTo>
                    <a:pt x="192" y="311"/>
                  </a:lnTo>
                  <a:lnTo>
                    <a:pt x="187" y="306"/>
                  </a:lnTo>
                  <a:lnTo>
                    <a:pt x="182" y="306"/>
                  </a:lnTo>
                  <a:lnTo>
                    <a:pt x="178" y="301"/>
                  </a:lnTo>
                  <a:lnTo>
                    <a:pt x="178" y="301"/>
                  </a:lnTo>
                  <a:lnTo>
                    <a:pt x="173" y="297"/>
                  </a:lnTo>
                  <a:lnTo>
                    <a:pt x="169" y="297"/>
                  </a:lnTo>
                  <a:lnTo>
                    <a:pt x="164" y="297"/>
                  </a:lnTo>
                  <a:lnTo>
                    <a:pt x="164" y="292"/>
                  </a:lnTo>
                  <a:lnTo>
                    <a:pt x="160" y="292"/>
                  </a:lnTo>
                  <a:lnTo>
                    <a:pt x="155" y="292"/>
                  </a:lnTo>
                  <a:lnTo>
                    <a:pt x="150" y="288"/>
                  </a:lnTo>
                  <a:lnTo>
                    <a:pt x="146" y="288"/>
                  </a:lnTo>
                  <a:lnTo>
                    <a:pt x="132" y="288"/>
                  </a:lnTo>
                  <a:lnTo>
                    <a:pt x="132" y="283"/>
                  </a:lnTo>
                  <a:lnTo>
                    <a:pt x="128" y="283"/>
                  </a:lnTo>
                  <a:lnTo>
                    <a:pt x="123" y="283"/>
                  </a:lnTo>
                  <a:lnTo>
                    <a:pt x="118" y="283"/>
                  </a:lnTo>
                  <a:lnTo>
                    <a:pt x="114" y="279"/>
                  </a:lnTo>
                  <a:lnTo>
                    <a:pt x="114" y="274"/>
                  </a:lnTo>
                  <a:lnTo>
                    <a:pt x="109" y="274"/>
                  </a:lnTo>
                  <a:lnTo>
                    <a:pt x="109" y="265"/>
                  </a:lnTo>
                  <a:lnTo>
                    <a:pt x="105" y="260"/>
                  </a:lnTo>
                  <a:lnTo>
                    <a:pt x="100" y="260"/>
                  </a:lnTo>
                  <a:lnTo>
                    <a:pt x="100" y="260"/>
                  </a:lnTo>
                  <a:lnTo>
                    <a:pt x="91" y="260"/>
                  </a:lnTo>
                  <a:lnTo>
                    <a:pt x="86" y="260"/>
                  </a:lnTo>
                  <a:lnTo>
                    <a:pt x="86" y="256"/>
                  </a:lnTo>
                  <a:lnTo>
                    <a:pt x="86" y="256"/>
                  </a:lnTo>
                  <a:lnTo>
                    <a:pt x="82" y="251"/>
                  </a:lnTo>
                  <a:lnTo>
                    <a:pt x="82" y="247"/>
                  </a:lnTo>
                  <a:lnTo>
                    <a:pt x="77" y="247"/>
                  </a:lnTo>
                  <a:lnTo>
                    <a:pt x="77" y="242"/>
                  </a:lnTo>
                  <a:lnTo>
                    <a:pt x="73" y="242"/>
                  </a:lnTo>
                  <a:lnTo>
                    <a:pt x="68" y="237"/>
                  </a:lnTo>
                  <a:lnTo>
                    <a:pt x="68" y="242"/>
                  </a:lnTo>
                  <a:lnTo>
                    <a:pt x="68" y="242"/>
                  </a:lnTo>
                  <a:lnTo>
                    <a:pt x="64" y="242"/>
                  </a:lnTo>
                  <a:lnTo>
                    <a:pt x="64" y="247"/>
                  </a:lnTo>
                  <a:lnTo>
                    <a:pt x="59" y="247"/>
                  </a:lnTo>
                  <a:lnTo>
                    <a:pt x="54" y="247"/>
                  </a:lnTo>
                  <a:lnTo>
                    <a:pt x="50" y="247"/>
                  </a:lnTo>
                  <a:lnTo>
                    <a:pt x="41" y="247"/>
                  </a:lnTo>
                  <a:lnTo>
                    <a:pt x="32" y="247"/>
                  </a:lnTo>
                  <a:lnTo>
                    <a:pt x="27" y="247"/>
                  </a:lnTo>
                  <a:lnTo>
                    <a:pt x="0" y="247"/>
                  </a:lnTo>
                  <a:lnTo>
                    <a:pt x="0" y="215"/>
                  </a:lnTo>
                  <a:lnTo>
                    <a:pt x="0" y="210"/>
                  </a:lnTo>
                  <a:lnTo>
                    <a:pt x="0" y="196"/>
                  </a:lnTo>
                  <a:lnTo>
                    <a:pt x="0" y="173"/>
                  </a:lnTo>
                  <a:lnTo>
                    <a:pt x="0" y="169"/>
                  </a:lnTo>
                  <a:lnTo>
                    <a:pt x="0" y="160"/>
                  </a:lnTo>
                  <a:lnTo>
                    <a:pt x="0" y="160"/>
                  </a:lnTo>
                  <a:lnTo>
                    <a:pt x="18" y="160"/>
                  </a:lnTo>
                  <a:lnTo>
                    <a:pt x="22" y="160"/>
                  </a:lnTo>
                  <a:lnTo>
                    <a:pt x="27" y="160"/>
                  </a:lnTo>
                  <a:lnTo>
                    <a:pt x="27" y="160"/>
                  </a:lnTo>
                  <a:lnTo>
                    <a:pt x="32" y="155"/>
                  </a:lnTo>
                  <a:lnTo>
                    <a:pt x="45" y="141"/>
                  </a:lnTo>
                  <a:lnTo>
                    <a:pt x="64" y="128"/>
                  </a:lnTo>
                  <a:lnTo>
                    <a:pt x="68" y="123"/>
                  </a:lnTo>
                  <a:lnTo>
                    <a:pt x="73" y="119"/>
                  </a:lnTo>
                  <a:lnTo>
                    <a:pt x="77" y="119"/>
                  </a:lnTo>
                  <a:lnTo>
                    <a:pt x="86" y="109"/>
                  </a:lnTo>
                  <a:lnTo>
                    <a:pt x="105" y="91"/>
                  </a:lnTo>
                  <a:lnTo>
                    <a:pt x="109" y="91"/>
                  </a:lnTo>
                  <a:lnTo>
                    <a:pt x="118" y="82"/>
                  </a:lnTo>
                  <a:lnTo>
                    <a:pt x="128" y="73"/>
                  </a:lnTo>
                  <a:lnTo>
                    <a:pt x="128" y="73"/>
                  </a:lnTo>
                  <a:lnTo>
                    <a:pt x="132" y="73"/>
                  </a:lnTo>
                  <a:lnTo>
                    <a:pt x="132" y="68"/>
                  </a:lnTo>
                  <a:lnTo>
                    <a:pt x="141" y="68"/>
                  </a:lnTo>
                  <a:lnTo>
                    <a:pt x="155" y="68"/>
                  </a:lnTo>
                  <a:lnTo>
                    <a:pt x="160" y="64"/>
                  </a:lnTo>
                  <a:lnTo>
                    <a:pt x="164" y="64"/>
                  </a:lnTo>
                  <a:lnTo>
                    <a:pt x="169" y="64"/>
                  </a:lnTo>
                  <a:lnTo>
                    <a:pt x="173" y="64"/>
                  </a:lnTo>
                  <a:lnTo>
                    <a:pt x="178" y="64"/>
                  </a:lnTo>
                  <a:lnTo>
                    <a:pt x="178" y="64"/>
                  </a:lnTo>
                  <a:lnTo>
                    <a:pt x="187" y="59"/>
                  </a:lnTo>
                  <a:lnTo>
                    <a:pt x="192" y="59"/>
                  </a:lnTo>
                  <a:lnTo>
                    <a:pt x="205" y="55"/>
                  </a:lnTo>
                  <a:lnTo>
                    <a:pt x="219" y="55"/>
                  </a:lnTo>
                  <a:lnTo>
                    <a:pt x="228" y="55"/>
                  </a:lnTo>
                  <a:lnTo>
                    <a:pt x="233" y="50"/>
                  </a:lnTo>
                  <a:lnTo>
                    <a:pt x="237" y="50"/>
                  </a:lnTo>
                  <a:lnTo>
                    <a:pt x="246" y="50"/>
                  </a:lnTo>
                  <a:lnTo>
                    <a:pt x="251" y="50"/>
                  </a:lnTo>
                  <a:lnTo>
                    <a:pt x="274" y="45"/>
                  </a:lnTo>
                  <a:lnTo>
                    <a:pt x="283" y="41"/>
                  </a:lnTo>
                  <a:lnTo>
                    <a:pt x="283" y="45"/>
                  </a:lnTo>
                  <a:lnTo>
                    <a:pt x="292" y="55"/>
                  </a:lnTo>
                  <a:lnTo>
                    <a:pt x="297" y="55"/>
                  </a:lnTo>
                  <a:lnTo>
                    <a:pt x="310" y="55"/>
                  </a:lnTo>
                  <a:lnTo>
                    <a:pt x="320" y="55"/>
                  </a:lnTo>
                  <a:lnTo>
                    <a:pt x="324" y="59"/>
                  </a:lnTo>
                  <a:lnTo>
                    <a:pt x="329" y="59"/>
                  </a:lnTo>
                  <a:lnTo>
                    <a:pt x="333" y="59"/>
                  </a:lnTo>
                  <a:lnTo>
                    <a:pt x="333" y="59"/>
                  </a:lnTo>
                  <a:lnTo>
                    <a:pt x="342" y="55"/>
                  </a:lnTo>
                  <a:lnTo>
                    <a:pt x="352" y="55"/>
                  </a:lnTo>
                  <a:lnTo>
                    <a:pt x="365" y="55"/>
                  </a:lnTo>
                  <a:lnTo>
                    <a:pt x="370" y="55"/>
                  </a:lnTo>
                  <a:lnTo>
                    <a:pt x="379" y="55"/>
                  </a:lnTo>
                  <a:lnTo>
                    <a:pt x="384" y="55"/>
                  </a:lnTo>
                  <a:lnTo>
                    <a:pt x="388" y="55"/>
                  </a:lnTo>
                  <a:lnTo>
                    <a:pt x="393" y="55"/>
                  </a:lnTo>
                  <a:lnTo>
                    <a:pt x="397" y="55"/>
                  </a:lnTo>
                  <a:lnTo>
                    <a:pt x="397" y="55"/>
                  </a:lnTo>
                  <a:lnTo>
                    <a:pt x="402" y="55"/>
                  </a:lnTo>
                  <a:lnTo>
                    <a:pt x="406" y="55"/>
                  </a:lnTo>
                  <a:lnTo>
                    <a:pt x="420" y="55"/>
                  </a:lnTo>
                  <a:lnTo>
                    <a:pt x="425" y="55"/>
                  </a:lnTo>
                  <a:lnTo>
                    <a:pt x="434" y="55"/>
                  </a:lnTo>
                  <a:lnTo>
                    <a:pt x="438" y="50"/>
                  </a:lnTo>
                  <a:lnTo>
                    <a:pt x="443" y="45"/>
                  </a:lnTo>
                  <a:lnTo>
                    <a:pt x="448" y="36"/>
                  </a:lnTo>
                  <a:lnTo>
                    <a:pt x="461" y="23"/>
                  </a:lnTo>
                  <a:lnTo>
                    <a:pt x="466" y="18"/>
                  </a:lnTo>
                  <a:lnTo>
                    <a:pt x="489" y="13"/>
                  </a:lnTo>
                  <a:lnTo>
                    <a:pt x="498" y="9"/>
                  </a:lnTo>
                  <a:lnTo>
                    <a:pt x="502" y="9"/>
                  </a:lnTo>
                  <a:lnTo>
                    <a:pt x="502" y="9"/>
                  </a:lnTo>
                  <a:lnTo>
                    <a:pt x="502" y="9"/>
                  </a:lnTo>
                  <a:lnTo>
                    <a:pt x="516" y="4"/>
                  </a:lnTo>
                  <a:lnTo>
                    <a:pt x="516" y="4"/>
                  </a:lnTo>
                  <a:lnTo>
                    <a:pt x="530" y="0"/>
                  </a:lnTo>
                  <a:lnTo>
                    <a:pt x="534" y="4"/>
                  </a:lnTo>
                  <a:lnTo>
                    <a:pt x="553" y="9"/>
                  </a:lnTo>
                  <a:lnTo>
                    <a:pt x="562" y="13"/>
                  </a:lnTo>
                  <a:lnTo>
                    <a:pt x="566" y="18"/>
                  </a:lnTo>
                  <a:lnTo>
                    <a:pt x="608" y="36"/>
                  </a:lnTo>
                  <a:lnTo>
                    <a:pt x="608" y="36"/>
                  </a:lnTo>
                  <a:lnTo>
                    <a:pt x="612" y="36"/>
                  </a:lnTo>
                  <a:lnTo>
                    <a:pt x="617" y="36"/>
                  </a:lnTo>
                  <a:lnTo>
                    <a:pt x="635" y="45"/>
                  </a:lnTo>
                  <a:lnTo>
                    <a:pt x="649" y="50"/>
                  </a:lnTo>
                  <a:lnTo>
                    <a:pt x="662" y="55"/>
                  </a:lnTo>
                  <a:lnTo>
                    <a:pt x="667" y="55"/>
                  </a:lnTo>
                  <a:lnTo>
                    <a:pt x="676" y="59"/>
                  </a:lnTo>
                  <a:lnTo>
                    <a:pt x="704" y="68"/>
                  </a:lnTo>
                  <a:lnTo>
                    <a:pt x="704" y="68"/>
                  </a:lnTo>
                  <a:lnTo>
                    <a:pt x="713" y="68"/>
                  </a:lnTo>
                  <a:lnTo>
                    <a:pt x="717" y="73"/>
                  </a:lnTo>
                  <a:lnTo>
                    <a:pt x="726" y="77"/>
                  </a:lnTo>
                  <a:lnTo>
                    <a:pt x="740" y="82"/>
                  </a:lnTo>
                  <a:lnTo>
                    <a:pt x="754" y="91"/>
                  </a:lnTo>
                  <a:lnTo>
                    <a:pt x="763" y="91"/>
                  </a:lnTo>
                  <a:lnTo>
                    <a:pt x="768" y="96"/>
                  </a:lnTo>
                  <a:lnTo>
                    <a:pt x="768" y="96"/>
                  </a:lnTo>
                  <a:lnTo>
                    <a:pt x="768" y="96"/>
                  </a:lnTo>
                  <a:lnTo>
                    <a:pt x="777" y="91"/>
                  </a:lnTo>
                  <a:lnTo>
                    <a:pt x="781" y="91"/>
                  </a:lnTo>
                  <a:lnTo>
                    <a:pt x="786" y="87"/>
                  </a:lnTo>
                  <a:lnTo>
                    <a:pt x="795" y="87"/>
                  </a:lnTo>
                  <a:lnTo>
                    <a:pt x="809" y="87"/>
                  </a:lnTo>
                  <a:lnTo>
                    <a:pt x="809" y="87"/>
                  </a:lnTo>
                  <a:lnTo>
                    <a:pt x="809" y="87"/>
                  </a:lnTo>
                  <a:lnTo>
                    <a:pt x="818" y="87"/>
                  </a:lnTo>
                  <a:lnTo>
                    <a:pt x="822" y="87"/>
                  </a:lnTo>
                  <a:lnTo>
                    <a:pt x="822" y="87"/>
                  </a:lnTo>
                  <a:lnTo>
                    <a:pt x="827" y="91"/>
                  </a:lnTo>
                  <a:lnTo>
                    <a:pt x="827" y="91"/>
                  </a:lnTo>
                  <a:lnTo>
                    <a:pt x="841" y="96"/>
                  </a:lnTo>
                  <a:lnTo>
                    <a:pt x="864" y="109"/>
                  </a:lnTo>
                  <a:lnTo>
                    <a:pt x="868" y="109"/>
                  </a:lnTo>
                  <a:lnTo>
                    <a:pt x="868" y="109"/>
                  </a:lnTo>
                  <a:lnTo>
                    <a:pt x="868" y="109"/>
                  </a:lnTo>
                  <a:lnTo>
                    <a:pt x="873" y="114"/>
                  </a:lnTo>
                  <a:lnTo>
                    <a:pt x="882" y="119"/>
                  </a:lnTo>
                  <a:lnTo>
                    <a:pt x="896" y="137"/>
                  </a:lnTo>
                  <a:lnTo>
                    <a:pt x="923" y="160"/>
                  </a:lnTo>
                  <a:lnTo>
                    <a:pt x="928" y="164"/>
                  </a:lnTo>
                  <a:lnTo>
                    <a:pt x="928" y="169"/>
                  </a:lnTo>
                  <a:lnTo>
                    <a:pt x="950" y="187"/>
                  </a:lnTo>
                  <a:lnTo>
                    <a:pt x="955" y="196"/>
                  </a:lnTo>
                  <a:lnTo>
                    <a:pt x="960" y="201"/>
                  </a:lnTo>
                  <a:lnTo>
                    <a:pt x="964" y="205"/>
                  </a:lnTo>
                  <a:lnTo>
                    <a:pt x="969" y="210"/>
                  </a:lnTo>
                  <a:lnTo>
                    <a:pt x="973" y="215"/>
                  </a:lnTo>
                  <a:lnTo>
                    <a:pt x="973" y="219"/>
                  </a:lnTo>
                  <a:lnTo>
                    <a:pt x="978" y="224"/>
                  </a:lnTo>
                  <a:lnTo>
                    <a:pt x="978" y="228"/>
                  </a:lnTo>
                  <a:lnTo>
                    <a:pt x="982" y="228"/>
                  </a:lnTo>
                  <a:lnTo>
                    <a:pt x="987" y="237"/>
                  </a:lnTo>
                  <a:lnTo>
                    <a:pt x="987" y="242"/>
                  </a:lnTo>
                  <a:lnTo>
                    <a:pt x="992" y="251"/>
                  </a:lnTo>
                  <a:lnTo>
                    <a:pt x="996" y="260"/>
                  </a:lnTo>
                  <a:lnTo>
                    <a:pt x="1010" y="274"/>
                  </a:lnTo>
                  <a:lnTo>
                    <a:pt x="1010" y="279"/>
                  </a:lnTo>
                  <a:lnTo>
                    <a:pt x="1010" y="279"/>
                  </a:lnTo>
                  <a:lnTo>
                    <a:pt x="1014" y="288"/>
                  </a:lnTo>
                  <a:lnTo>
                    <a:pt x="1019" y="292"/>
                  </a:lnTo>
                  <a:lnTo>
                    <a:pt x="1028" y="306"/>
                  </a:lnTo>
                  <a:lnTo>
                    <a:pt x="1019" y="311"/>
                  </a:lnTo>
                  <a:lnTo>
                    <a:pt x="932" y="320"/>
                  </a:lnTo>
                  <a:lnTo>
                    <a:pt x="850" y="324"/>
                  </a:lnTo>
                  <a:lnTo>
                    <a:pt x="790" y="333"/>
                  </a:lnTo>
                  <a:lnTo>
                    <a:pt x="768" y="338"/>
                  </a:lnTo>
                  <a:lnTo>
                    <a:pt x="768" y="338"/>
                  </a:lnTo>
                  <a:lnTo>
                    <a:pt x="768" y="343"/>
                  </a:lnTo>
                  <a:lnTo>
                    <a:pt x="763" y="347"/>
                  </a:lnTo>
                  <a:lnTo>
                    <a:pt x="749" y="365"/>
                  </a:lnTo>
                  <a:lnTo>
                    <a:pt x="745" y="379"/>
                  </a:lnTo>
                  <a:lnTo>
                    <a:pt x="745" y="393"/>
                  </a:lnTo>
                  <a:lnTo>
                    <a:pt x="740" y="393"/>
                  </a:lnTo>
                  <a:lnTo>
                    <a:pt x="731" y="402"/>
                  </a:lnTo>
                  <a:lnTo>
                    <a:pt x="726" y="411"/>
                  </a:lnTo>
                  <a:lnTo>
                    <a:pt x="722" y="411"/>
                  </a:lnTo>
                  <a:lnTo>
                    <a:pt x="704" y="416"/>
                  </a:lnTo>
                  <a:lnTo>
                    <a:pt x="690" y="416"/>
                  </a:lnTo>
                  <a:lnTo>
                    <a:pt x="681" y="425"/>
                  </a:lnTo>
                  <a:lnTo>
                    <a:pt x="662" y="425"/>
                  </a:lnTo>
                  <a:lnTo>
                    <a:pt x="653" y="425"/>
                  </a:lnTo>
                  <a:lnTo>
                    <a:pt x="635" y="434"/>
                  </a:lnTo>
                  <a:lnTo>
                    <a:pt x="621" y="439"/>
                  </a:lnTo>
                  <a:lnTo>
                    <a:pt x="617" y="443"/>
                  </a:lnTo>
                  <a:lnTo>
                    <a:pt x="612" y="443"/>
                  </a:lnTo>
                  <a:lnTo>
                    <a:pt x="598" y="448"/>
                  </a:lnTo>
                  <a:lnTo>
                    <a:pt x="585" y="457"/>
                  </a:lnTo>
                  <a:lnTo>
                    <a:pt x="571" y="461"/>
                  </a:lnTo>
                  <a:lnTo>
                    <a:pt x="553" y="480"/>
                  </a:lnTo>
                  <a:lnTo>
                    <a:pt x="544" y="489"/>
                  </a:lnTo>
                  <a:lnTo>
                    <a:pt x="530" y="498"/>
                  </a:lnTo>
                  <a:lnTo>
                    <a:pt x="521" y="503"/>
                  </a:lnTo>
                  <a:lnTo>
                    <a:pt x="516" y="516"/>
                  </a:lnTo>
                  <a:lnTo>
                    <a:pt x="516" y="525"/>
                  </a:lnTo>
                  <a:lnTo>
                    <a:pt x="525" y="539"/>
                  </a:lnTo>
                  <a:lnTo>
                    <a:pt x="530" y="553"/>
                  </a:lnTo>
                  <a:lnTo>
                    <a:pt x="530" y="576"/>
                  </a:lnTo>
                  <a:lnTo>
                    <a:pt x="534" y="589"/>
                  </a:lnTo>
                  <a:lnTo>
                    <a:pt x="534" y="594"/>
                  </a:lnTo>
                  <a:lnTo>
                    <a:pt x="534" y="599"/>
                  </a:lnTo>
                  <a:lnTo>
                    <a:pt x="525" y="608"/>
                  </a:lnTo>
                  <a:lnTo>
                    <a:pt x="521" y="612"/>
                  </a:lnTo>
                  <a:lnTo>
                    <a:pt x="507" y="612"/>
                  </a:lnTo>
                  <a:lnTo>
                    <a:pt x="489" y="612"/>
                  </a:lnTo>
                  <a:lnTo>
                    <a:pt x="470" y="612"/>
                  </a:lnTo>
                  <a:lnTo>
                    <a:pt x="461" y="612"/>
                  </a:lnTo>
                  <a:lnTo>
                    <a:pt x="448" y="612"/>
                  </a:lnTo>
                  <a:lnTo>
                    <a:pt x="438" y="612"/>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3" name="Freeform 40">
              <a:extLst>
                <a:ext uri="{FF2B5EF4-FFF2-40B4-BE49-F238E27FC236}">
                  <a16:creationId xmlns:a16="http://schemas.microsoft.com/office/drawing/2014/main" id="{6645A1D6-E194-4C1F-8D9A-459FEC6E0912}"/>
                </a:ext>
              </a:extLst>
            </p:cNvPr>
            <p:cNvSpPr>
              <a:spLocks/>
            </p:cNvSpPr>
            <p:nvPr>
              <p:custDataLst>
                <p:tags r:id="rId35"/>
              </p:custDataLst>
            </p:nvPr>
          </p:nvSpPr>
          <p:spPr bwMode="auto">
            <a:xfrm>
              <a:off x="2286314" y="2466280"/>
              <a:ext cx="897936" cy="1170328"/>
            </a:xfrm>
            <a:custGeom>
              <a:avLst/>
              <a:gdLst/>
              <a:ahLst/>
              <a:cxnLst>
                <a:cxn ang="0">
                  <a:pos x="924" y="987"/>
                </a:cxn>
                <a:cxn ang="0">
                  <a:pos x="910" y="1038"/>
                </a:cxn>
                <a:cxn ang="0">
                  <a:pos x="901" y="1079"/>
                </a:cxn>
                <a:cxn ang="0">
                  <a:pos x="883" y="1115"/>
                </a:cxn>
                <a:cxn ang="0">
                  <a:pos x="842" y="1143"/>
                </a:cxn>
                <a:cxn ang="0">
                  <a:pos x="791" y="1143"/>
                </a:cxn>
                <a:cxn ang="0">
                  <a:pos x="746" y="1134"/>
                </a:cxn>
                <a:cxn ang="0">
                  <a:pos x="718" y="1074"/>
                </a:cxn>
                <a:cxn ang="0">
                  <a:pos x="672" y="1083"/>
                </a:cxn>
                <a:cxn ang="0">
                  <a:pos x="636" y="1038"/>
                </a:cxn>
                <a:cxn ang="0">
                  <a:pos x="631" y="992"/>
                </a:cxn>
                <a:cxn ang="0">
                  <a:pos x="599" y="983"/>
                </a:cxn>
                <a:cxn ang="0">
                  <a:pos x="558" y="951"/>
                </a:cxn>
                <a:cxn ang="0">
                  <a:pos x="526" y="933"/>
                </a:cxn>
                <a:cxn ang="0">
                  <a:pos x="508" y="997"/>
                </a:cxn>
                <a:cxn ang="0">
                  <a:pos x="416" y="1006"/>
                </a:cxn>
                <a:cxn ang="0">
                  <a:pos x="380" y="960"/>
                </a:cxn>
                <a:cxn ang="0">
                  <a:pos x="343" y="978"/>
                </a:cxn>
                <a:cxn ang="0">
                  <a:pos x="266" y="1056"/>
                </a:cxn>
                <a:cxn ang="0">
                  <a:pos x="229" y="1047"/>
                </a:cxn>
                <a:cxn ang="0">
                  <a:pos x="220" y="1097"/>
                </a:cxn>
                <a:cxn ang="0">
                  <a:pos x="197" y="1152"/>
                </a:cxn>
                <a:cxn ang="0">
                  <a:pos x="197" y="1024"/>
                </a:cxn>
                <a:cxn ang="0">
                  <a:pos x="220" y="965"/>
                </a:cxn>
                <a:cxn ang="0">
                  <a:pos x="275" y="914"/>
                </a:cxn>
                <a:cxn ang="0">
                  <a:pos x="284" y="768"/>
                </a:cxn>
                <a:cxn ang="0">
                  <a:pos x="220" y="695"/>
                </a:cxn>
                <a:cxn ang="0">
                  <a:pos x="165" y="654"/>
                </a:cxn>
                <a:cxn ang="0">
                  <a:pos x="42" y="667"/>
                </a:cxn>
                <a:cxn ang="0">
                  <a:pos x="5" y="658"/>
                </a:cxn>
                <a:cxn ang="0">
                  <a:pos x="46" y="622"/>
                </a:cxn>
                <a:cxn ang="0">
                  <a:pos x="92" y="585"/>
                </a:cxn>
                <a:cxn ang="0">
                  <a:pos x="74" y="507"/>
                </a:cxn>
                <a:cxn ang="0">
                  <a:pos x="133" y="489"/>
                </a:cxn>
                <a:cxn ang="0">
                  <a:pos x="197" y="462"/>
                </a:cxn>
                <a:cxn ang="0">
                  <a:pos x="270" y="439"/>
                </a:cxn>
                <a:cxn ang="0">
                  <a:pos x="320" y="407"/>
                </a:cxn>
                <a:cxn ang="0">
                  <a:pos x="366" y="375"/>
                </a:cxn>
                <a:cxn ang="0">
                  <a:pos x="416" y="329"/>
                </a:cxn>
                <a:cxn ang="0">
                  <a:pos x="480" y="270"/>
                </a:cxn>
                <a:cxn ang="0">
                  <a:pos x="567" y="242"/>
                </a:cxn>
                <a:cxn ang="0">
                  <a:pos x="540" y="146"/>
                </a:cxn>
                <a:cxn ang="0">
                  <a:pos x="558" y="36"/>
                </a:cxn>
                <a:cxn ang="0">
                  <a:pos x="627" y="14"/>
                </a:cxn>
                <a:cxn ang="0">
                  <a:pos x="746" y="9"/>
                </a:cxn>
                <a:cxn ang="0">
                  <a:pos x="842" y="18"/>
                </a:cxn>
                <a:cxn ang="0">
                  <a:pos x="892" y="64"/>
                </a:cxn>
                <a:cxn ang="0">
                  <a:pos x="942" y="100"/>
                </a:cxn>
                <a:cxn ang="0">
                  <a:pos x="965" y="151"/>
                </a:cxn>
                <a:cxn ang="0">
                  <a:pos x="1006" y="233"/>
                </a:cxn>
                <a:cxn ang="0">
                  <a:pos x="1006" y="311"/>
                </a:cxn>
                <a:cxn ang="0">
                  <a:pos x="988" y="398"/>
                </a:cxn>
                <a:cxn ang="0">
                  <a:pos x="938" y="443"/>
                </a:cxn>
                <a:cxn ang="0">
                  <a:pos x="896" y="498"/>
                </a:cxn>
                <a:cxn ang="0">
                  <a:pos x="864" y="539"/>
                </a:cxn>
                <a:cxn ang="0">
                  <a:pos x="855" y="594"/>
                </a:cxn>
                <a:cxn ang="0">
                  <a:pos x="901" y="658"/>
                </a:cxn>
                <a:cxn ang="0">
                  <a:pos x="947" y="622"/>
                </a:cxn>
                <a:cxn ang="0">
                  <a:pos x="997" y="672"/>
                </a:cxn>
                <a:cxn ang="0">
                  <a:pos x="1015" y="768"/>
                </a:cxn>
                <a:cxn ang="0">
                  <a:pos x="997" y="855"/>
                </a:cxn>
                <a:cxn ang="0">
                  <a:pos x="1006" y="942"/>
                </a:cxn>
              </a:cxnLst>
              <a:rect l="0" t="0" r="r" b="b"/>
              <a:pathLst>
                <a:path w="1029" h="1157">
                  <a:moveTo>
                    <a:pt x="960" y="955"/>
                  </a:moveTo>
                  <a:lnTo>
                    <a:pt x="960" y="955"/>
                  </a:lnTo>
                  <a:lnTo>
                    <a:pt x="956" y="955"/>
                  </a:lnTo>
                  <a:lnTo>
                    <a:pt x="956" y="955"/>
                  </a:lnTo>
                  <a:lnTo>
                    <a:pt x="951" y="960"/>
                  </a:lnTo>
                  <a:lnTo>
                    <a:pt x="947" y="965"/>
                  </a:lnTo>
                  <a:lnTo>
                    <a:pt x="947" y="969"/>
                  </a:lnTo>
                  <a:lnTo>
                    <a:pt x="942" y="969"/>
                  </a:lnTo>
                  <a:lnTo>
                    <a:pt x="942" y="969"/>
                  </a:lnTo>
                  <a:lnTo>
                    <a:pt x="942" y="969"/>
                  </a:lnTo>
                  <a:lnTo>
                    <a:pt x="938" y="969"/>
                  </a:lnTo>
                  <a:lnTo>
                    <a:pt x="933" y="974"/>
                  </a:lnTo>
                  <a:lnTo>
                    <a:pt x="928" y="974"/>
                  </a:lnTo>
                  <a:lnTo>
                    <a:pt x="928" y="978"/>
                  </a:lnTo>
                  <a:lnTo>
                    <a:pt x="928" y="983"/>
                  </a:lnTo>
                  <a:lnTo>
                    <a:pt x="924" y="987"/>
                  </a:lnTo>
                  <a:lnTo>
                    <a:pt x="924" y="997"/>
                  </a:lnTo>
                  <a:lnTo>
                    <a:pt x="924" y="1001"/>
                  </a:lnTo>
                  <a:lnTo>
                    <a:pt x="919" y="1001"/>
                  </a:lnTo>
                  <a:lnTo>
                    <a:pt x="915" y="1001"/>
                  </a:lnTo>
                  <a:lnTo>
                    <a:pt x="910" y="1001"/>
                  </a:lnTo>
                  <a:lnTo>
                    <a:pt x="906" y="1010"/>
                  </a:lnTo>
                  <a:lnTo>
                    <a:pt x="906" y="1015"/>
                  </a:lnTo>
                  <a:lnTo>
                    <a:pt x="901" y="1019"/>
                  </a:lnTo>
                  <a:lnTo>
                    <a:pt x="901" y="1019"/>
                  </a:lnTo>
                  <a:lnTo>
                    <a:pt x="901" y="1024"/>
                  </a:lnTo>
                  <a:lnTo>
                    <a:pt x="906" y="1024"/>
                  </a:lnTo>
                  <a:lnTo>
                    <a:pt x="910" y="1024"/>
                  </a:lnTo>
                  <a:lnTo>
                    <a:pt x="910" y="1024"/>
                  </a:lnTo>
                  <a:lnTo>
                    <a:pt x="910" y="1029"/>
                  </a:lnTo>
                  <a:lnTo>
                    <a:pt x="910" y="1033"/>
                  </a:lnTo>
                  <a:lnTo>
                    <a:pt x="910" y="1038"/>
                  </a:lnTo>
                  <a:lnTo>
                    <a:pt x="915" y="1038"/>
                  </a:lnTo>
                  <a:lnTo>
                    <a:pt x="915" y="1038"/>
                  </a:lnTo>
                  <a:lnTo>
                    <a:pt x="919" y="1042"/>
                  </a:lnTo>
                  <a:lnTo>
                    <a:pt x="910" y="1047"/>
                  </a:lnTo>
                  <a:lnTo>
                    <a:pt x="910" y="1051"/>
                  </a:lnTo>
                  <a:lnTo>
                    <a:pt x="906" y="1051"/>
                  </a:lnTo>
                  <a:lnTo>
                    <a:pt x="910" y="1051"/>
                  </a:lnTo>
                  <a:lnTo>
                    <a:pt x="910" y="1056"/>
                  </a:lnTo>
                  <a:lnTo>
                    <a:pt x="915" y="1061"/>
                  </a:lnTo>
                  <a:lnTo>
                    <a:pt x="915" y="1065"/>
                  </a:lnTo>
                  <a:lnTo>
                    <a:pt x="915" y="1070"/>
                  </a:lnTo>
                  <a:lnTo>
                    <a:pt x="910" y="1070"/>
                  </a:lnTo>
                  <a:lnTo>
                    <a:pt x="906" y="1070"/>
                  </a:lnTo>
                  <a:lnTo>
                    <a:pt x="906" y="1070"/>
                  </a:lnTo>
                  <a:lnTo>
                    <a:pt x="901" y="1074"/>
                  </a:lnTo>
                  <a:lnTo>
                    <a:pt x="901" y="1079"/>
                  </a:lnTo>
                  <a:lnTo>
                    <a:pt x="901" y="1083"/>
                  </a:lnTo>
                  <a:lnTo>
                    <a:pt x="901" y="1088"/>
                  </a:lnTo>
                  <a:lnTo>
                    <a:pt x="901" y="1088"/>
                  </a:lnTo>
                  <a:lnTo>
                    <a:pt x="901" y="1093"/>
                  </a:lnTo>
                  <a:lnTo>
                    <a:pt x="901" y="1093"/>
                  </a:lnTo>
                  <a:lnTo>
                    <a:pt x="896" y="1097"/>
                  </a:lnTo>
                  <a:lnTo>
                    <a:pt x="896" y="1097"/>
                  </a:lnTo>
                  <a:lnTo>
                    <a:pt x="896" y="1097"/>
                  </a:lnTo>
                  <a:lnTo>
                    <a:pt x="892" y="1102"/>
                  </a:lnTo>
                  <a:lnTo>
                    <a:pt x="892" y="1102"/>
                  </a:lnTo>
                  <a:lnTo>
                    <a:pt x="892" y="1102"/>
                  </a:lnTo>
                  <a:lnTo>
                    <a:pt x="887" y="1106"/>
                  </a:lnTo>
                  <a:lnTo>
                    <a:pt x="887" y="1111"/>
                  </a:lnTo>
                  <a:lnTo>
                    <a:pt x="887" y="1115"/>
                  </a:lnTo>
                  <a:lnTo>
                    <a:pt x="883" y="1115"/>
                  </a:lnTo>
                  <a:lnTo>
                    <a:pt x="883" y="1115"/>
                  </a:lnTo>
                  <a:lnTo>
                    <a:pt x="878" y="1115"/>
                  </a:lnTo>
                  <a:lnTo>
                    <a:pt x="878" y="1120"/>
                  </a:lnTo>
                  <a:lnTo>
                    <a:pt x="874" y="1120"/>
                  </a:lnTo>
                  <a:lnTo>
                    <a:pt x="869" y="1120"/>
                  </a:lnTo>
                  <a:lnTo>
                    <a:pt x="864" y="1115"/>
                  </a:lnTo>
                  <a:lnTo>
                    <a:pt x="860" y="1115"/>
                  </a:lnTo>
                  <a:lnTo>
                    <a:pt x="860" y="1120"/>
                  </a:lnTo>
                  <a:lnTo>
                    <a:pt x="855" y="1120"/>
                  </a:lnTo>
                  <a:lnTo>
                    <a:pt x="855" y="1120"/>
                  </a:lnTo>
                  <a:lnTo>
                    <a:pt x="855" y="1120"/>
                  </a:lnTo>
                  <a:lnTo>
                    <a:pt x="851" y="1120"/>
                  </a:lnTo>
                  <a:lnTo>
                    <a:pt x="855" y="1129"/>
                  </a:lnTo>
                  <a:lnTo>
                    <a:pt x="855" y="1138"/>
                  </a:lnTo>
                  <a:lnTo>
                    <a:pt x="851" y="1143"/>
                  </a:lnTo>
                  <a:lnTo>
                    <a:pt x="855" y="1143"/>
                  </a:lnTo>
                  <a:lnTo>
                    <a:pt x="842" y="1143"/>
                  </a:lnTo>
                  <a:lnTo>
                    <a:pt x="837" y="1147"/>
                  </a:lnTo>
                  <a:lnTo>
                    <a:pt x="832" y="1147"/>
                  </a:lnTo>
                  <a:lnTo>
                    <a:pt x="828" y="1147"/>
                  </a:lnTo>
                  <a:lnTo>
                    <a:pt x="823" y="1147"/>
                  </a:lnTo>
                  <a:lnTo>
                    <a:pt x="823" y="1152"/>
                  </a:lnTo>
                  <a:lnTo>
                    <a:pt x="823" y="1152"/>
                  </a:lnTo>
                  <a:lnTo>
                    <a:pt x="823" y="1157"/>
                  </a:lnTo>
                  <a:lnTo>
                    <a:pt x="823" y="1157"/>
                  </a:lnTo>
                  <a:lnTo>
                    <a:pt x="814" y="1152"/>
                  </a:lnTo>
                  <a:lnTo>
                    <a:pt x="814" y="1152"/>
                  </a:lnTo>
                  <a:lnTo>
                    <a:pt x="810" y="1152"/>
                  </a:lnTo>
                  <a:lnTo>
                    <a:pt x="810" y="1147"/>
                  </a:lnTo>
                  <a:lnTo>
                    <a:pt x="800" y="1143"/>
                  </a:lnTo>
                  <a:lnTo>
                    <a:pt x="800" y="1143"/>
                  </a:lnTo>
                  <a:lnTo>
                    <a:pt x="796" y="1143"/>
                  </a:lnTo>
                  <a:lnTo>
                    <a:pt x="791" y="1143"/>
                  </a:lnTo>
                  <a:lnTo>
                    <a:pt x="791" y="1147"/>
                  </a:lnTo>
                  <a:lnTo>
                    <a:pt x="787" y="1147"/>
                  </a:lnTo>
                  <a:lnTo>
                    <a:pt x="782" y="1147"/>
                  </a:lnTo>
                  <a:lnTo>
                    <a:pt x="782" y="1147"/>
                  </a:lnTo>
                  <a:lnTo>
                    <a:pt x="778" y="1143"/>
                  </a:lnTo>
                  <a:lnTo>
                    <a:pt x="773" y="1143"/>
                  </a:lnTo>
                  <a:lnTo>
                    <a:pt x="768" y="1143"/>
                  </a:lnTo>
                  <a:lnTo>
                    <a:pt x="764" y="1143"/>
                  </a:lnTo>
                  <a:lnTo>
                    <a:pt x="764" y="1143"/>
                  </a:lnTo>
                  <a:lnTo>
                    <a:pt x="759" y="1138"/>
                  </a:lnTo>
                  <a:lnTo>
                    <a:pt x="759" y="1138"/>
                  </a:lnTo>
                  <a:lnTo>
                    <a:pt x="759" y="1138"/>
                  </a:lnTo>
                  <a:lnTo>
                    <a:pt x="755" y="1134"/>
                  </a:lnTo>
                  <a:lnTo>
                    <a:pt x="750" y="1134"/>
                  </a:lnTo>
                  <a:lnTo>
                    <a:pt x="750" y="1134"/>
                  </a:lnTo>
                  <a:lnTo>
                    <a:pt x="746" y="1134"/>
                  </a:lnTo>
                  <a:lnTo>
                    <a:pt x="741" y="1138"/>
                  </a:lnTo>
                  <a:lnTo>
                    <a:pt x="741" y="1143"/>
                  </a:lnTo>
                  <a:lnTo>
                    <a:pt x="736" y="1143"/>
                  </a:lnTo>
                  <a:lnTo>
                    <a:pt x="732" y="1143"/>
                  </a:lnTo>
                  <a:lnTo>
                    <a:pt x="732" y="1143"/>
                  </a:lnTo>
                  <a:lnTo>
                    <a:pt x="727" y="1138"/>
                  </a:lnTo>
                  <a:lnTo>
                    <a:pt x="727" y="1138"/>
                  </a:lnTo>
                  <a:lnTo>
                    <a:pt x="727" y="1125"/>
                  </a:lnTo>
                  <a:lnTo>
                    <a:pt x="727" y="1111"/>
                  </a:lnTo>
                  <a:lnTo>
                    <a:pt x="727" y="1102"/>
                  </a:lnTo>
                  <a:lnTo>
                    <a:pt x="732" y="1088"/>
                  </a:lnTo>
                  <a:lnTo>
                    <a:pt x="732" y="1088"/>
                  </a:lnTo>
                  <a:lnTo>
                    <a:pt x="727" y="1083"/>
                  </a:lnTo>
                  <a:lnTo>
                    <a:pt x="723" y="1079"/>
                  </a:lnTo>
                  <a:lnTo>
                    <a:pt x="718" y="1074"/>
                  </a:lnTo>
                  <a:lnTo>
                    <a:pt x="718" y="1074"/>
                  </a:lnTo>
                  <a:lnTo>
                    <a:pt x="718" y="1074"/>
                  </a:lnTo>
                  <a:lnTo>
                    <a:pt x="714" y="1074"/>
                  </a:lnTo>
                  <a:lnTo>
                    <a:pt x="714" y="1074"/>
                  </a:lnTo>
                  <a:lnTo>
                    <a:pt x="709" y="1074"/>
                  </a:lnTo>
                  <a:lnTo>
                    <a:pt x="704" y="1074"/>
                  </a:lnTo>
                  <a:lnTo>
                    <a:pt x="704" y="1074"/>
                  </a:lnTo>
                  <a:lnTo>
                    <a:pt x="700" y="1079"/>
                  </a:lnTo>
                  <a:lnTo>
                    <a:pt x="695" y="1083"/>
                  </a:lnTo>
                  <a:lnTo>
                    <a:pt x="691" y="1088"/>
                  </a:lnTo>
                  <a:lnTo>
                    <a:pt x="686" y="1083"/>
                  </a:lnTo>
                  <a:lnTo>
                    <a:pt x="686" y="1088"/>
                  </a:lnTo>
                  <a:lnTo>
                    <a:pt x="686" y="1088"/>
                  </a:lnTo>
                  <a:lnTo>
                    <a:pt x="682" y="1083"/>
                  </a:lnTo>
                  <a:lnTo>
                    <a:pt x="682" y="1083"/>
                  </a:lnTo>
                  <a:lnTo>
                    <a:pt x="682" y="1088"/>
                  </a:lnTo>
                  <a:lnTo>
                    <a:pt x="672" y="1083"/>
                  </a:lnTo>
                  <a:lnTo>
                    <a:pt x="672" y="1083"/>
                  </a:lnTo>
                  <a:lnTo>
                    <a:pt x="672" y="1088"/>
                  </a:lnTo>
                  <a:lnTo>
                    <a:pt x="659" y="1079"/>
                  </a:lnTo>
                  <a:lnTo>
                    <a:pt x="659" y="1079"/>
                  </a:lnTo>
                  <a:lnTo>
                    <a:pt x="659" y="1065"/>
                  </a:lnTo>
                  <a:lnTo>
                    <a:pt x="659" y="1061"/>
                  </a:lnTo>
                  <a:lnTo>
                    <a:pt x="659" y="1056"/>
                  </a:lnTo>
                  <a:lnTo>
                    <a:pt x="659" y="1056"/>
                  </a:lnTo>
                  <a:lnTo>
                    <a:pt x="654" y="1056"/>
                  </a:lnTo>
                  <a:lnTo>
                    <a:pt x="654" y="1056"/>
                  </a:lnTo>
                  <a:lnTo>
                    <a:pt x="654" y="1056"/>
                  </a:lnTo>
                  <a:lnTo>
                    <a:pt x="654" y="1056"/>
                  </a:lnTo>
                  <a:lnTo>
                    <a:pt x="650" y="1056"/>
                  </a:lnTo>
                  <a:lnTo>
                    <a:pt x="650" y="1056"/>
                  </a:lnTo>
                  <a:lnTo>
                    <a:pt x="645" y="1042"/>
                  </a:lnTo>
                  <a:lnTo>
                    <a:pt x="636" y="1038"/>
                  </a:lnTo>
                  <a:lnTo>
                    <a:pt x="636" y="1042"/>
                  </a:lnTo>
                  <a:lnTo>
                    <a:pt x="636" y="1042"/>
                  </a:lnTo>
                  <a:lnTo>
                    <a:pt x="631" y="1038"/>
                  </a:lnTo>
                  <a:lnTo>
                    <a:pt x="631" y="1038"/>
                  </a:lnTo>
                  <a:lnTo>
                    <a:pt x="627" y="1038"/>
                  </a:lnTo>
                  <a:lnTo>
                    <a:pt x="627" y="1033"/>
                  </a:lnTo>
                  <a:lnTo>
                    <a:pt x="627" y="1029"/>
                  </a:lnTo>
                  <a:lnTo>
                    <a:pt x="622" y="1024"/>
                  </a:lnTo>
                  <a:lnTo>
                    <a:pt x="622" y="1024"/>
                  </a:lnTo>
                  <a:lnTo>
                    <a:pt x="622" y="1024"/>
                  </a:lnTo>
                  <a:lnTo>
                    <a:pt x="622" y="1019"/>
                  </a:lnTo>
                  <a:lnTo>
                    <a:pt x="622" y="1019"/>
                  </a:lnTo>
                  <a:lnTo>
                    <a:pt x="622" y="1019"/>
                  </a:lnTo>
                  <a:lnTo>
                    <a:pt x="622" y="1015"/>
                  </a:lnTo>
                  <a:lnTo>
                    <a:pt x="631" y="992"/>
                  </a:lnTo>
                  <a:lnTo>
                    <a:pt x="631" y="992"/>
                  </a:lnTo>
                  <a:lnTo>
                    <a:pt x="631" y="992"/>
                  </a:lnTo>
                  <a:lnTo>
                    <a:pt x="631" y="992"/>
                  </a:lnTo>
                  <a:lnTo>
                    <a:pt x="622" y="987"/>
                  </a:lnTo>
                  <a:lnTo>
                    <a:pt x="622" y="987"/>
                  </a:lnTo>
                  <a:lnTo>
                    <a:pt x="618" y="983"/>
                  </a:lnTo>
                  <a:lnTo>
                    <a:pt x="618" y="983"/>
                  </a:lnTo>
                  <a:lnTo>
                    <a:pt x="618" y="983"/>
                  </a:lnTo>
                  <a:lnTo>
                    <a:pt x="613" y="983"/>
                  </a:lnTo>
                  <a:lnTo>
                    <a:pt x="613" y="983"/>
                  </a:lnTo>
                  <a:lnTo>
                    <a:pt x="608" y="978"/>
                  </a:lnTo>
                  <a:lnTo>
                    <a:pt x="608" y="978"/>
                  </a:lnTo>
                  <a:lnTo>
                    <a:pt x="608" y="978"/>
                  </a:lnTo>
                  <a:lnTo>
                    <a:pt x="604" y="983"/>
                  </a:lnTo>
                  <a:lnTo>
                    <a:pt x="604" y="983"/>
                  </a:lnTo>
                  <a:lnTo>
                    <a:pt x="604" y="983"/>
                  </a:lnTo>
                  <a:lnTo>
                    <a:pt x="599" y="983"/>
                  </a:lnTo>
                  <a:lnTo>
                    <a:pt x="595" y="978"/>
                  </a:lnTo>
                  <a:lnTo>
                    <a:pt x="595" y="974"/>
                  </a:lnTo>
                  <a:lnTo>
                    <a:pt x="595" y="969"/>
                  </a:lnTo>
                  <a:lnTo>
                    <a:pt x="590" y="969"/>
                  </a:lnTo>
                  <a:lnTo>
                    <a:pt x="586" y="969"/>
                  </a:lnTo>
                  <a:lnTo>
                    <a:pt x="581" y="969"/>
                  </a:lnTo>
                  <a:lnTo>
                    <a:pt x="581" y="965"/>
                  </a:lnTo>
                  <a:lnTo>
                    <a:pt x="576" y="960"/>
                  </a:lnTo>
                  <a:lnTo>
                    <a:pt x="572" y="960"/>
                  </a:lnTo>
                  <a:lnTo>
                    <a:pt x="572" y="960"/>
                  </a:lnTo>
                  <a:lnTo>
                    <a:pt x="572" y="955"/>
                  </a:lnTo>
                  <a:lnTo>
                    <a:pt x="572" y="951"/>
                  </a:lnTo>
                  <a:lnTo>
                    <a:pt x="572" y="951"/>
                  </a:lnTo>
                  <a:lnTo>
                    <a:pt x="563" y="946"/>
                  </a:lnTo>
                  <a:lnTo>
                    <a:pt x="563" y="951"/>
                  </a:lnTo>
                  <a:lnTo>
                    <a:pt x="558" y="951"/>
                  </a:lnTo>
                  <a:lnTo>
                    <a:pt x="554" y="946"/>
                  </a:lnTo>
                  <a:lnTo>
                    <a:pt x="549" y="946"/>
                  </a:lnTo>
                  <a:lnTo>
                    <a:pt x="540" y="937"/>
                  </a:lnTo>
                  <a:lnTo>
                    <a:pt x="540" y="937"/>
                  </a:lnTo>
                  <a:lnTo>
                    <a:pt x="544" y="928"/>
                  </a:lnTo>
                  <a:lnTo>
                    <a:pt x="544" y="928"/>
                  </a:lnTo>
                  <a:lnTo>
                    <a:pt x="540" y="923"/>
                  </a:lnTo>
                  <a:lnTo>
                    <a:pt x="540" y="914"/>
                  </a:lnTo>
                  <a:lnTo>
                    <a:pt x="540" y="910"/>
                  </a:lnTo>
                  <a:lnTo>
                    <a:pt x="535" y="910"/>
                  </a:lnTo>
                  <a:lnTo>
                    <a:pt x="531" y="905"/>
                  </a:lnTo>
                  <a:lnTo>
                    <a:pt x="531" y="905"/>
                  </a:lnTo>
                  <a:lnTo>
                    <a:pt x="531" y="905"/>
                  </a:lnTo>
                  <a:lnTo>
                    <a:pt x="526" y="914"/>
                  </a:lnTo>
                  <a:lnTo>
                    <a:pt x="526" y="923"/>
                  </a:lnTo>
                  <a:lnTo>
                    <a:pt x="526" y="933"/>
                  </a:lnTo>
                  <a:lnTo>
                    <a:pt x="526" y="933"/>
                  </a:lnTo>
                  <a:lnTo>
                    <a:pt x="526" y="933"/>
                  </a:lnTo>
                  <a:lnTo>
                    <a:pt x="526" y="933"/>
                  </a:lnTo>
                  <a:lnTo>
                    <a:pt x="526" y="942"/>
                  </a:lnTo>
                  <a:lnTo>
                    <a:pt x="526" y="946"/>
                  </a:lnTo>
                  <a:lnTo>
                    <a:pt x="526" y="951"/>
                  </a:lnTo>
                  <a:lnTo>
                    <a:pt x="522" y="969"/>
                  </a:lnTo>
                  <a:lnTo>
                    <a:pt x="522" y="969"/>
                  </a:lnTo>
                  <a:lnTo>
                    <a:pt x="522" y="974"/>
                  </a:lnTo>
                  <a:lnTo>
                    <a:pt x="522" y="974"/>
                  </a:lnTo>
                  <a:lnTo>
                    <a:pt x="517" y="978"/>
                  </a:lnTo>
                  <a:lnTo>
                    <a:pt x="517" y="983"/>
                  </a:lnTo>
                  <a:lnTo>
                    <a:pt x="517" y="987"/>
                  </a:lnTo>
                  <a:lnTo>
                    <a:pt x="512" y="992"/>
                  </a:lnTo>
                  <a:lnTo>
                    <a:pt x="512" y="997"/>
                  </a:lnTo>
                  <a:lnTo>
                    <a:pt x="508" y="997"/>
                  </a:lnTo>
                  <a:lnTo>
                    <a:pt x="503" y="997"/>
                  </a:lnTo>
                  <a:lnTo>
                    <a:pt x="503" y="997"/>
                  </a:lnTo>
                  <a:lnTo>
                    <a:pt x="499" y="1001"/>
                  </a:lnTo>
                  <a:lnTo>
                    <a:pt x="499" y="1006"/>
                  </a:lnTo>
                  <a:lnTo>
                    <a:pt x="499" y="1006"/>
                  </a:lnTo>
                  <a:lnTo>
                    <a:pt x="494" y="1006"/>
                  </a:lnTo>
                  <a:lnTo>
                    <a:pt x="490" y="997"/>
                  </a:lnTo>
                  <a:lnTo>
                    <a:pt x="476" y="1001"/>
                  </a:lnTo>
                  <a:lnTo>
                    <a:pt x="476" y="1001"/>
                  </a:lnTo>
                  <a:lnTo>
                    <a:pt x="462" y="1001"/>
                  </a:lnTo>
                  <a:lnTo>
                    <a:pt x="462" y="1001"/>
                  </a:lnTo>
                  <a:lnTo>
                    <a:pt x="453" y="1001"/>
                  </a:lnTo>
                  <a:lnTo>
                    <a:pt x="453" y="1001"/>
                  </a:lnTo>
                  <a:lnTo>
                    <a:pt x="444" y="1001"/>
                  </a:lnTo>
                  <a:lnTo>
                    <a:pt x="444" y="1006"/>
                  </a:lnTo>
                  <a:lnTo>
                    <a:pt x="416" y="1006"/>
                  </a:lnTo>
                  <a:lnTo>
                    <a:pt x="394" y="1010"/>
                  </a:lnTo>
                  <a:lnTo>
                    <a:pt x="394" y="1006"/>
                  </a:lnTo>
                  <a:lnTo>
                    <a:pt x="380" y="987"/>
                  </a:lnTo>
                  <a:lnTo>
                    <a:pt x="380" y="987"/>
                  </a:lnTo>
                  <a:lnTo>
                    <a:pt x="380" y="987"/>
                  </a:lnTo>
                  <a:lnTo>
                    <a:pt x="380" y="983"/>
                  </a:lnTo>
                  <a:lnTo>
                    <a:pt x="384" y="978"/>
                  </a:lnTo>
                  <a:lnTo>
                    <a:pt x="380" y="978"/>
                  </a:lnTo>
                  <a:lnTo>
                    <a:pt x="380" y="974"/>
                  </a:lnTo>
                  <a:lnTo>
                    <a:pt x="380" y="969"/>
                  </a:lnTo>
                  <a:lnTo>
                    <a:pt x="380" y="969"/>
                  </a:lnTo>
                  <a:lnTo>
                    <a:pt x="380" y="969"/>
                  </a:lnTo>
                  <a:lnTo>
                    <a:pt x="380" y="969"/>
                  </a:lnTo>
                  <a:lnTo>
                    <a:pt x="375" y="965"/>
                  </a:lnTo>
                  <a:lnTo>
                    <a:pt x="380" y="965"/>
                  </a:lnTo>
                  <a:lnTo>
                    <a:pt x="380" y="960"/>
                  </a:lnTo>
                  <a:lnTo>
                    <a:pt x="380" y="960"/>
                  </a:lnTo>
                  <a:lnTo>
                    <a:pt x="380" y="960"/>
                  </a:lnTo>
                  <a:lnTo>
                    <a:pt x="375" y="960"/>
                  </a:lnTo>
                  <a:lnTo>
                    <a:pt x="375" y="960"/>
                  </a:lnTo>
                  <a:lnTo>
                    <a:pt x="375" y="955"/>
                  </a:lnTo>
                  <a:lnTo>
                    <a:pt x="375" y="955"/>
                  </a:lnTo>
                  <a:lnTo>
                    <a:pt x="375" y="951"/>
                  </a:lnTo>
                  <a:lnTo>
                    <a:pt x="371" y="951"/>
                  </a:lnTo>
                  <a:lnTo>
                    <a:pt x="366" y="960"/>
                  </a:lnTo>
                  <a:lnTo>
                    <a:pt x="362" y="960"/>
                  </a:lnTo>
                  <a:lnTo>
                    <a:pt x="357" y="965"/>
                  </a:lnTo>
                  <a:lnTo>
                    <a:pt x="357" y="969"/>
                  </a:lnTo>
                  <a:lnTo>
                    <a:pt x="357" y="969"/>
                  </a:lnTo>
                  <a:lnTo>
                    <a:pt x="348" y="974"/>
                  </a:lnTo>
                  <a:lnTo>
                    <a:pt x="343" y="978"/>
                  </a:lnTo>
                  <a:lnTo>
                    <a:pt x="343" y="978"/>
                  </a:lnTo>
                  <a:lnTo>
                    <a:pt x="339" y="983"/>
                  </a:lnTo>
                  <a:lnTo>
                    <a:pt x="334" y="987"/>
                  </a:lnTo>
                  <a:lnTo>
                    <a:pt x="330" y="992"/>
                  </a:lnTo>
                  <a:lnTo>
                    <a:pt x="320" y="997"/>
                  </a:lnTo>
                  <a:lnTo>
                    <a:pt x="316" y="1006"/>
                  </a:lnTo>
                  <a:lnTo>
                    <a:pt x="311" y="1006"/>
                  </a:lnTo>
                  <a:lnTo>
                    <a:pt x="311" y="1006"/>
                  </a:lnTo>
                  <a:lnTo>
                    <a:pt x="302" y="1015"/>
                  </a:lnTo>
                  <a:lnTo>
                    <a:pt x="298" y="1024"/>
                  </a:lnTo>
                  <a:lnTo>
                    <a:pt x="293" y="1024"/>
                  </a:lnTo>
                  <a:lnTo>
                    <a:pt x="293" y="1029"/>
                  </a:lnTo>
                  <a:lnTo>
                    <a:pt x="284" y="1038"/>
                  </a:lnTo>
                  <a:lnTo>
                    <a:pt x="279" y="1038"/>
                  </a:lnTo>
                  <a:lnTo>
                    <a:pt x="275" y="1042"/>
                  </a:lnTo>
                  <a:lnTo>
                    <a:pt x="270" y="1051"/>
                  </a:lnTo>
                  <a:lnTo>
                    <a:pt x="266" y="1056"/>
                  </a:lnTo>
                  <a:lnTo>
                    <a:pt x="261" y="1051"/>
                  </a:lnTo>
                  <a:lnTo>
                    <a:pt x="261" y="1051"/>
                  </a:lnTo>
                  <a:lnTo>
                    <a:pt x="256" y="1051"/>
                  </a:lnTo>
                  <a:lnTo>
                    <a:pt x="247" y="1047"/>
                  </a:lnTo>
                  <a:lnTo>
                    <a:pt x="243" y="1047"/>
                  </a:lnTo>
                  <a:lnTo>
                    <a:pt x="243" y="1047"/>
                  </a:lnTo>
                  <a:lnTo>
                    <a:pt x="238" y="1047"/>
                  </a:lnTo>
                  <a:lnTo>
                    <a:pt x="238" y="1047"/>
                  </a:lnTo>
                  <a:lnTo>
                    <a:pt x="238" y="1047"/>
                  </a:lnTo>
                  <a:lnTo>
                    <a:pt x="238" y="1047"/>
                  </a:lnTo>
                  <a:lnTo>
                    <a:pt x="234" y="1047"/>
                  </a:lnTo>
                  <a:lnTo>
                    <a:pt x="234" y="1047"/>
                  </a:lnTo>
                  <a:lnTo>
                    <a:pt x="234" y="1047"/>
                  </a:lnTo>
                  <a:lnTo>
                    <a:pt x="229" y="1042"/>
                  </a:lnTo>
                  <a:lnTo>
                    <a:pt x="229" y="1047"/>
                  </a:lnTo>
                  <a:lnTo>
                    <a:pt x="229" y="1047"/>
                  </a:lnTo>
                  <a:lnTo>
                    <a:pt x="229" y="1051"/>
                  </a:lnTo>
                  <a:lnTo>
                    <a:pt x="224" y="1056"/>
                  </a:lnTo>
                  <a:lnTo>
                    <a:pt x="229" y="1061"/>
                  </a:lnTo>
                  <a:lnTo>
                    <a:pt x="229" y="1061"/>
                  </a:lnTo>
                  <a:lnTo>
                    <a:pt x="229" y="1061"/>
                  </a:lnTo>
                  <a:lnTo>
                    <a:pt x="224" y="1065"/>
                  </a:lnTo>
                  <a:lnTo>
                    <a:pt x="224" y="1070"/>
                  </a:lnTo>
                  <a:lnTo>
                    <a:pt x="220" y="1074"/>
                  </a:lnTo>
                  <a:lnTo>
                    <a:pt x="220" y="1079"/>
                  </a:lnTo>
                  <a:lnTo>
                    <a:pt x="220" y="1083"/>
                  </a:lnTo>
                  <a:lnTo>
                    <a:pt x="220" y="1083"/>
                  </a:lnTo>
                  <a:lnTo>
                    <a:pt x="220" y="1093"/>
                  </a:lnTo>
                  <a:lnTo>
                    <a:pt x="220" y="1093"/>
                  </a:lnTo>
                  <a:lnTo>
                    <a:pt x="220" y="1093"/>
                  </a:lnTo>
                  <a:lnTo>
                    <a:pt x="220" y="1097"/>
                  </a:lnTo>
                  <a:lnTo>
                    <a:pt x="220" y="1097"/>
                  </a:lnTo>
                  <a:lnTo>
                    <a:pt x="220" y="1097"/>
                  </a:lnTo>
                  <a:lnTo>
                    <a:pt x="215" y="1102"/>
                  </a:lnTo>
                  <a:lnTo>
                    <a:pt x="215" y="1102"/>
                  </a:lnTo>
                  <a:lnTo>
                    <a:pt x="215" y="1106"/>
                  </a:lnTo>
                  <a:lnTo>
                    <a:pt x="215" y="1111"/>
                  </a:lnTo>
                  <a:lnTo>
                    <a:pt x="211" y="1115"/>
                  </a:lnTo>
                  <a:lnTo>
                    <a:pt x="206" y="1129"/>
                  </a:lnTo>
                  <a:lnTo>
                    <a:pt x="206" y="1129"/>
                  </a:lnTo>
                  <a:lnTo>
                    <a:pt x="206" y="1134"/>
                  </a:lnTo>
                  <a:lnTo>
                    <a:pt x="206" y="1134"/>
                  </a:lnTo>
                  <a:lnTo>
                    <a:pt x="202" y="1147"/>
                  </a:lnTo>
                  <a:lnTo>
                    <a:pt x="202" y="1152"/>
                  </a:lnTo>
                  <a:lnTo>
                    <a:pt x="202" y="1152"/>
                  </a:lnTo>
                  <a:lnTo>
                    <a:pt x="202" y="1152"/>
                  </a:lnTo>
                  <a:lnTo>
                    <a:pt x="197" y="1152"/>
                  </a:lnTo>
                  <a:lnTo>
                    <a:pt x="197" y="1152"/>
                  </a:lnTo>
                  <a:lnTo>
                    <a:pt x="197" y="1152"/>
                  </a:lnTo>
                  <a:lnTo>
                    <a:pt x="197" y="1152"/>
                  </a:lnTo>
                  <a:lnTo>
                    <a:pt x="192" y="1152"/>
                  </a:lnTo>
                  <a:lnTo>
                    <a:pt x="192" y="1152"/>
                  </a:lnTo>
                  <a:lnTo>
                    <a:pt x="192" y="1147"/>
                  </a:lnTo>
                  <a:lnTo>
                    <a:pt x="192" y="1143"/>
                  </a:lnTo>
                  <a:lnTo>
                    <a:pt x="197" y="1134"/>
                  </a:lnTo>
                  <a:lnTo>
                    <a:pt x="197" y="1120"/>
                  </a:lnTo>
                  <a:lnTo>
                    <a:pt x="202" y="1102"/>
                  </a:lnTo>
                  <a:lnTo>
                    <a:pt x="202" y="1097"/>
                  </a:lnTo>
                  <a:lnTo>
                    <a:pt x="202" y="1074"/>
                  </a:lnTo>
                  <a:lnTo>
                    <a:pt x="202" y="1065"/>
                  </a:lnTo>
                  <a:lnTo>
                    <a:pt x="202" y="1056"/>
                  </a:lnTo>
                  <a:lnTo>
                    <a:pt x="197" y="1051"/>
                  </a:lnTo>
                  <a:lnTo>
                    <a:pt x="197" y="1047"/>
                  </a:lnTo>
                  <a:lnTo>
                    <a:pt x="197" y="1024"/>
                  </a:lnTo>
                  <a:lnTo>
                    <a:pt x="197" y="1019"/>
                  </a:lnTo>
                  <a:lnTo>
                    <a:pt x="197" y="1019"/>
                  </a:lnTo>
                  <a:lnTo>
                    <a:pt x="197" y="1010"/>
                  </a:lnTo>
                  <a:lnTo>
                    <a:pt x="197" y="1010"/>
                  </a:lnTo>
                  <a:lnTo>
                    <a:pt x="202" y="1010"/>
                  </a:lnTo>
                  <a:lnTo>
                    <a:pt x="202" y="1006"/>
                  </a:lnTo>
                  <a:lnTo>
                    <a:pt x="206" y="1001"/>
                  </a:lnTo>
                  <a:lnTo>
                    <a:pt x="206" y="997"/>
                  </a:lnTo>
                  <a:lnTo>
                    <a:pt x="211" y="997"/>
                  </a:lnTo>
                  <a:lnTo>
                    <a:pt x="211" y="992"/>
                  </a:lnTo>
                  <a:lnTo>
                    <a:pt x="215" y="987"/>
                  </a:lnTo>
                  <a:lnTo>
                    <a:pt x="215" y="987"/>
                  </a:lnTo>
                  <a:lnTo>
                    <a:pt x="220" y="983"/>
                  </a:lnTo>
                  <a:lnTo>
                    <a:pt x="220" y="974"/>
                  </a:lnTo>
                  <a:lnTo>
                    <a:pt x="220" y="969"/>
                  </a:lnTo>
                  <a:lnTo>
                    <a:pt x="220" y="965"/>
                  </a:lnTo>
                  <a:lnTo>
                    <a:pt x="224" y="960"/>
                  </a:lnTo>
                  <a:lnTo>
                    <a:pt x="224" y="951"/>
                  </a:lnTo>
                  <a:lnTo>
                    <a:pt x="229" y="946"/>
                  </a:lnTo>
                  <a:lnTo>
                    <a:pt x="234" y="937"/>
                  </a:lnTo>
                  <a:lnTo>
                    <a:pt x="238" y="937"/>
                  </a:lnTo>
                  <a:lnTo>
                    <a:pt x="238" y="933"/>
                  </a:lnTo>
                  <a:lnTo>
                    <a:pt x="238" y="928"/>
                  </a:lnTo>
                  <a:lnTo>
                    <a:pt x="243" y="928"/>
                  </a:lnTo>
                  <a:lnTo>
                    <a:pt x="247" y="923"/>
                  </a:lnTo>
                  <a:lnTo>
                    <a:pt x="256" y="923"/>
                  </a:lnTo>
                  <a:lnTo>
                    <a:pt x="261" y="923"/>
                  </a:lnTo>
                  <a:lnTo>
                    <a:pt x="261" y="923"/>
                  </a:lnTo>
                  <a:lnTo>
                    <a:pt x="266" y="919"/>
                  </a:lnTo>
                  <a:lnTo>
                    <a:pt x="270" y="919"/>
                  </a:lnTo>
                  <a:lnTo>
                    <a:pt x="270" y="914"/>
                  </a:lnTo>
                  <a:lnTo>
                    <a:pt x="275" y="914"/>
                  </a:lnTo>
                  <a:lnTo>
                    <a:pt x="275" y="910"/>
                  </a:lnTo>
                  <a:lnTo>
                    <a:pt x="279" y="901"/>
                  </a:lnTo>
                  <a:lnTo>
                    <a:pt x="279" y="878"/>
                  </a:lnTo>
                  <a:lnTo>
                    <a:pt x="284" y="850"/>
                  </a:lnTo>
                  <a:lnTo>
                    <a:pt x="284" y="837"/>
                  </a:lnTo>
                  <a:lnTo>
                    <a:pt x="288" y="823"/>
                  </a:lnTo>
                  <a:lnTo>
                    <a:pt x="288" y="814"/>
                  </a:lnTo>
                  <a:lnTo>
                    <a:pt x="288" y="805"/>
                  </a:lnTo>
                  <a:lnTo>
                    <a:pt x="288" y="795"/>
                  </a:lnTo>
                  <a:lnTo>
                    <a:pt x="288" y="791"/>
                  </a:lnTo>
                  <a:lnTo>
                    <a:pt x="288" y="791"/>
                  </a:lnTo>
                  <a:lnTo>
                    <a:pt x="288" y="786"/>
                  </a:lnTo>
                  <a:lnTo>
                    <a:pt x="288" y="777"/>
                  </a:lnTo>
                  <a:lnTo>
                    <a:pt x="284" y="777"/>
                  </a:lnTo>
                  <a:lnTo>
                    <a:pt x="284" y="773"/>
                  </a:lnTo>
                  <a:lnTo>
                    <a:pt x="284" y="768"/>
                  </a:lnTo>
                  <a:lnTo>
                    <a:pt x="284" y="768"/>
                  </a:lnTo>
                  <a:lnTo>
                    <a:pt x="275" y="759"/>
                  </a:lnTo>
                  <a:lnTo>
                    <a:pt x="275" y="754"/>
                  </a:lnTo>
                  <a:lnTo>
                    <a:pt x="270" y="750"/>
                  </a:lnTo>
                  <a:lnTo>
                    <a:pt x="266" y="750"/>
                  </a:lnTo>
                  <a:lnTo>
                    <a:pt x="266" y="745"/>
                  </a:lnTo>
                  <a:lnTo>
                    <a:pt x="261" y="745"/>
                  </a:lnTo>
                  <a:lnTo>
                    <a:pt x="261" y="741"/>
                  </a:lnTo>
                  <a:lnTo>
                    <a:pt x="261" y="736"/>
                  </a:lnTo>
                  <a:lnTo>
                    <a:pt x="256" y="731"/>
                  </a:lnTo>
                  <a:lnTo>
                    <a:pt x="252" y="727"/>
                  </a:lnTo>
                  <a:lnTo>
                    <a:pt x="247" y="722"/>
                  </a:lnTo>
                  <a:lnTo>
                    <a:pt x="238" y="713"/>
                  </a:lnTo>
                  <a:lnTo>
                    <a:pt x="229" y="704"/>
                  </a:lnTo>
                  <a:lnTo>
                    <a:pt x="224" y="704"/>
                  </a:lnTo>
                  <a:lnTo>
                    <a:pt x="220" y="695"/>
                  </a:lnTo>
                  <a:lnTo>
                    <a:pt x="215" y="690"/>
                  </a:lnTo>
                  <a:lnTo>
                    <a:pt x="206" y="686"/>
                  </a:lnTo>
                  <a:lnTo>
                    <a:pt x="206" y="681"/>
                  </a:lnTo>
                  <a:lnTo>
                    <a:pt x="202" y="681"/>
                  </a:lnTo>
                  <a:lnTo>
                    <a:pt x="197" y="681"/>
                  </a:lnTo>
                  <a:lnTo>
                    <a:pt x="197" y="681"/>
                  </a:lnTo>
                  <a:lnTo>
                    <a:pt x="197" y="677"/>
                  </a:lnTo>
                  <a:lnTo>
                    <a:pt x="192" y="672"/>
                  </a:lnTo>
                  <a:lnTo>
                    <a:pt x="188" y="667"/>
                  </a:lnTo>
                  <a:lnTo>
                    <a:pt x="183" y="663"/>
                  </a:lnTo>
                  <a:lnTo>
                    <a:pt x="179" y="663"/>
                  </a:lnTo>
                  <a:lnTo>
                    <a:pt x="174" y="658"/>
                  </a:lnTo>
                  <a:lnTo>
                    <a:pt x="174" y="658"/>
                  </a:lnTo>
                  <a:lnTo>
                    <a:pt x="174" y="658"/>
                  </a:lnTo>
                  <a:lnTo>
                    <a:pt x="170" y="654"/>
                  </a:lnTo>
                  <a:lnTo>
                    <a:pt x="165" y="654"/>
                  </a:lnTo>
                  <a:lnTo>
                    <a:pt x="160" y="654"/>
                  </a:lnTo>
                  <a:lnTo>
                    <a:pt x="156" y="649"/>
                  </a:lnTo>
                  <a:lnTo>
                    <a:pt x="151" y="649"/>
                  </a:lnTo>
                  <a:lnTo>
                    <a:pt x="151" y="649"/>
                  </a:lnTo>
                  <a:lnTo>
                    <a:pt x="142" y="645"/>
                  </a:lnTo>
                  <a:lnTo>
                    <a:pt x="128" y="645"/>
                  </a:lnTo>
                  <a:lnTo>
                    <a:pt x="124" y="645"/>
                  </a:lnTo>
                  <a:lnTo>
                    <a:pt x="119" y="649"/>
                  </a:lnTo>
                  <a:lnTo>
                    <a:pt x="96" y="654"/>
                  </a:lnTo>
                  <a:lnTo>
                    <a:pt x="87" y="658"/>
                  </a:lnTo>
                  <a:lnTo>
                    <a:pt x="64" y="663"/>
                  </a:lnTo>
                  <a:lnTo>
                    <a:pt x="60" y="663"/>
                  </a:lnTo>
                  <a:lnTo>
                    <a:pt x="55" y="663"/>
                  </a:lnTo>
                  <a:lnTo>
                    <a:pt x="51" y="663"/>
                  </a:lnTo>
                  <a:lnTo>
                    <a:pt x="42" y="667"/>
                  </a:lnTo>
                  <a:lnTo>
                    <a:pt x="42" y="667"/>
                  </a:lnTo>
                  <a:lnTo>
                    <a:pt x="37" y="672"/>
                  </a:lnTo>
                  <a:lnTo>
                    <a:pt x="32" y="677"/>
                  </a:lnTo>
                  <a:lnTo>
                    <a:pt x="23" y="681"/>
                  </a:lnTo>
                  <a:lnTo>
                    <a:pt x="19" y="681"/>
                  </a:lnTo>
                  <a:lnTo>
                    <a:pt x="14" y="686"/>
                  </a:lnTo>
                  <a:lnTo>
                    <a:pt x="14" y="690"/>
                  </a:lnTo>
                  <a:lnTo>
                    <a:pt x="5" y="690"/>
                  </a:lnTo>
                  <a:lnTo>
                    <a:pt x="0" y="690"/>
                  </a:lnTo>
                  <a:lnTo>
                    <a:pt x="0" y="690"/>
                  </a:lnTo>
                  <a:lnTo>
                    <a:pt x="0" y="686"/>
                  </a:lnTo>
                  <a:lnTo>
                    <a:pt x="0" y="681"/>
                  </a:lnTo>
                  <a:lnTo>
                    <a:pt x="0" y="681"/>
                  </a:lnTo>
                  <a:lnTo>
                    <a:pt x="0" y="677"/>
                  </a:lnTo>
                  <a:lnTo>
                    <a:pt x="0" y="672"/>
                  </a:lnTo>
                  <a:lnTo>
                    <a:pt x="0" y="663"/>
                  </a:lnTo>
                  <a:lnTo>
                    <a:pt x="5" y="658"/>
                  </a:lnTo>
                  <a:lnTo>
                    <a:pt x="5" y="658"/>
                  </a:lnTo>
                  <a:lnTo>
                    <a:pt x="10" y="654"/>
                  </a:lnTo>
                  <a:lnTo>
                    <a:pt x="10" y="649"/>
                  </a:lnTo>
                  <a:lnTo>
                    <a:pt x="10" y="645"/>
                  </a:lnTo>
                  <a:lnTo>
                    <a:pt x="14" y="640"/>
                  </a:lnTo>
                  <a:lnTo>
                    <a:pt x="14" y="640"/>
                  </a:lnTo>
                  <a:lnTo>
                    <a:pt x="10" y="640"/>
                  </a:lnTo>
                  <a:lnTo>
                    <a:pt x="10" y="635"/>
                  </a:lnTo>
                  <a:lnTo>
                    <a:pt x="10" y="631"/>
                  </a:lnTo>
                  <a:lnTo>
                    <a:pt x="14" y="635"/>
                  </a:lnTo>
                  <a:lnTo>
                    <a:pt x="19" y="635"/>
                  </a:lnTo>
                  <a:lnTo>
                    <a:pt x="19" y="635"/>
                  </a:lnTo>
                  <a:lnTo>
                    <a:pt x="28" y="635"/>
                  </a:lnTo>
                  <a:lnTo>
                    <a:pt x="42" y="626"/>
                  </a:lnTo>
                  <a:lnTo>
                    <a:pt x="42" y="622"/>
                  </a:lnTo>
                  <a:lnTo>
                    <a:pt x="46" y="622"/>
                  </a:lnTo>
                  <a:lnTo>
                    <a:pt x="46" y="617"/>
                  </a:lnTo>
                  <a:lnTo>
                    <a:pt x="51" y="617"/>
                  </a:lnTo>
                  <a:lnTo>
                    <a:pt x="51" y="617"/>
                  </a:lnTo>
                  <a:lnTo>
                    <a:pt x="55" y="617"/>
                  </a:lnTo>
                  <a:lnTo>
                    <a:pt x="60" y="613"/>
                  </a:lnTo>
                  <a:lnTo>
                    <a:pt x="60" y="608"/>
                  </a:lnTo>
                  <a:lnTo>
                    <a:pt x="64" y="608"/>
                  </a:lnTo>
                  <a:lnTo>
                    <a:pt x="64" y="603"/>
                  </a:lnTo>
                  <a:lnTo>
                    <a:pt x="64" y="603"/>
                  </a:lnTo>
                  <a:lnTo>
                    <a:pt x="74" y="594"/>
                  </a:lnTo>
                  <a:lnTo>
                    <a:pt x="78" y="594"/>
                  </a:lnTo>
                  <a:lnTo>
                    <a:pt x="83" y="594"/>
                  </a:lnTo>
                  <a:lnTo>
                    <a:pt x="87" y="590"/>
                  </a:lnTo>
                  <a:lnTo>
                    <a:pt x="87" y="585"/>
                  </a:lnTo>
                  <a:lnTo>
                    <a:pt x="87" y="585"/>
                  </a:lnTo>
                  <a:lnTo>
                    <a:pt x="92" y="585"/>
                  </a:lnTo>
                  <a:lnTo>
                    <a:pt x="92" y="581"/>
                  </a:lnTo>
                  <a:lnTo>
                    <a:pt x="92" y="576"/>
                  </a:lnTo>
                  <a:lnTo>
                    <a:pt x="96" y="576"/>
                  </a:lnTo>
                  <a:lnTo>
                    <a:pt x="92" y="571"/>
                  </a:lnTo>
                  <a:lnTo>
                    <a:pt x="92" y="562"/>
                  </a:lnTo>
                  <a:lnTo>
                    <a:pt x="92" y="558"/>
                  </a:lnTo>
                  <a:lnTo>
                    <a:pt x="92" y="553"/>
                  </a:lnTo>
                  <a:lnTo>
                    <a:pt x="87" y="549"/>
                  </a:lnTo>
                  <a:lnTo>
                    <a:pt x="87" y="549"/>
                  </a:lnTo>
                  <a:lnTo>
                    <a:pt x="87" y="544"/>
                  </a:lnTo>
                  <a:lnTo>
                    <a:pt x="87" y="535"/>
                  </a:lnTo>
                  <a:lnTo>
                    <a:pt x="83" y="530"/>
                  </a:lnTo>
                  <a:lnTo>
                    <a:pt x="78" y="530"/>
                  </a:lnTo>
                  <a:lnTo>
                    <a:pt x="78" y="526"/>
                  </a:lnTo>
                  <a:lnTo>
                    <a:pt x="74" y="517"/>
                  </a:lnTo>
                  <a:lnTo>
                    <a:pt x="74" y="507"/>
                  </a:lnTo>
                  <a:lnTo>
                    <a:pt x="69" y="507"/>
                  </a:lnTo>
                  <a:lnTo>
                    <a:pt x="69" y="494"/>
                  </a:lnTo>
                  <a:lnTo>
                    <a:pt x="74" y="485"/>
                  </a:lnTo>
                  <a:lnTo>
                    <a:pt x="78" y="480"/>
                  </a:lnTo>
                  <a:lnTo>
                    <a:pt x="87" y="480"/>
                  </a:lnTo>
                  <a:lnTo>
                    <a:pt x="87" y="475"/>
                  </a:lnTo>
                  <a:lnTo>
                    <a:pt x="92" y="475"/>
                  </a:lnTo>
                  <a:lnTo>
                    <a:pt x="101" y="480"/>
                  </a:lnTo>
                  <a:lnTo>
                    <a:pt x="106" y="480"/>
                  </a:lnTo>
                  <a:lnTo>
                    <a:pt x="110" y="480"/>
                  </a:lnTo>
                  <a:lnTo>
                    <a:pt x="110" y="485"/>
                  </a:lnTo>
                  <a:lnTo>
                    <a:pt x="115" y="485"/>
                  </a:lnTo>
                  <a:lnTo>
                    <a:pt x="119" y="485"/>
                  </a:lnTo>
                  <a:lnTo>
                    <a:pt x="128" y="485"/>
                  </a:lnTo>
                  <a:lnTo>
                    <a:pt x="128" y="485"/>
                  </a:lnTo>
                  <a:lnTo>
                    <a:pt x="133" y="489"/>
                  </a:lnTo>
                  <a:lnTo>
                    <a:pt x="138" y="489"/>
                  </a:lnTo>
                  <a:lnTo>
                    <a:pt x="142" y="489"/>
                  </a:lnTo>
                  <a:lnTo>
                    <a:pt x="151" y="489"/>
                  </a:lnTo>
                  <a:lnTo>
                    <a:pt x="156" y="489"/>
                  </a:lnTo>
                  <a:lnTo>
                    <a:pt x="165" y="489"/>
                  </a:lnTo>
                  <a:lnTo>
                    <a:pt x="165" y="485"/>
                  </a:lnTo>
                  <a:lnTo>
                    <a:pt x="170" y="485"/>
                  </a:lnTo>
                  <a:lnTo>
                    <a:pt x="174" y="485"/>
                  </a:lnTo>
                  <a:lnTo>
                    <a:pt x="174" y="480"/>
                  </a:lnTo>
                  <a:lnTo>
                    <a:pt x="174" y="475"/>
                  </a:lnTo>
                  <a:lnTo>
                    <a:pt x="174" y="471"/>
                  </a:lnTo>
                  <a:lnTo>
                    <a:pt x="179" y="466"/>
                  </a:lnTo>
                  <a:lnTo>
                    <a:pt x="183" y="462"/>
                  </a:lnTo>
                  <a:lnTo>
                    <a:pt x="188" y="462"/>
                  </a:lnTo>
                  <a:lnTo>
                    <a:pt x="197" y="462"/>
                  </a:lnTo>
                  <a:lnTo>
                    <a:pt x="197" y="462"/>
                  </a:lnTo>
                  <a:lnTo>
                    <a:pt x="206" y="462"/>
                  </a:lnTo>
                  <a:lnTo>
                    <a:pt x="211" y="462"/>
                  </a:lnTo>
                  <a:lnTo>
                    <a:pt x="220" y="462"/>
                  </a:lnTo>
                  <a:lnTo>
                    <a:pt x="220" y="462"/>
                  </a:lnTo>
                  <a:lnTo>
                    <a:pt x="224" y="457"/>
                  </a:lnTo>
                  <a:lnTo>
                    <a:pt x="229" y="457"/>
                  </a:lnTo>
                  <a:lnTo>
                    <a:pt x="238" y="457"/>
                  </a:lnTo>
                  <a:lnTo>
                    <a:pt x="238" y="457"/>
                  </a:lnTo>
                  <a:lnTo>
                    <a:pt x="243" y="453"/>
                  </a:lnTo>
                  <a:lnTo>
                    <a:pt x="247" y="453"/>
                  </a:lnTo>
                  <a:lnTo>
                    <a:pt x="247" y="448"/>
                  </a:lnTo>
                  <a:lnTo>
                    <a:pt x="252" y="448"/>
                  </a:lnTo>
                  <a:lnTo>
                    <a:pt x="261" y="443"/>
                  </a:lnTo>
                  <a:lnTo>
                    <a:pt x="261" y="443"/>
                  </a:lnTo>
                  <a:lnTo>
                    <a:pt x="266" y="439"/>
                  </a:lnTo>
                  <a:lnTo>
                    <a:pt x="270" y="439"/>
                  </a:lnTo>
                  <a:lnTo>
                    <a:pt x="275" y="439"/>
                  </a:lnTo>
                  <a:lnTo>
                    <a:pt x="279" y="439"/>
                  </a:lnTo>
                  <a:lnTo>
                    <a:pt x="279" y="434"/>
                  </a:lnTo>
                  <a:lnTo>
                    <a:pt x="284" y="434"/>
                  </a:lnTo>
                  <a:lnTo>
                    <a:pt x="284" y="430"/>
                  </a:lnTo>
                  <a:lnTo>
                    <a:pt x="288" y="430"/>
                  </a:lnTo>
                  <a:lnTo>
                    <a:pt x="293" y="425"/>
                  </a:lnTo>
                  <a:lnTo>
                    <a:pt x="298" y="421"/>
                  </a:lnTo>
                  <a:lnTo>
                    <a:pt x="302" y="421"/>
                  </a:lnTo>
                  <a:lnTo>
                    <a:pt x="307" y="421"/>
                  </a:lnTo>
                  <a:lnTo>
                    <a:pt x="307" y="416"/>
                  </a:lnTo>
                  <a:lnTo>
                    <a:pt x="307" y="416"/>
                  </a:lnTo>
                  <a:lnTo>
                    <a:pt x="311" y="411"/>
                  </a:lnTo>
                  <a:lnTo>
                    <a:pt x="316" y="411"/>
                  </a:lnTo>
                  <a:lnTo>
                    <a:pt x="316" y="407"/>
                  </a:lnTo>
                  <a:lnTo>
                    <a:pt x="320" y="407"/>
                  </a:lnTo>
                  <a:lnTo>
                    <a:pt x="325" y="402"/>
                  </a:lnTo>
                  <a:lnTo>
                    <a:pt x="330" y="402"/>
                  </a:lnTo>
                  <a:lnTo>
                    <a:pt x="330" y="398"/>
                  </a:lnTo>
                  <a:lnTo>
                    <a:pt x="334" y="398"/>
                  </a:lnTo>
                  <a:lnTo>
                    <a:pt x="339" y="398"/>
                  </a:lnTo>
                  <a:lnTo>
                    <a:pt x="339" y="393"/>
                  </a:lnTo>
                  <a:lnTo>
                    <a:pt x="343" y="393"/>
                  </a:lnTo>
                  <a:lnTo>
                    <a:pt x="348" y="393"/>
                  </a:lnTo>
                  <a:lnTo>
                    <a:pt x="348" y="389"/>
                  </a:lnTo>
                  <a:lnTo>
                    <a:pt x="348" y="389"/>
                  </a:lnTo>
                  <a:lnTo>
                    <a:pt x="348" y="384"/>
                  </a:lnTo>
                  <a:lnTo>
                    <a:pt x="352" y="384"/>
                  </a:lnTo>
                  <a:lnTo>
                    <a:pt x="357" y="384"/>
                  </a:lnTo>
                  <a:lnTo>
                    <a:pt x="357" y="379"/>
                  </a:lnTo>
                  <a:lnTo>
                    <a:pt x="362" y="375"/>
                  </a:lnTo>
                  <a:lnTo>
                    <a:pt x="366" y="375"/>
                  </a:lnTo>
                  <a:lnTo>
                    <a:pt x="366" y="375"/>
                  </a:lnTo>
                  <a:lnTo>
                    <a:pt x="371" y="375"/>
                  </a:lnTo>
                  <a:lnTo>
                    <a:pt x="371" y="370"/>
                  </a:lnTo>
                  <a:lnTo>
                    <a:pt x="371" y="366"/>
                  </a:lnTo>
                  <a:lnTo>
                    <a:pt x="375" y="366"/>
                  </a:lnTo>
                  <a:lnTo>
                    <a:pt x="380" y="366"/>
                  </a:lnTo>
                  <a:lnTo>
                    <a:pt x="380" y="361"/>
                  </a:lnTo>
                  <a:lnTo>
                    <a:pt x="384" y="357"/>
                  </a:lnTo>
                  <a:lnTo>
                    <a:pt x="389" y="357"/>
                  </a:lnTo>
                  <a:lnTo>
                    <a:pt x="389" y="352"/>
                  </a:lnTo>
                  <a:lnTo>
                    <a:pt x="394" y="352"/>
                  </a:lnTo>
                  <a:lnTo>
                    <a:pt x="394" y="347"/>
                  </a:lnTo>
                  <a:lnTo>
                    <a:pt x="398" y="347"/>
                  </a:lnTo>
                  <a:lnTo>
                    <a:pt x="398" y="343"/>
                  </a:lnTo>
                  <a:lnTo>
                    <a:pt x="412" y="329"/>
                  </a:lnTo>
                  <a:lnTo>
                    <a:pt x="416" y="329"/>
                  </a:lnTo>
                  <a:lnTo>
                    <a:pt x="416" y="329"/>
                  </a:lnTo>
                  <a:lnTo>
                    <a:pt x="416" y="329"/>
                  </a:lnTo>
                  <a:lnTo>
                    <a:pt x="416" y="325"/>
                  </a:lnTo>
                  <a:lnTo>
                    <a:pt x="421" y="320"/>
                  </a:lnTo>
                  <a:lnTo>
                    <a:pt x="430" y="311"/>
                  </a:lnTo>
                  <a:lnTo>
                    <a:pt x="439" y="311"/>
                  </a:lnTo>
                  <a:lnTo>
                    <a:pt x="444" y="302"/>
                  </a:lnTo>
                  <a:lnTo>
                    <a:pt x="448" y="297"/>
                  </a:lnTo>
                  <a:lnTo>
                    <a:pt x="453" y="293"/>
                  </a:lnTo>
                  <a:lnTo>
                    <a:pt x="458" y="293"/>
                  </a:lnTo>
                  <a:lnTo>
                    <a:pt x="458" y="288"/>
                  </a:lnTo>
                  <a:lnTo>
                    <a:pt x="467" y="283"/>
                  </a:lnTo>
                  <a:lnTo>
                    <a:pt x="471" y="279"/>
                  </a:lnTo>
                  <a:lnTo>
                    <a:pt x="476" y="274"/>
                  </a:lnTo>
                  <a:lnTo>
                    <a:pt x="480" y="274"/>
                  </a:lnTo>
                  <a:lnTo>
                    <a:pt x="480" y="270"/>
                  </a:lnTo>
                  <a:lnTo>
                    <a:pt x="485" y="270"/>
                  </a:lnTo>
                  <a:lnTo>
                    <a:pt x="485" y="265"/>
                  </a:lnTo>
                  <a:lnTo>
                    <a:pt x="490" y="265"/>
                  </a:lnTo>
                  <a:lnTo>
                    <a:pt x="494" y="265"/>
                  </a:lnTo>
                  <a:lnTo>
                    <a:pt x="499" y="265"/>
                  </a:lnTo>
                  <a:lnTo>
                    <a:pt x="503" y="265"/>
                  </a:lnTo>
                  <a:lnTo>
                    <a:pt x="508" y="261"/>
                  </a:lnTo>
                  <a:lnTo>
                    <a:pt x="517" y="261"/>
                  </a:lnTo>
                  <a:lnTo>
                    <a:pt x="535" y="261"/>
                  </a:lnTo>
                  <a:lnTo>
                    <a:pt x="549" y="256"/>
                  </a:lnTo>
                  <a:lnTo>
                    <a:pt x="549" y="256"/>
                  </a:lnTo>
                  <a:lnTo>
                    <a:pt x="554" y="251"/>
                  </a:lnTo>
                  <a:lnTo>
                    <a:pt x="558" y="251"/>
                  </a:lnTo>
                  <a:lnTo>
                    <a:pt x="563" y="247"/>
                  </a:lnTo>
                  <a:lnTo>
                    <a:pt x="567" y="242"/>
                  </a:lnTo>
                  <a:lnTo>
                    <a:pt x="567" y="242"/>
                  </a:lnTo>
                  <a:lnTo>
                    <a:pt x="572" y="238"/>
                  </a:lnTo>
                  <a:lnTo>
                    <a:pt x="572" y="229"/>
                  </a:lnTo>
                  <a:lnTo>
                    <a:pt x="572" y="224"/>
                  </a:lnTo>
                  <a:lnTo>
                    <a:pt x="572" y="219"/>
                  </a:lnTo>
                  <a:lnTo>
                    <a:pt x="567" y="219"/>
                  </a:lnTo>
                  <a:lnTo>
                    <a:pt x="567" y="215"/>
                  </a:lnTo>
                  <a:lnTo>
                    <a:pt x="567" y="210"/>
                  </a:lnTo>
                  <a:lnTo>
                    <a:pt x="567" y="206"/>
                  </a:lnTo>
                  <a:lnTo>
                    <a:pt x="563" y="206"/>
                  </a:lnTo>
                  <a:lnTo>
                    <a:pt x="563" y="201"/>
                  </a:lnTo>
                  <a:lnTo>
                    <a:pt x="558" y="201"/>
                  </a:lnTo>
                  <a:lnTo>
                    <a:pt x="558" y="197"/>
                  </a:lnTo>
                  <a:lnTo>
                    <a:pt x="554" y="187"/>
                  </a:lnTo>
                  <a:lnTo>
                    <a:pt x="549" y="178"/>
                  </a:lnTo>
                  <a:lnTo>
                    <a:pt x="544" y="160"/>
                  </a:lnTo>
                  <a:lnTo>
                    <a:pt x="540" y="146"/>
                  </a:lnTo>
                  <a:lnTo>
                    <a:pt x="540" y="132"/>
                  </a:lnTo>
                  <a:lnTo>
                    <a:pt x="535" y="119"/>
                  </a:lnTo>
                  <a:lnTo>
                    <a:pt x="535" y="105"/>
                  </a:lnTo>
                  <a:lnTo>
                    <a:pt x="531" y="96"/>
                  </a:lnTo>
                  <a:lnTo>
                    <a:pt x="531" y="87"/>
                  </a:lnTo>
                  <a:lnTo>
                    <a:pt x="531" y="82"/>
                  </a:lnTo>
                  <a:lnTo>
                    <a:pt x="531" y="78"/>
                  </a:lnTo>
                  <a:lnTo>
                    <a:pt x="535" y="73"/>
                  </a:lnTo>
                  <a:lnTo>
                    <a:pt x="535" y="68"/>
                  </a:lnTo>
                  <a:lnTo>
                    <a:pt x="535" y="64"/>
                  </a:lnTo>
                  <a:lnTo>
                    <a:pt x="540" y="64"/>
                  </a:lnTo>
                  <a:lnTo>
                    <a:pt x="540" y="59"/>
                  </a:lnTo>
                  <a:lnTo>
                    <a:pt x="540" y="55"/>
                  </a:lnTo>
                  <a:lnTo>
                    <a:pt x="544" y="50"/>
                  </a:lnTo>
                  <a:lnTo>
                    <a:pt x="544" y="46"/>
                  </a:lnTo>
                  <a:lnTo>
                    <a:pt x="558" y="36"/>
                  </a:lnTo>
                  <a:lnTo>
                    <a:pt x="563" y="36"/>
                  </a:lnTo>
                  <a:lnTo>
                    <a:pt x="567" y="36"/>
                  </a:lnTo>
                  <a:lnTo>
                    <a:pt x="572" y="36"/>
                  </a:lnTo>
                  <a:lnTo>
                    <a:pt x="586" y="36"/>
                  </a:lnTo>
                  <a:lnTo>
                    <a:pt x="590" y="32"/>
                  </a:lnTo>
                  <a:lnTo>
                    <a:pt x="595" y="32"/>
                  </a:lnTo>
                  <a:lnTo>
                    <a:pt x="599" y="27"/>
                  </a:lnTo>
                  <a:lnTo>
                    <a:pt x="604" y="27"/>
                  </a:lnTo>
                  <a:lnTo>
                    <a:pt x="608" y="27"/>
                  </a:lnTo>
                  <a:lnTo>
                    <a:pt x="608" y="23"/>
                  </a:lnTo>
                  <a:lnTo>
                    <a:pt x="613" y="23"/>
                  </a:lnTo>
                  <a:lnTo>
                    <a:pt x="613" y="23"/>
                  </a:lnTo>
                  <a:lnTo>
                    <a:pt x="618" y="18"/>
                  </a:lnTo>
                  <a:lnTo>
                    <a:pt x="622" y="18"/>
                  </a:lnTo>
                  <a:lnTo>
                    <a:pt x="627" y="18"/>
                  </a:lnTo>
                  <a:lnTo>
                    <a:pt x="627" y="14"/>
                  </a:lnTo>
                  <a:lnTo>
                    <a:pt x="631" y="14"/>
                  </a:lnTo>
                  <a:lnTo>
                    <a:pt x="636" y="9"/>
                  </a:lnTo>
                  <a:lnTo>
                    <a:pt x="636" y="9"/>
                  </a:lnTo>
                  <a:lnTo>
                    <a:pt x="645" y="4"/>
                  </a:lnTo>
                  <a:lnTo>
                    <a:pt x="650" y="4"/>
                  </a:lnTo>
                  <a:lnTo>
                    <a:pt x="654" y="0"/>
                  </a:lnTo>
                  <a:lnTo>
                    <a:pt x="659" y="0"/>
                  </a:lnTo>
                  <a:lnTo>
                    <a:pt x="663" y="0"/>
                  </a:lnTo>
                  <a:lnTo>
                    <a:pt x="668" y="0"/>
                  </a:lnTo>
                  <a:lnTo>
                    <a:pt x="677" y="0"/>
                  </a:lnTo>
                  <a:lnTo>
                    <a:pt x="686" y="0"/>
                  </a:lnTo>
                  <a:lnTo>
                    <a:pt x="700" y="0"/>
                  </a:lnTo>
                  <a:lnTo>
                    <a:pt x="709" y="0"/>
                  </a:lnTo>
                  <a:lnTo>
                    <a:pt x="723" y="4"/>
                  </a:lnTo>
                  <a:lnTo>
                    <a:pt x="727" y="4"/>
                  </a:lnTo>
                  <a:lnTo>
                    <a:pt x="746" y="9"/>
                  </a:lnTo>
                  <a:lnTo>
                    <a:pt x="759" y="9"/>
                  </a:lnTo>
                  <a:lnTo>
                    <a:pt x="778" y="9"/>
                  </a:lnTo>
                  <a:lnTo>
                    <a:pt x="782" y="9"/>
                  </a:lnTo>
                  <a:lnTo>
                    <a:pt x="787" y="9"/>
                  </a:lnTo>
                  <a:lnTo>
                    <a:pt x="791" y="9"/>
                  </a:lnTo>
                  <a:lnTo>
                    <a:pt x="796" y="14"/>
                  </a:lnTo>
                  <a:lnTo>
                    <a:pt x="800" y="14"/>
                  </a:lnTo>
                  <a:lnTo>
                    <a:pt x="810" y="18"/>
                  </a:lnTo>
                  <a:lnTo>
                    <a:pt x="819" y="23"/>
                  </a:lnTo>
                  <a:lnTo>
                    <a:pt x="823" y="18"/>
                  </a:lnTo>
                  <a:lnTo>
                    <a:pt x="823" y="23"/>
                  </a:lnTo>
                  <a:lnTo>
                    <a:pt x="828" y="23"/>
                  </a:lnTo>
                  <a:lnTo>
                    <a:pt x="832" y="23"/>
                  </a:lnTo>
                  <a:lnTo>
                    <a:pt x="832" y="18"/>
                  </a:lnTo>
                  <a:lnTo>
                    <a:pt x="837" y="18"/>
                  </a:lnTo>
                  <a:lnTo>
                    <a:pt x="842" y="18"/>
                  </a:lnTo>
                  <a:lnTo>
                    <a:pt x="846" y="18"/>
                  </a:lnTo>
                  <a:lnTo>
                    <a:pt x="851" y="14"/>
                  </a:lnTo>
                  <a:lnTo>
                    <a:pt x="855" y="9"/>
                  </a:lnTo>
                  <a:lnTo>
                    <a:pt x="869" y="23"/>
                  </a:lnTo>
                  <a:lnTo>
                    <a:pt x="874" y="23"/>
                  </a:lnTo>
                  <a:lnTo>
                    <a:pt x="874" y="27"/>
                  </a:lnTo>
                  <a:lnTo>
                    <a:pt x="878" y="32"/>
                  </a:lnTo>
                  <a:lnTo>
                    <a:pt x="878" y="41"/>
                  </a:lnTo>
                  <a:lnTo>
                    <a:pt x="878" y="41"/>
                  </a:lnTo>
                  <a:lnTo>
                    <a:pt x="878" y="46"/>
                  </a:lnTo>
                  <a:lnTo>
                    <a:pt x="883" y="46"/>
                  </a:lnTo>
                  <a:lnTo>
                    <a:pt x="883" y="50"/>
                  </a:lnTo>
                  <a:lnTo>
                    <a:pt x="887" y="55"/>
                  </a:lnTo>
                  <a:lnTo>
                    <a:pt x="887" y="59"/>
                  </a:lnTo>
                  <a:lnTo>
                    <a:pt x="887" y="64"/>
                  </a:lnTo>
                  <a:lnTo>
                    <a:pt x="892" y="64"/>
                  </a:lnTo>
                  <a:lnTo>
                    <a:pt x="892" y="68"/>
                  </a:lnTo>
                  <a:lnTo>
                    <a:pt x="896" y="68"/>
                  </a:lnTo>
                  <a:lnTo>
                    <a:pt x="896" y="68"/>
                  </a:lnTo>
                  <a:lnTo>
                    <a:pt x="906" y="73"/>
                  </a:lnTo>
                  <a:lnTo>
                    <a:pt x="915" y="78"/>
                  </a:lnTo>
                  <a:lnTo>
                    <a:pt x="919" y="78"/>
                  </a:lnTo>
                  <a:lnTo>
                    <a:pt x="919" y="78"/>
                  </a:lnTo>
                  <a:lnTo>
                    <a:pt x="919" y="82"/>
                  </a:lnTo>
                  <a:lnTo>
                    <a:pt x="924" y="82"/>
                  </a:lnTo>
                  <a:lnTo>
                    <a:pt x="928" y="87"/>
                  </a:lnTo>
                  <a:lnTo>
                    <a:pt x="933" y="87"/>
                  </a:lnTo>
                  <a:lnTo>
                    <a:pt x="933" y="91"/>
                  </a:lnTo>
                  <a:lnTo>
                    <a:pt x="938" y="91"/>
                  </a:lnTo>
                  <a:lnTo>
                    <a:pt x="938" y="91"/>
                  </a:lnTo>
                  <a:lnTo>
                    <a:pt x="942" y="96"/>
                  </a:lnTo>
                  <a:lnTo>
                    <a:pt x="942" y="100"/>
                  </a:lnTo>
                  <a:lnTo>
                    <a:pt x="942" y="100"/>
                  </a:lnTo>
                  <a:lnTo>
                    <a:pt x="947" y="105"/>
                  </a:lnTo>
                  <a:lnTo>
                    <a:pt x="947" y="110"/>
                  </a:lnTo>
                  <a:lnTo>
                    <a:pt x="951" y="110"/>
                  </a:lnTo>
                  <a:lnTo>
                    <a:pt x="951" y="110"/>
                  </a:lnTo>
                  <a:lnTo>
                    <a:pt x="956" y="110"/>
                  </a:lnTo>
                  <a:lnTo>
                    <a:pt x="956" y="114"/>
                  </a:lnTo>
                  <a:lnTo>
                    <a:pt x="956" y="119"/>
                  </a:lnTo>
                  <a:lnTo>
                    <a:pt x="960" y="119"/>
                  </a:lnTo>
                  <a:lnTo>
                    <a:pt x="960" y="123"/>
                  </a:lnTo>
                  <a:lnTo>
                    <a:pt x="965" y="128"/>
                  </a:lnTo>
                  <a:lnTo>
                    <a:pt x="965" y="132"/>
                  </a:lnTo>
                  <a:lnTo>
                    <a:pt x="965" y="132"/>
                  </a:lnTo>
                  <a:lnTo>
                    <a:pt x="965" y="137"/>
                  </a:lnTo>
                  <a:lnTo>
                    <a:pt x="965" y="146"/>
                  </a:lnTo>
                  <a:lnTo>
                    <a:pt x="965" y="151"/>
                  </a:lnTo>
                  <a:lnTo>
                    <a:pt x="965" y="155"/>
                  </a:lnTo>
                  <a:lnTo>
                    <a:pt x="965" y="169"/>
                  </a:lnTo>
                  <a:lnTo>
                    <a:pt x="965" y="178"/>
                  </a:lnTo>
                  <a:lnTo>
                    <a:pt x="965" y="183"/>
                  </a:lnTo>
                  <a:lnTo>
                    <a:pt x="965" y="192"/>
                  </a:lnTo>
                  <a:lnTo>
                    <a:pt x="970" y="197"/>
                  </a:lnTo>
                  <a:lnTo>
                    <a:pt x="970" y="201"/>
                  </a:lnTo>
                  <a:lnTo>
                    <a:pt x="974" y="201"/>
                  </a:lnTo>
                  <a:lnTo>
                    <a:pt x="974" y="201"/>
                  </a:lnTo>
                  <a:lnTo>
                    <a:pt x="979" y="206"/>
                  </a:lnTo>
                  <a:lnTo>
                    <a:pt x="988" y="210"/>
                  </a:lnTo>
                  <a:lnTo>
                    <a:pt x="988" y="215"/>
                  </a:lnTo>
                  <a:lnTo>
                    <a:pt x="992" y="219"/>
                  </a:lnTo>
                  <a:lnTo>
                    <a:pt x="997" y="224"/>
                  </a:lnTo>
                  <a:lnTo>
                    <a:pt x="1006" y="229"/>
                  </a:lnTo>
                  <a:lnTo>
                    <a:pt x="1006" y="233"/>
                  </a:lnTo>
                  <a:lnTo>
                    <a:pt x="1015" y="238"/>
                  </a:lnTo>
                  <a:lnTo>
                    <a:pt x="1024" y="242"/>
                  </a:lnTo>
                  <a:lnTo>
                    <a:pt x="1024" y="242"/>
                  </a:lnTo>
                  <a:lnTo>
                    <a:pt x="1029" y="242"/>
                  </a:lnTo>
                  <a:lnTo>
                    <a:pt x="1029" y="247"/>
                  </a:lnTo>
                  <a:lnTo>
                    <a:pt x="1029" y="251"/>
                  </a:lnTo>
                  <a:lnTo>
                    <a:pt x="1029" y="261"/>
                  </a:lnTo>
                  <a:lnTo>
                    <a:pt x="1029" y="265"/>
                  </a:lnTo>
                  <a:lnTo>
                    <a:pt x="1029" y="265"/>
                  </a:lnTo>
                  <a:lnTo>
                    <a:pt x="1029" y="279"/>
                  </a:lnTo>
                  <a:lnTo>
                    <a:pt x="1029" y="283"/>
                  </a:lnTo>
                  <a:lnTo>
                    <a:pt x="1024" y="283"/>
                  </a:lnTo>
                  <a:lnTo>
                    <a:pt x="1024" y="288"/>
                  </a:lnTo>
                  <a:lnTo>
                    <a:pt x="1024" y="288"/>
                  </a:lnTo>
                  <a:lnTo>
                    <a:pt x="1015" y="297"/>
                  </a:lnTo>
                  <a:lnTo>
                    <a:pt x="1006" y="311"/>
                  </a:lnTo>
                  <a:lnTo>
                    <a:pt x="1006" y="311"/>
                  </a:lnTo>
                  <a:lnTo>
                    <a:pt x="1006" y="311"/>
                  </a:lnTo>
                  <a:lnTo>
                    <a:pt x="1006" y="315"/>
                  </a:lnTo>
                  <a:lnTo>
                    <a:pt x="1006" y="320"/>
                  </a:lnTo>
                  <a:lnTo>
                    <a:pt x="1002" y="320"/>
                  </a:lnTo>
                  <a:lnTo>
                    <a:pt x="1002" y="329"/>
                  </a:lnTo>
                  <a:lnTo>
                    <a:pt x="1002" y="329"/>
                  </a:lnTo>
                  <a:lnTo>
                    <a:pt x="997" y="329"/>
                  </a:lnTo>
                  <a:lnTo>
                    <a:pt x="997" y="334"/>
                  </a:lnTo>
                  <a:lnTo>
                    <a:pt x="992" y="343"/>
                  </a:lnTo>
                  <a:lnTo>
                    <a:pt x="992" y="352"/>
                  </a:lnTo>
                  <a:lnTo>
                    <a:pt x="988" y="357"/>
                  </a:lnTo>
                  <a:lnTo>
                    <a:pt x="988" y="379"/>
                  </a:lnTo>
                  <a:lnTo>
                    <a:pt x="988" y="393"/>
                  </a:lnTo>
                  <a:lnTo>
                    <a:pt x="988" y="398"/>
                  </a:lnTo>
                  <a:lnTo>
                    <a:pt x="988" y="398"/>
                  </a:lnTo>
                  <a:lnTo>
                    <a:pt x="988" y="402"/>
                  </a:lnTo>
                  <a:lnTo>
                    <a:pt x="988" y="407"/>
                  </a:lnTo>
                  <a:lnTo>
                    <a:pt x="983" y="407"/>
                  </a:lnTo>
                  <a:lnTo>
                    <a:pt x="983" y="411"/>
                  </a:lnTo>
                  <a:lnTo>
                    <a:pt x="979" y="416"/>
                  </a:lnTo>
                  <a:lnTo>
                    <a:pt x="979" y="421"/>
                  </a:lnTo>
                  <a:lnTo>
                    <a:pt x="974" y="421"/>
                  </a:lnTo>
                  <a:lnTo>
                    <a:pt x="970" y="425"/>
                  </a:lnTo>
                  <a:lnTo>
                    <a:pt x="965" y="425"/>
                  </a:lnTo>
                  <a:lnTo>
                    <a:pt x="965" y="430"/>
                  </a:lnTo>
                  <a:lnTo>
                    <a:pt x="960" y="434"/>
                  </a:lnTo>
                  <a:lnTo>
                    <a:pt x="951" y="439"/>
                  </a:lnTo>
                  <a:lnTo>
                    <a:pt x="942" y="439"/>
                  </a:lnTo>
                  <a:lnTo>
                    <a:pt x="942" y="439"/>
                  </a:lnTo>
                  <a:lnTo>
                    <a:pt x="938" y="439"/>
                  </a:lnTo>
                  <a:lnTo>
                    <a:pt x="938" y="443"/>
                  </a:lnTo>
                  <a:lnTo>
                    <a:pt x="933" y="443"/>
                  </a:lnTo>
                  <a:lnTo>
                    <a:pt x="928" y="448"/>
                  </a:lnTo>
                  <a:lnTo>
                    <a:pt x="919" y="457"/>
                  </a:lnTo>
                  <a:lnTo>
                    <a:pt x="919" y="462"/>
                  </a:lnTo>
                  <a:lnTo>
                    <a:pt x="919" y="462"/>
                  </a:lnTo>
                  <a:lnTo>
                    <a:pt x="919" y="462"/>
                  </a:lnTo>
                  <a:lnTo>
                    <a:pt x="915" y="462"/>
                  </a:lnTo>
                  <a:lnTo>
                    <a:pt x="915" y="466"/>
                  </a:lnTo>
                  <a:lnTo>
                    <a:pt x="915" y="471"/>
                  </a:lnTo>
                  <a:lnTo>
                    <a:pt x="910" y="471"/>
                  </a:lnTo>
                  <a:lnTo>
                    <a:pt x="910" y="475"/>
                  </a:lnTo>
                  <a:lnTo>
                    <a:pt x="906" y="485"/>
                  </a:lnTo>
                  <a:lnTo>
                    <a:pt x="901" y="485"/>
                  </a:lnTo>
                  <a:lnTo>
                    <a:pt x="901" y="489"/>
                  </a:lnTo>
                  <a:lnTo>
                    <a:pt x="896" y="494"/>
                  </a:lnTo>
                  <a:lnTo>
                    <a:pt x="896" y="498"/>
                  </a:lnTo>
                  <a:lnTo>
                    <a:pt x="892" y="503"/>
                  </a:lnTo>
                  <a:lnTo>
                    <a:pt x="892" y="507"/>
                  </a:lnTo>
                  <a:lnTo>
                    <a:pt x="887" y="507"/>
                  </a:lnTo>
                  <a:lnTo>
                    <a:pt x="887" y="507"/>
                  </a:lnTo>
                  <a:lnTo>
                    <a:pt x="887" y="512"/>
                  </a:lnTo>
                  <a:lnTo>
                    <a:pt x="883" y="512"/>
                  </a:lnTo>
                  <a:lnTo>
                    <a:pt x="883" y="517"/>
                  </a:lnTo>
                  <a:lnTo>
                    <a:pt x="878" y="517"/>
                  </a:lnTo>
                  <a:lnTo>
                    <a:pt x="878" y="521"/>
                  </a:lnTo>
                  <a:lnTo>
                    <a:pt x="878" y="526"/>
                  </a:lnTo>
                  <a:lnTo>
                    <a:pt x="878" y="530"/>
                  </a:lnTo>
                  <a:lnTo>
                    <a:pt x="874" y="530"/>
                  </a:lnTo>
                  <a:lnTo>
                    <a:pt x="869" y="530"/>
                  </a:lnTo>
                  <a:lnTo>
                    <a:pt x="869" y="535"/>
                  </a:lnTo>
                  <a:lnTo>
                    <a:pt x="864" y="535"/>
                  </a:lnTo>
                  <a:lnTo>
                    <a:pt x="864" y="539"/>
                  </a:lnTo>
                  <a:lnTo>
                    <a:pt x="860" y="539"/>
                  </a:lnTo>
                  <a:lnTo>
                    <a:pt x="860" y="544"/>
                  </a:lnTo>
                  <a:lnTo>
                    <a:pt x="855" y="549"/>
                  </a:lnTo>
                  <a:lnTo>
                    <a:pt x="855" y="549"/>
                  </a:lnTo>
                  <a:lnTo>
                    <a:pt x="851" y="553"/>
                  </a:lnTo>
                  <a:lnTo>
                    <a:pt x="846" y="558"/>
                  </a:lnTo>
                  <a:lnTo>
                    <a:pt x="846" y="562"/>
                  </a:lnTo>
                  <a:lnTo>
                    <a:pt x="842" y="567"/>
                  </a:lnTo>
                  <a:lnTo>
                    <a:pt x="832" y="571"/>
                  </a:lnTo>
                  <a:lnTo>
                    <a:pt x="832" y="571"/>
                  </a:lnTo>
                  <a:lnTo>
                    <a:pt x="832" y="576"/>
                  </a:lnTo>
                  <a:lnTo>
                    <a:pt x="832" y="581"/>
                  </a:lnTo>
                  <a:lnTo>
                    <a:pt x="842" y="581"/>
                  </a:lnTo>
                  <a:lnTo>
                    <a:pt x="846" y="585"/>
                  </a:lnTo>
                  <a:lnTo>
                    <a:pt x="851" y="590"/>
                  </a:lnTo>
                  <a:lnTo>
                    <a:pt x="855" y="594"/>
                  </a:lnTo>
                  <a:lnTo>
                    <a:pt x="860" y="603"/>
                  </a:lnTo>
                  <a:lnTo>
                    <a:pt x="860" y="608"/>
                  </a:lnTo>
                  <a:lnTo>
                    <a:pt x="864" y="613"/>
                  </a:lnTo>
                  <a:lnTo>
                    <a:pt x="864" y="617"/>
                  </a:lnTo>
                  <a:lnTo>
                    <a:pt x="864" y="617"/>
                  </a:lnTo>
                  <a:lnTo>
                    <a:pt x="869" y="617"/>
                  </a:lnTo>
                  <a:lnTo>
                    <a:pt x="874" y="631"/>
                  </a:lnTo>
                  <a:lnTo>
                    <a:pt x="874" y="635"/>
                  </a:lnTo>
                  <a:lnTo>
                    <a:pt x="878" y="640"/>
                  </a:lnTo>
                  <a:lnTo>
                    <a:pt x="878" y="654"/>
                  </a:lnTo>
                  <a:lnTo>
                    <a:pt x="883" y="658"/>
                  </a:lnTo>
                  <a:lnTo>
                    <a:pt x="887" y="658"/>
                  </a:lnTo>
                  <a:lnTo>
                    <a:pt x="887" y="658"/>
                  </a:lnTo>
                  <a:lnTo>
                    <a:pt x="892" y="658"/>
                  </a:lnTo>
                  <a:lnTo>
                    <a:pt x="896" y="663"/>
                  </a:lnTo>
                  <a:lnTo>
                    <a:pt x="901" y="658"/>
                  </a:lnTo>
                  <a:lnTo>
                    <a:pt x="906" y="658"/>
                  </a:lnTo>
                  <a:lnTo>
                    <a:pt x="910" y="649"/>
                  </a:lnTo>
                  <a:lnTo>
                    <a:pt x="915" y="645"/>
                  </a:lnTo>
                  <a:lnTo>
                    <a:pt x="915" y="640"/>
                  </a:lnTo>
                  <a:lnTo>
                    <a:pt x="915" y="640"/>
                  </a:lnTo>
                  <a:lnTo>
                    <a:pt x="919" y="635"/>
                  </a:lnTo>
                  <a:lnTo>
                    <a:pt x="919" y="631"/>
                  </a:lnTo>
                  <a:lnTo>
                    <a:pt x="919" y="626"/>
                  </a:lnTo>
                  <a:lnTo>
                    <a:pt x="924" y="622"/>
                  </a:lnTo>
                  <a:lnTo>
                    <a:pt x="924" y="617"/>
                  </a:lnTo>
                  <a:lnTo>
                    <a:pt x="928" y="617"/>
                  </a:lnTo>
                  <a:lnTo>
                    <a:pt x="933" y="617"/>
                  </a:lnTo>
                  <a:lnTo>
                    <a:pt x="938" y="617"/>
                  </a:lnTo>
                  <a:lnTo>
                    <a:pt x="942" y="617"/>
                  </a:lnTo>
                  <a:lnTo>
                    <a:pt x="942" y="622"/>
                  </a:lnTo>
                  <a:lnTo>
                    <a:pt x="947" y="622"/>
                  </a:lnTo>
                  <a:lnTo>
                    <a:pt x="947" y="626"/>
                  </a:lnTo>
                  <a:lnTo>
                    <a:pt x="951" y="626"/>
                  </a:lnTo>
                  <a:lnTo>
                    <a:pt x="951" y="631"/>
                  </a:lnTo>
                  <a:lnTo>
                    <a:pt x="960" y="640"/>
                  </a:lnTo>
                  <a:lnTo>
                    <a:pt x="965" y="640"/>
                  </a:lnTo>
                  <a:lnTo>
                    <a:pt x="965" y="645"/>
                  </a:lnTo>
                  <a:lnTo>
                    <a:pt x="965" y="645"/>
                  </a:lnTo>
                  <a:lnTo>
                    <a:pt x="970" y="654"/>
                  </a:lnTo>
                  <a:lnTo>
                    <a:pt x="974" y="658"/>
                  </a:lnTo>
                  <a:lnTo>
                    <a:pt x="983" y="663"/>
                  </a:lnTo>
                  <a:lnTo>
                    <a:pt x="988" y="663"/>
                  </a:lnTo>
                  <a:lnTo>
                    <a:pt x="988" y="667"/>
                  </a:lnTo>
                  <a:lnTo>
                    <a:pt x="988" y="667"/>
                  </a:lnTo>
                  <a:lnTo>
                    <a:pt x="992" y="667"/>
                  </a:lnTo>
                  <a:lnTo>
                    <a:pt x="992" y="672"/>
                  </a:lnTo>
                  <a:lnTo>
                    <a:pt x="997" y="672"/>
                  </a:lnTo>
                  <a:lnTo>
                    <a:pt x="997" y="677"/>
                  </a:lnTo>
                  <a:lnTo>
                    <a:pt x="1002" y="681"/>
                  </a:lnTo>
                  <a:lnTo>
                    <a:pt x="1006" y="681"/>
                  </a:lnTo>
                  <a:lnTo>
                    <a:pt x="1006" y="686"/>
                  </a:lnTo>
                  <a:lnTo>
                    <a:pt x="1011" y="695"/>
                  </a:lnTo>
                  <a:lnTo>
                    <a:pt x="1011" y="704"/>
                  </a:lnTo>
                  <a:lnTo>
                    <a:pt x="1011" y="709"/>
                  </a:lnTo>
                  <a:lnTo>
                    <a:pt x="1011" y="718"/>
                  </a:lnTo>
                  <a:lnTo>
                    <a:pt x="1011" y="722"/>
                  </a:lnTo>
                  <a:lnTo>
                    <a:pt x="1011" y="727"/>
                  </a:lnTo>
                  <a:lnTo>
                    <a:pt x="1011" y="731"/>
                  </a:lnTo>
                  <a:lnTo>
                    <a:pt x="1011" y="736"/>
                  </a:lnTo>
                  <a:lnTo>
                    <a:pt x="1011" y="750"/>
                  </a:lnTo>
                  <a:lnTo>
                    <a:pt x="1015" y="763"/>
                  </a:lnTo>
                  <a:lnTo>
                    <a:pt x="1015" y="768"/>
                  </a:lnTo>
                  <a:lnTo>
                    <a:pt x="1015" y="768"/>
                  </a:lnTo>
                  <a:lnTo>
                    <a:pt x="1020" y="768"/>
                  </a:lnTo>
                  <a:lnTo>
                    <a:pt x="1020" y="782"/>
                  </a:lnTo>
                  <a:lnTo>
                    <a:pt x="1024" y="791"/>
                  </a:lnTo>
                  <a:lnTo>
                    <a:pt x="1029" y="795"/>
                  </a:lnTo>
                  <a:lnTo>
                    <a:pt x="1029" y="805"/>
                  </a:lnTo>
                  <a:lnTo>
                    <a:pt x="1029" y="805"/>
                  </a:lnTo>
                  <a:lnTo>
                    <a:pt x="1029" y="805"/>
                  </a:lnTo>
                  <a:lnTo>
                    <a:pt x="1029" y="809"/>
                  </a:lnTo>
                  <a:lnTo>
                    <a:pt x="1024" y="809"/>
                  </a:lnTo>
                  <a:lnTo>
                    <a:pt x="1011" y="827"/>
                  </a:lnTo>
                  <a:lnTo>
                    <a:pt x="1006" y="832"/>
                  </a:lnTo>
                  <a:lnTo>
                    <a:pt x="1006" y="837"/>
                  </a:lnTo>
                  <a:lnTo>
                    <a:pt x="1002" y="841"/>
                  </a:lnTo>
                  <a:lnTo>
                    <a:pt x="1002" y="841"/>
                  </a:lnTo>
                  <a:lnTo>
                    <a:pt x="1002" y="846"/>
                  </a:lnTo>
                  <a:lnTo>
                    <a:pt x="997" y="855"/>
                  </a:lnTo>
                  <a:lnTo>
                    <a:pt x="997" y="864"/>
                  </a:lnTo>
                  <a:lnTo>
                    <a:pt x="992" y="869"/>
                  </a:lnTo>
                  <a:lnTo>
                    <a:pt x="992" y="878"/>
                  </a:lnTo>
                  <a:lnTo>
                    <a:pt x="997" y="882"/>
                  </a:lnTo>
                  <a:lnTo>
                    <a:pt x="997" y="887"/>
                  </a:lnTo>
                  <a:lnTo>
                    <a:pt x="997" y="887"/>
                  </a:lnTo>
                  <a:lnTo>
                    <a:pt x="997" y="896"/>
                  </a:lnTo>
                  <a:lnTo>
                    <a:pt x="1002" y="910"/>
                  </a:lnTo>
                  <a:lnTo>
                    <a:pt x="1002" y="919"/>
                  </a:lnTo>
                  <a:lnTo>
                    <a:pt x="1011" y="928"/>
                  </a:lnTo>
                  <a:lnTo>
                    <a:pt x="1011" y="933"/>
                  </a:lnTo>
                  <a:lnTo>
                    <a:pt x="1011" y="933"/>
                  </a:lnTo>
                  <a:lnTo>
                    <a:pt x="1011" y="933"/>
                  </a:lnTo>
                  <a:lnTo>
                    <a:pt x="1011" y="937"/>
                  </a:lnTo>
                  <a:lnTo>
                    <a:pt x="1011" y="937"/>
                  </a:lnTo>
                  <a:lnTo>
                    <a:pt x="1006" y="942"/>
                  </a:lnTo>
                  <a:lnTo>
                    <a:pt x="1006" y="942"/>
                  </a:lnTo>
                  <a:lnTo>
                    <a:pt x="1002" y="942"/>
                  </a:lnTo>
                  <a:lnTo>
                    <a:pt x="997" y="946"/>
                  </a:lnTo>
                  <a:lnTo>
                    <a:pt x="983" y="942"/>
                  </a:lnTo>
                  <a:lnTo>
                    <a:pt x="979" y="942"/>
                  </a:lnTo>
                  <a:lnTo>
                    <a:pt x="974" y="946"/>
                  </a:lnTo>
                  <a:lnTo>
                    <a:pt x="974" y="946"/>
                  </a:lnTo>
                  <a:lnTo>
                    <a:pt x="974" y="946"/>
                  </a:lnTo>
                  <a:lnTo>
                    <a:pt x="970" y="942"/>
                  </a:lnTo>
                  <a:lnTo>
                    <a:pt x="970" y="946"/>
                  </a:lnTo>
                  <a:lnTo>
                    <a:pt x="960" y="946"/>
                  </a:lnTo>
                  <a:lnTo>
                    <a:pt x="960" y="946"/>
                  </a:lnTo>
                  <a:lnTo>
                    <a:pt x="960" y="955"/>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4" name="Freeform 41">
              <a:extLst>
                <a:ext uri="{FF2B5EF4-FFF2-40B4-BE49-F238E27FC236}">
                  <a16:creationId xmlns:a16="http://schemas.microsoft.com/office/drawing/2014/main" id="{56DE859C-C38A-457F-A8C0-DC329C50FF00}"/>
                </a:ext>
              </a:extLst>
            </p:cNvPr>
            <p:cNvSpPr>
              <a:spLocks/>
            </p:cNvSpPr>
            <p:nvPr>
              <p:custDataLst>
                <p:tags r:id="rId36"/>
              </p:custDataLst>
            </p:nvPr>
          </p:nvSpPr>
          <p:spPr bwMode="auto">
            <a:xfrm>
              <a:off x="2422065" y="1004854"/>
              <a:ext cx="946015" cy="1076762"/>
            </a:xfrm>
            <a:custGeom>
              <a:avLst/>
              <a:gdLst/>
              <a:ahLst/>
              <a:cxnLst>
                <a:cxn ang="0">
                  <a:pos x="649" y="0"/>
                </a:cxn>
                <a:cxn ang="0">
                  <a:pos x="731" y="9"/>
                </a:cxn>
                <a:cxn ang="0">
                  <a:pos x="800" y="32"/>
                </a:cxn>
                <a:cxn ang="0">
                  <a:pos x="868" y="51"/>
                </a:cxn>
                <a:cxn ang="0">
                  <a:pos x="932" y="96"/>
                </a:cxn>
                <a:cxn ang="0">
                  <a:pos x="969" y="105"/>
                </a:cxn>
                <a:cxn ang="0">
                  <a:pos x="978" y="96"/>
                </a:cxn>
                <a:cxn ang="0">
                  <a:pos x="1006" y="96"/>
                </a:cxn>
                <a:cxn ang="0">
                  <a:pos x="1019" y="110"/>
                </a:cxn>
                <a:cxn ang="0">
                  <a:pos x="1038" y="110"/>
                </a:cxn>
                <a:cxn ang="0">
                  <a:pos x="1051" y="110"/>
                </a:cxn>
                <a:cxn ang="0">
                  <a:pos x="1051" y="160"/>
                </a:cxn>
                <a:cxn ang="0">
                  <a:pos x="1047" y="206"/>
                </a:cxn>
                <a:cxn ang="0">
                  <a:pos x="1070" y="238"/>
                </a:cxn>
                <a:cxn ang="0">
                  <a:pos x="1079" y="279"/>
                </a:cxn>
                <a:cxn ang="0">
                  <a:pos x="1051" y="316"/>
                </a:cxn>
                <a:cxn ang="0">
                  <a:pos x="1028" y="343"/>
                </a:cxn>
                <a:cxn ang="0">
                  <a:pos x="1006" y="371"/>
                </a:cxn>
                <a:cxn ang="0">
                  <a:pos x="1010" y="471"/>
                </a:cxn>
                <a:cxn ang="0">
                  <a:pos x="996" y="590"/>
                </a:cxn>
                <a:cxn ang="0">
                  <a:pos x="974" y="636"/>
                </a:cxn>
                <a:cxn ang="0">
                  <a:pos x="1006" y="668"/>
                </a:cxn>
                <a:cxn ang="0">
                  <a:pos x="1015" y="723"/>
                </a:cxn>
                <a:cxn ang="0">
                  <a:pos x="983" y="759"/>
                </a:cxn>
                <a:cxn ang="0">
                  <a:pos x="960" y="791"/>
                </a:cxn>
                <a:cxn ang="0">
                  <a:pos x="955" y="860"/>
                </a:cxn>
                <a:cxn ang="0">
                  <a:pos x="914" y="905"/>
                </a:cxn>
                <a:cxn ang="0">
                  <a:pos x="873" y="919"/>
                </a:cxn>
                <a:cxn ang="0">
                  <a:pos x="823" y="942"/>
                </a:cxn>
                <a:cxn ang="0">
                  <a:pos x="791" y="988"/>
                </a:cxn>
                <a:cxn ang="0">
                  <a:pos x="786" y="1047"/>
                </a:cxn>
                <a:cxn ang="0">
                  <a:pos x="740" y="1061"/>
                </a:cxn>
                <a:cxn ang="0">
                  <a:pos x="740" y="947"/>
                </a:cxn>
                <a:cxn ang="0">
                  <a:pos x="722" y="910"/>
                </a:cxn>
                <a:cxn ang="0">
                  <a:pos x="667" y="855"/>
                </a:cxn>
                <a:cxn ang="0">
                  <a:pos x="612" y="809"/>
                </a:cxn>
                <a:cxn ang="0">
                  <a:pos x="521" y="796"/>
                </a:cxn>
                <a:cxn ang="0">
                  <a:pos x="489" y="768"/>
                </a:cxn>
                <a:cxn ang="0">
                  <a:pos x="507" y="727"/>
                </a:cxn>
                <a:cxn ang="0">
                  <a:pos x="489" y="636"/>
                </a:cxn>
                <a:cxn ang="0">
                  <a:pos x="466" y="590"/>
                </a:cxn>
                <a:cxn ang="0">
                  <a:pos x="457" y="535"/>
                </a:cxn>
                <a:cxn ang="0">
                  <a:pos x="439" y="462"/>
                </a:cxn>
                <a:cxn ang="0">
                  <a:pos x="430" y="380"/>
                </a:cxn>
                <a:cxn ang="0">
                  <a:pos x="393" y="329"/>
                </a:cxn>
                <a:cxn ang="0">
                  <a:pos x="352" y="220"/>
                </a:cxn>
                <a:cxn ang="0">
                  <a:pos x="283" y="220"/>
                </a:cxn>
                <a:cxn ang="0">
                  <a:pos x="251" y="165"/>
                </a:cxn>
                <a:cxn ang="0">
                  <a:pos x="210" y="142"/>
                </a:cxn>
                <a:cxn ang="0">
                  <a:pos x="151" y="160"/>
                </a:cxn>
                <a:cxn ang="0">
                  <a:pos x="114" y="206"/>
                </a:cxn>
                <a:cxn ang="0">
                  <a:pos x="50" y="220"/>
                </a:cxn>
                <a:cxn ang="0">
                  <a:pos x="41" y="201"/>
                </a:cxn>
                <a:cxn ang="0">
                  <a:pos x="105" y="128"/>
                </a:cxn>
                <a:cxn ang="0">
                  <a:pos x="155" y="78"/>
                </a:cxn>
                <a:cxn ang="0">
                  <a:pos x="228" y="41"/>
                </a:cxn>
                <a:cxn ang="0">
                  <a:pos x="311" y="37"/>
                </a:cxn>
                <a:cxn ang="0">
                  <a:pos x="388" y="14"/>
                </a:cxn>
                <a:cxn ang="0">
                  <a:pos x="489" y="5"/>
                </a:cxn>
                <a:cxn ang="0">
                  <a:pos x="567" y="0"/>
                </a:cxn>
              </a:cxnLst>
              <a:rect l="0" t="0" r="r" b="b"/>
              <a:pathLst>
                <a:path w="1083" h="1065">
                  <a:moveTo>
                    <a:pt x="585" y="0"/>
                  </a:moveTo>
                  <a:lnTo>
                    <a:pt x="590" y="0"/>
                  </a:lnTo>
                  <a:lnTo>
                    <a:pt x="599" y="0"/>
                  </a:lnTo>
                  <a:lnTo>
                    <a:pt x="599" y="0"/>
                  </a:lnTo>
                  <a:lnTo>
                    <a:pt x="603" y="0"/>
                  </a:lnTo>
                  <a:lnTo>
                    <a:pt x="612" y="0"/>
                  </a:lnTo>
                  <a:lnTo>
                    <a:pt x="617" y="0"/>
                  </a:lnTo>
                  <a:lnTo>
                    <a:pt x="617" y="0"/>
                  </a:lnTo>
                  <a:lnTo>
                    <a:pt x="635" y="0"/>
                  </a:lnTo>
                  <a:lnTo>
                    <a:pt x="640" y="0"/>
                  </a:lnTo>
                  <a:lnTo>
                    <a:pt x="644" y="0"/>
                  </a:lnTo>
                  <a:lnTo>
                    <a:pt x="649" y="0"/>
                  </a:lnTo>
                  <a:lnTo>
                    <a:pt x="649" y="0"/>
                  </a:lnTo>
                  <a:lnTo>
                    <a:pt x="658" y="0"/>
                  </a:lnTo>
                  <a:lnTo>
                    <a:pt x="672" y="0"/>
                  </a:lnTo>
                  <a:lnTo>
                    <a:pt x="686" y="0"/>
                  </a:lnTo>
                  <a:lnTo>
                    <a:pt x="699" y="5"/>
                  </a:lnTo>
                  <a:lnTo>
                    <a:pt x="704" y="5"/>
                  </a:lnTo>
                  <a:lnTo>
                    <a:pt x="708" y="5"/>
                  </a:lnTo>
                  <a:lnTo>
                    <a:pt x="713" y="5"/>
                  </a:lnTo>
                  <a:lnTo>
                    <a:pt x="718" y="9"/>
                  </a:lnTo>
                  <a:lnTo>
                    <a:pt x="718" y="5"/>
                  </a:lnTo>
                  <a:lnTo>
                    <a:pt x="731" y="9"/>
                  </a:lnTo>
                  <a:lnTo>
                    <a:pt x="731" y="9"/>
                  </a:lnTo>
                  <a:lnTo>
                    <a:pt x="731" y="9"/>
                  </a:lnTo>
                  <a:lnTo>
                    <a:pt x="740" y="9"/>
                  </a:lnTo>
                  <a:lnTo>
                    <a:pt x="759" y="19"/>
                  </a:lnTo>
                  <a:lnTo>
                    <a:pt x="763" y="23"/>
                  </a:lnTo>
                  <a:lnTo>
                    <a:pt x="763" y="23"/>
                  </a:lnTo>
                  <a:lnTo>
                    <a:pt x="772" y="23"/>
                  </a:lnTo>
                  <a:lnTo>
                    <a:pt x="777" y="28"/>
                  </a:lnTo>
                  <a:lnTo>
                    <a:pt x="782" y="28"/>
                  </a:lnTo>
                  <a:lnTo>
                    <a:pt x="786" y="28"/>
                  </a:lnTo>
                  <a:lnTo>
                    <a:pt x="786" y="32"/>
                  </a:lnTo>
                  <a:lnTo>
                    <a:pt x="791" y="32"/>
                  </a:lnTo>
                  <a:lnTo>
                    <a:pt x="800" y="32"/>
                  </a:lnTo>
                  <a:lnTo>
                    <a:pt x="809" y="37"/>
                  </a:lnTo>
                  <a:lnTo>
                    <a:pt x="814" y="37"/>
                  </a:lnTo>
                  <a:lnTo>
                    <a:pt x="818" y="37"/>
                  </a:lnTo>
                  <a:lnTo>
                    <a:pt x="818" y="37"/>
                  </a:lnTo>
                  <a:lnTo>
                    <a:pt x="823" y="37"/>
                  </a:lnTo>
                  <a:lnTo>
                    <a:pt x="827" y="37"/>
                  </a:lnTo>
                  <a:lnTo>
                    <a:pt x="827" y="41"/>
                  </a:lnTo>
                  <a:lnTo>
                    <a:pt x="832" y="41"/>
                  </a:lnTo>
                  <a:lnTo>
                    <a:pt x="841" y="41"/>
                  </a:lnTo>
                  <a:lnTo>
                    <a:pt x="846" y="41"/>
                  </a:lnTo>
                  <a:lnTo>
                    <a:pt x="864" y="46"/>
                  </a:lnTo>
                  <a:lnTo>
                    <a:pt x="868" y="51"/>
                  </a:lnTo>
                  <a:lnTo>
                    <a:pt x="868" y="51"/>
                  </a:lnTo>
                  <a:lnTo>
                    <a:pt x="878" y="55"/>
                  </a:lnTo>
                  <a:lnTo>
                    <a:pt x="887" y="60"/>
                  </a:lnTo>
                  <a:lnTo>
                    <a:pt x="887" y="60"/>
                  </a:lnTo>
                  <a:lnTo>
                    <a:pt x="910" y="73"/>
                  </a:lnTo>
                  <a:lnTo>
                    <a:pt x="910" y="78"/>
                  </a:lnTo>
                  <a:lnTo>
                    <a:pt x="919" y="83"/>
                  </a:lnTo>
                  <a:lnTo>
                    <a:pt x="919" y="83"/>
                  </a:lnTo>
                  <a:lnTo>
                    <a:pt x="923" y="87"/>
                  </a:lnTo>
                  <a:lnTo>
                    <a:pt x="928" y="92"/>
                  </a:lnTo>
                  <a:lnTo>
                    <a:pt x="928" y="92"/>
                  </a:lnTo>
                  <a:lnTo>
                    <a:pt x="932" y="96"/>
                  </a:lnTo>
                  <a:lnTo>
                    <a:pt x="942" y="101"/>
                  </a:lnTo>
                  <a:lnTo>
                    <a:pt x="951" y="105"/>
                  </a:lnTo>
                  <a:lnTo>
                    <a:pt x="955" y="110"/>
                  </a:lnTo>
                  <a:lnTo>
                    <a:pt x="955" y="105"/>
                  </a:lnTo>
                  <a:lnTo>
                    <a:pt x="960" y="105"/>
                  </a:lnTo>
                  <a:lnTo>
                    <a:pt x="960" y="105"/>
                  </a:lnTo>
                  <a:lnTo>
                    <a:pt x="964" y="105"/>
                  </a:lnTo>
                  <a:lnTo>
                    <a:pt x="964" y="101"/>
                  </a:lnTo>
                  <a:lnTo>
                    <a:pt x="964" y="105"/>
                  </a:lnTo>
                  <a:lnTo>
                    <a:pt x="964" y="105"/>
                  </a:lnTo>
                  <a:lnTo>
                    <a:pt x="969" y="105"/>
                  </a:lnTo>
                  <a:lnTo>
                    <a:pt x="969" y="105"/>
                  </a:lnTo>
                  <a:lnTo>
                    <a:pt x="969" y="101"/>
                  </a:lnTo>
                  <a:lnTo>
                    <a:pt x="969" y="101"/>
                  </a:lnTo>
                  <a:lnTo>
                    <a:pt x="974" y="101"/>
                  </a:lnTo>
                  <a:lnTo>
                    <a:pt x="974" y="101"/>
                  </a:lnTo>
                  <a:lnTo>
                    <a:pt x="974" y="105"/>
                  </a:lnTo>
                  <a:lnTo>
                    <a:pt x="978" y="101"/>
                  </a:lnTo>
                  <a:lnTo>
                    <a:pt x="978" y="105"/>
                  </a:lnTo>
                  <a:lnTo>
                    <a:pt x="978" y="105"/>
                  </a:lnTo>
                  <a:lnTo>
                    <a:pt x="983" y="101"/>
                  </a:lnTo>
                  <a:lnTo>
                    <a:pt x="983" y="101"/>
                  </a:lnTo>
                  <a:lnTo>
                    <a:pt x="983" y="96"/>
                  </a:lnTo>
                  <a:lnTo>
                    <a:pt x="978" y="96"/>
                  </a:lnTo>
                  <a:lnTo>
                    <a:pt x="978" y="96"/>
                  </a:lnTo>
                  <a:lnTo>
                    <a:pt x="983" y="96"/>
                  </a:lnTo>
                  <a:lnTo>
                    <a:pt x="983" y="96"/>
                  </a:lnTo>
                  <a:lnTo>
                    <a:pt x="987" y="96"/>
                  </a:lnTo>
                  <a:lnTo>
                    <a:pt x="987" y="96"/>
                  </a:lnTo>
                  <a:lnTo>
                    <a:pt x="992" y="96"/>
                  </a:lnTo>
                  <a:lnTo>
                    <a:pt x="992" y="96"/>
                  </a:lnTo>
                  <a:lnTo>
                    <a:pt x="996" y="101"/>
                  </a:lnTo>
                  <a:lnTo>
                    <a:pt x="1001" y="101"/>
                  </a:lnTo>
                  <a:lnTo>
                    <a:pt x="1001" y="101"/>
                  </a:lnTo>
                  <a:lnTo>
                    <a:pt x="1001" y="101"/>
                  </a:lnTo>
                  <a:lnTo>
                    <a:pt x="1006" y="96"/>
                  </a:lnTo>
                  <a:lnTo>
                    <a:pt x="1010" y="101"/>
                  </a:lnTo>
                  <a:lnTo>
                    <a:pt x="1015" y="101"/>
                  </a:lnTo>
                  <a:lnTo>
                    <a:pt x="1015" y="101"/>
                  </a:lnTo>
                  <a:lnTo>
                    <a:pt x="1015" y="101"/>
                  </a:lnTo>
                  <a:lnTo>
                    <a:pt x="1015" y="105"/>
                  </a:lnTo>
                  <a:lnTo>
                    <a:pt x="1015" y="110"/>
                  </a:lnTo>
                  <a:lnTo>
                    <a:pt x="1015" y="110"/>
                  </a:lnTo>
                  <a:lnTo>
                    <a:pt x="1019" y="110"/>
                  </a:lnTo>
                  <a:lnTo>
                    <a:pt x="1019" y="110"/>
                  </a:lnTo>
                  <a:lnTo>
                    <a:pt x="1024" y="110"/>
                  </a:lnTo>
                  <a:lnTo>
                    <a:pt x="1024" y="110"/>
                  </a:lnTo>
                  <a:lnTo>
                    <a:pt x="1019" y="110"/>
                  </a:lnTo>
                  <a:lnTo>
                    <a:pt x="1019" y="110"/>
                  </a:lnTo>
                  <a:lnTo>
                    <a:pt x="1019" y="105"/>
                  </a:lnTo>
                  <a:lnTo>
                    <a:pt x="1024" y="105"/>
                  </a:lnTo>
                  <a:lnTo>
                    <a:pt x="1024" y="105"/>
                  </a:lnTo>
                  <a:lnTo>
                    <a:pt x="1024" y="105"/>
                  </a:lnTo>
                  <a:lnTo>
                    <a:pt x="1028" y="105"/>
                  </a:lnTo>
                  <a:lnTo>
                    <a:pt x="1028" y="105"/>
                  </a:lnTo>
                  <a:lnTo>
                    <a:pt x="1033" y="110"/>
                  </a:lnTo>
                  <a:lnTo>
                    <a:pt x="1033" y="110"/>
                  </a:lnTo>
                  <a:lnTo>
                    <a:pt x="1033" y="110"/>
                  </a:lnTo>
                  <a:lnTo>
                    <a:pt x="1038" y="110"/>
                  </a:lnTo>
                  <a:lnTo>
                    <a:pt x="1038" y="110"/>
                  </a:lnTo>
                  <a:lnTo>
                    <a:pt x="1038" y="115"/>
                  </a:lnTo>
                  <a:lnTo>
                    <a:pt x="1038" y="115"/>
                  </a:lnTo>
                  <a:lnTo>
                    <a:pt x="1042" y="115"/>
                  </a:lnTo>
                  <a:lnTo>
                    <a:pt x="1042" y="115"/>
                  </a:lnTo>
                  <a:lnTo>
                    <a:pt x="1042" y="110"/>
                  </a:lnTo>
                  <a:lnTo>
                    <a:pt x="1042" y="110"/>
                  </a:lnTo>
                  <a:lnTo>
                    <a:pt x="1047" y="110"/>
                  </a:lnTo>
                  <a:lnTo>
                    <a:pt x="1047" y="110"/>
                  </a:lnTo>
                  <a:lnTo>
                    <a:pt x="1051" y="110"/>
                  </a:lnTo>
                  <a:lnTo>
                    <a:pt x="1051" y="110"/>
                  </a:lnTo>
                  <a:lnTo>
                    <a:pt x="1051" y="110"/>
                  </a:lnTo>
                  <a:lnTo>
                    <a:pt x="1051" y="110"/>
                  </a:lnTo>
                  <a:lnTo>
                    <a:pt x="1051" y="110"/>
                  </a:lnTo>
                  <a:lnTo>
                    <a:pt x="1051" y="110"/>
                  </a:lnTo>
                  <a:lnTo>
                    <a:pt x="1051" y="110"/>
                  </a:lnTo>
                  <a:lnTo>
                    <a:pt x="1051" y="115"/>
                  </a:lnTo>
                  <a:lnTo>
                    <a:pt x="1056" y="115"/>
                  </a:lnTo>
                  <a:lnTo>
                    <a:pt x="1056" y="115"/>
                  </a:lnTo>
                  <a:lnTo>
                    <a:pt x="1056" y="115"/>
                  </a:lnTo>
                  <a:lnTo>
                    <a:pt x="1051" y="133"/>
                  </a:lnTo>
                  <a:lnTo>
                    <a:pt x="1051" y="142"/>
                  </a:lnTo>
                  <a:lnTo>
                    <a:pt x="1051" y="151"/>
                  </a:lnTo>
                  <a:lnTo>
                    <a:pt x="1051" y="156"/>
                  </a:lnTo>
                  <a:lnTo>
                    <a:pt x="1051" y="160"/>
                  </a:lnTo>
                  <a:lnTo>
                    <a:pt x="1047" y="169"/>
                  </a:lnTo>
                  <a:lnTo>
                    <a:pt x="1042" y="174"/>
                  </a:lnTo>
                  <a:lnTo>
                    <a:pt x="1042" y="174"/>
                  </a:lnTo>
                  <a:lnTo>
                    <a:pt x="1042" y="179"/>
                  </a:lnTo>
                  <a:lnTo>
                    <a:pt x="1038" y="179"/>
                  </a:lnTo>
                  <a:lnTo>
                    <a:pt x="1038" y="183"/>
                  </a:lnTo>
                  <a:lnTo>
                    <a:pt x="1038" y="192"/>
                  </a:lnTo>
                  <a:lnTo>
                    <a:pt x="1038" y="197"/>
                  </a:lnTo>
                  <a:lnTo>
                    <a:pt x="1042" y="197"/>
                  </a:lnTo>
                  <a:lnTo>
                    <a:pt x="1042" y="201"/>
                  </a:lnTo>
                  <a:lnTo>
                    <a:pt x="1047" y="201"/>
                  </a:lnTo>
                  <a:lnTo>
                    <a:pt x="1047" y="206"/>
                  </a:lnTo>
                  <a:lnTo>
                    <a:pt x="1047" y="211"/>
                  </a:lnTo>
                  <a:lnTo>
                    <a:pt x="1051" y="215"/>
                  </a:lnTo>
                  <a:lnTo>
                    <a:pt x="1051" y="215"/>
                  </a:lnTo>
                  <a:lnTo>
                    <a:pt x="1051" y="220"/>
                  </a:lnTo>
                  <a:lnTo>
                    <a:pt x="1056" y="220"/>
                  </a:lnTo>
                  <a:lnTo>
                    <a:pt x="1056" y="224"/>
                  </a:lnTo>
                  <a:lnTo>
                    <a:pt x="1060" y="224"/>
                  </a:lnTo>
                  <a:lnTo>
                    <a:pt x="1060" y="229"/>
                  </a:lnTo>
                  <a:lnTo>
                    <a:pt x="1065" y="229"/>
                  </a:lnTo>
                  <a:lnTo>
                    <a:pt x="1065" y="233"/>
                  </a:lnTo>
                  <a:lnTo>
                    <a:pt x="1070" y="238"/>
                  </a:lnTo>
                  <a:lnTo>
                    <a:pt x="1070" y="238"/>
                  </a:lnTo>
                  <a:lnTo>
                    <a:pt x="1070" y="243"/>
                  </a:lnTo>
                  <a:lnTo>
                    <a:pt x="1074" y="243"/>
                  </a:lnTo>
                  <a:lnTo>
                    <a:pt x="1074" y="243"/>
                  </a:lnTo>
                  <a:lnTo>
                    <a:pt x="1074" y="247"/>
                  </a:lnTo>
                  <a:lnTo>
                    <a:pt x="1079" y="247"/>
                  </a:lnTo>
                  <a:lnTo>
                    <a:pt x="1079" y="252"/>
                  </a:lnTo>
                  <a:lnTo>
                    <a:pt x="1083" y="256"/>
                  </a:lnTo>
                  <a:lnTo>
                    <a:pt x="1083" y="261"/>
                  </a:lnTo>
                  <a:lnTo>
                    <a:pt x="1083" y="261"/>
                  </a:lnTo>
                  <a:lnTo>
                    <a:pt x="1083" y="270"/>
                  </a:lnTo>
                  <a:lnTo>
                    <a:pt x="1083" y="275"/>
                  </a:lnTo>
                  <a:lnTo>
                    <a:pt x="1079" y="279"/>
                  </a:lnTo>
                  <a:lnTo>
                    <a:pt x="1079" y="284"/>
                  </a:lnTo>
                  <a:lnTo>
                    <a:pt x="1074" y="284"/>
                  </a:lnTo>
                  <a:lnTo>
                    <a:pt x="1070" y="284"/>
                  </a:lnTo>
                  <a:lnTo>
                    <a:pt x="1070" y="288"/>
                  </a:lnTo>
                  <a:lnTo>
                    <a:pt x="1070" y="293"/>
                  </a:lnTo>
                  <a:lnTo>
                    <a:pt x="1065" y="297"/>
                  </a:lnTo>
                  <a:lnTo>
                    <a:pt x="1060" y="302"/>
                  </a:lnTo>
                  <a:lnTo>
                    <a:pt x="1060" y="307"/>
                  </a:lnTo>
                  <a:lnTo>
                    <a:pt x="1056" y="307"/>
                  </a:lnTo>
                  <a:lnTo>
                    <a:pt x="1056" y="311"/>
                  </a:lnTo>
                  <a:lnTo>
                    <a:pt x="1056" y="316"/>
                  </a:lnTo>
                  <a:lnTo>
                    <a:pt x="1051" y="316"/>
                  </a:lnTo>
                  <a:lnTo>
                    <a:pt x="1051" y="320"/>
                  </a:lnTo>
                  <a:lnTo>
                    <a:pt x="1051" y="325"/>
                  </a:lnTo>
                  <a:lnTo>
                    <a:pt x="1051" y="325"/>
                  </a:lnTo>
                  <a:lnTo>
                    <a:pt x="1047" y="325"/>
                  </a:lnTo>
                  <a:lnTo>
                    <a:pt x="1047" y="329"/>
                  </a:lnTo>
                  <a:lnTo>
                    <a:pt x="1042" y="329"/>
                  </a:lnTo>
                  <a:lnTo>
                    <a:pt x="1038" y="329"/>
                  </a:lnTo>
                  <a:lnTo>
                    <a:pt x="1033" y="334"/>
                  </a:lnTo>
                  <a:lnTo>
                    <a:pt x="1033" y="339"/>
                  </a:lnTo>
                  <a:lnTo>
                    <a:pt x="1028" y="339"/>
                  </a:lnTo>
                  <a:lnTo>
                    <a:pt x="1028" y="339"/>
                  </a:lnTo>
                  <a:lnTo>
                    <a:pt x="1028" y="343"/>
                  </a:lnTo>
                  <a:lnTo>
                    <a:pt x="1024" y="343"/>
                  </a:lnTo>
                  <a:lnTo>
                    <a:pt x="1019" y="348"/>
                  </a:lnTo>
                  <a:lnTo>
                    <a:pt x="1015" y="348"/>
                  </a:lnTo>
                  <a:lnTo>
                    <a:pt x="1010" y="352"/>
                  </a:lnTo>
                  <a:lnTo>
                    <a:pt x="1006" y="352"/>
                  </a:lnTo>
                  <a:lnTo>
                    <a:pt x="1006" y="352"/>
                  </a:lnTo>
                  <a:lnTo>
                    <a:pt x="1006" y="357"/>
                  </a:lnTo>
                  <a:lnTo>
                    <a:pt x="1001" y="357"/>
                  </a:lnTo>
                  <a:lnTo>
                    <a:pt x="1001" y="366"/>
                  </a:lnTo>
                  <a:lnTo>
                    <a:pt x="1001" y="371"/>
                  </a:lnTo>
                  <a:lnTo>
                    <a:pt x="1001" y="371"/>
                  </a:lnTo>
                  <a:lnTo>
                    <a:pt x="1006" y="371"/>
                  </a:lnTo>
                  <a:lnTo>
                    <a:pt x="1006" y="375"/>
                  </a:lnTo>
                  <a:lnTo>
                    <a:pt x="1006" y="380"/>
                  </a:lnTo>
                  <a:lnTo>
                    <a:pt x="1006" y="384"/>
                  </a:lnTo>
                  <a:lnTo>
                    <a:pt x="1006" y="389"/>
                  </a:lnTo>
                  <a:lnTo>
                    <a:pt x="1010" y="393"/>
                  </a:lnTo>
                  <a:lnTo>
                    <a:pt x="1015" y="407"/>
                  </a:lnTo>
                  <a:lnTo>
                    <a:pt x="1015" y="416"/>
                  </a:lnTo>
                  <a:lnTo>
                    <a:pt x="1015" y="421"/>
                  </a:lnTo>
                  <a:lnTo>
                    <a:pt x="1015" y="425"/>
                  </a:lnTo>
                  <a:lnTo>
                    <a:pt x="1015" y="439"/>
                  </a:lnTo>
                  <a:lnTo>
                    <a:pt x="1010" y="462"/>
                  </a:lnTo>
                  <a:lnTo>
                    <a:pt x="1010" y="471"/>
                  </a:lnTo>
                  <a:lnTo>
                    <a:pt x="1006" y="480"/>
                  </a:lnTo>
                  <a:lnTo>
                    <a:pt x="1006" y="480"/>
                  </a:lnTo>
                  <a:lnTo>
                    <a:pt x="1001" y="499"/>
                  </a:lnTo>
                  <a:lnTo>
                    <a:pt x="996" y="508"/>
                  </a:lnTo>
                  <a:lnTo>
                    <a:pt x="996" y="512"/>
                  </a:lnTo>
                  <a:lnTo>
                    <a:pt x="996" y="526"/>
                  </a:lnTo>
                  <a:lnTo>
                    <a:pt x="996" y="540"/>
                  </a:lnTo>
                  <a:lnTo>
                    <a:pt x="996" y="549"/>
                  </a:lnTo>
                  <a:lnTo>
                    <a:pt x="996" y="567"/>
                  </a:lnTo>
                  <a:lnTo>
                    <a:pt x="996" y="576"/>
                  </a:lnTo>
                  <a:lnTo>
                    <a:pt x="996" y="585"/>
                  </a:lnTo>
                  <a:lnTo>
                    <a:pt x="996" y="590"/>
                  </a:lnTo>
                  <a:lnTo>
                    <a:pt x="996" y="595"/>
                  </a:lnTo>
                  <a:lnTo>
                    <a:pt x="992" y="599"/>
                  </a:lnTo>
                  <a:lnTo>
                    <a:pt x="992" y="604"/>
                  </a:lnTo>
                  <a:lnTo>
                    <a:pt x="987" y="604"/>
                  </a:lnTo>
                  <a:lnTo>
                    <a:pt x="987" y="608"/>
                  </a:lnTo>
                  <a:lnTo>
                    <a:pt x="983" y="608"/>
                  </a:lnTo>
                  <a:lnTo>
                    <a:pt x="983" y="613"/>
                  </a:lnTo>
                  <a:lnTo>
                    <a:pt x="983" y="613"/>
                  </a:lnTo>
                  <a:lnTo>
                    <a:pt x="978" y="617"/>
                  </a:lnTo>
                  <a:lnTo>
                    <a:pt x="978" y="622"/>
                  </a:lnTo>
                  <a:lnTo>
                    <a:pt x="978" y="627"/>
                  </a:lnTo>
                  <a:lnTo>
                    <a:pt x="974" y="636"/>
                  </a:lnTo>
                  <a:lnTo>
                    <a:pt x="974" y="636"/>
                  </a:lnTo>
                  <a:lnTo>
                    <a:pt x="974" y="640"/>
                  </a:lnTo>
                  <a:lnTo>
                    <a:pt x="978" y="645"/>
                  </a:lnTo>
                  <a:lnTo>
                    <a:pt x="983" y="649"/>
                  </a:lnTo>
                  <a:lnTo>
                    <a:pt x="983" y="654"/>
                  </a:lnTo>
                  <a:lnTo>
                    <a:pt x="983" y="654"/>
                  </a:lnTo>
                  <a:lnTo>
                    <a:pt x="987" y="659"/>
                  </a:lnTo>
                  <a:lnTo>
                    <a:pt x="992" y="659"/>
                  </a:lnTo>
                  <a:lnTo>
                    <a:pt x="996" y="659"/>
                  </a:lnTo>
                  <a:lnTo>
                    <a:pt x="1001" y="659"/>
                  </a:lnTo>
                  <a:lnTo>
                    <a:pt x="1006" y="663"/>
                  </a:lnTo>
                  <a:lnTo>
                    <a:pt x="1006" y="668"/>
                  </a:lnTo>
                  <a:lnTo>
                    <a:pt x="1015" y="677"/>
                  </a:lnTo>
                  <a:lnTo>
                    <a:pt x="1015" y="681"/>
                  </a:lnTo>
                  <a:lnTo>
                    <a:pt x="1019" y="681"/>
                  </a:lnTo>
                  <a:lnTo>
                    <a:pt x="1019" y="686"/>
                  </a:lnTo>
                  <a:lnTo>
                    <a:pt x="1019" y="691"/>
                  </a:lnTo>
                  <a:lnTo>
                    <a:pt x="1024" y="700"/>
                  </a:lnTo>
                  <a:lnTo>
                    <a:pt x="1028" y="700"/>
                  </a:lnTo>
                  <a:lnTo>
                    <a:pt x="1028" y="704"/>
                  </a:lnTo>
                  <a:lnTo>
                    <a:pt x="1028" y="709"/>
                  </a:lnTo>
                  <a:lnTo>
                    <a:pt x="1024" y="713"/>
                  </a:lnTo>
                  <a:lnTo>
                    <a:pt x="1019" y="723"/>
                  </a:lnTo>
                  <a:lnTo>
                    <a:pt x="1015" y="723"/>
                  </a:lnTo>
                  <a:lnTo>
                    <a:pt x="1010" y="723"/>
                  </a:lnTo>
                  <a:lnTo>
                    <a:pt x="1006" y="723"/>
                  </a:lnTo>
                  <a:lnTo>
                    <a:pt x="1006" y="727"/>
                  </a:lnTo>
                  <a:lnTo>
                    <a:pt x="1001" y="727"/>
                  </a:lnTo>
                  <a:lnTo>
                    <a:pt x="1001" y="732"/>
                  </a:lnTo>
                  <a:lnTo>
                    <a:pt x="992" y="741"/>
                  </a:lnTo>
                  <a:lnTo>
                    <a:pt x="987" y="745"/>
                  </a:lnTo>
                  <a:lnTo>
                    <a:pt x="987" y="745"/>
                  </a:lnTo>
                  <a:lnTo>
                    <a:pt x="987" y="750"/>
                  </a:lnTo>
                  <a:lnTo>
                    <a:pt x="983" y="750"/>
                  </a:lnTo>
                  <a:lnTo>
                    <a:pt x="983" y="755"/>
                  </a:lnTo>
                  <a:lnTo>
                    <a:pt x="983" y="759"/>
                  </a:lnTo>
                  <a:lnTo>
                    <a:pt x="983" y="764"/>
                  </a:lnTo>
                  <a:lnTo>
                    <a:pt x="983" y="768"/>
                  </a:lnTo>
                  <a:lnTo>
                    <a:pt x="983" y="768"/>
                  </a:lnTo>
                  <a:lnTo>
                    <a:pt x="983" y="773"/>
                  </a:lnTo>
                  <a:lnTo>
                    <a:pt x="978" y="773"/>
                  </a:lnTo>
                  <a:lnTo>
                    <a:pt x="978" y="777"/>
                  </a:lnTo>
                  <a:lnTo>
                    <a:pt x="978" y="782"/>
                  </a:lnTo>
                  <a:lnTo>
                    <a:pt x="974" y="782"/>
                  </a:lnTo>
                  <a:lnTo>
                    <a:pt x="974" y="787"/>
                  </a:lnTo>
                  <a:lnTo>
                    <a:pt x="969" y="787"/>
                  </a:lnTo>
                  <a:lnTo>
                    <a:pt x="964" y="787"/>
                  </a:lnTo>
                  <a:lnTo>
                    <a:pt x="960" y="791"/>
                  </a:lnTo>
                  <a:lnTo>
                    <a:pt x="955" y="796"/>
                  </a:lnTo>
                  <a:lnTo>
                    <a:pt x="951" y="800"/>
                  </a:lnTo>
                  <a:lnTo>
                    <a:pt x="946" y="809"/>
                  </a:lnTo>
                  <a:lnTo>
                    <a:pt x="942" y="809"/>
                  </a:lnTo>
                  <a:lnTo>
                    <a:pt x="942" y="823"/>
                  </a:lnTo>
                  <a:lnTo>
                    <a:pt x="942" y="828"/>
                  </a:lnTo>
                  <a:lnTo>
                    <a:pt x="946" y="837"/>
                  </a:lnTo>
                  <a:lnTo>
                    <a:pt x="946" y="841"/>
                  </a:lnTo>
                  <a:lnTo>
                    <a:pt x="951" y="855"/>
                  </a:lnTo>
                  <a:lnTo>
                    <a:pt x="955" y="855"/>
                  </a:lnTo>
                  <a:lnTo>
                    <a:pt x="955" y="855"/>
                  </a:lnTo>
                  <a:lnTo>
                    <a:pt x="955" y="860"/>
                  </a:lnTo>
                  <a:lnTo>
                    <a:pt x="955" y="869"/>
                  </a:lnTo>
                  <a:lnTo>
                    <a:pt x="951" y="873"/>
                  </a:lnTo>
                  <a:lnTo>
                    <a:pt x="951" y="878"/>
                  </a:lnTo>
                  <a:lnTo>
                    <a:pt x="946" y="878"/>
                  </a:lnTo>
                  <a:lnTo>
                    <a:pt x="942" y="878"/>
                  </a:lnTo>
                  <a:lnTo>
                    <a:pt x="937" y="887"/>
                  </a:lnTo>
                  <a:lnTo>
                    <a:pt x="932" y="892"/>
                  </a:lnTo>
                  <a:lnTo>
                    <a:pt x="928" y="892"/>
                  </a:lnTo>
                  <a:lnTo>
                    <a:pt x="923" y="896"/>
                  </a:lnTo>
                  <a:lnTo>
                    <a:pt x="923" y="896"/>
                  </a:lnTo>
                  <a:lnTo>
                    <a:pt x="919" y="901"/>
                  </a:lnTo>
                  <a:lnTo>
                    <a:pt x="914" y="905"/>
                  </a:lnTo>
                  <a:lnTo>
                    <a:pt x="910" y="905"/>
                  </a:lnTo>
                  <a:lnTo>
                    <a:pt x="905" y="910"/>
                  </a:lnTo>
                  <a:lnTo>
                    <a:pt x="900" y="910"/>
                  </a:lnTo>
                  <a:lnTo>
                    <a:pt x="896" y="910"/>
                  </a:lnTo>
                  <a:lnTo>
                    <a:pt x="896" y="915"/>
                  </a:lnTo>
                  <a:lnTo>
                    <a:pt x="896" y="915"/>
                  </a:lnTo>
                  <a:lnTo>
                    <a:pt x="891" y="915"/>
                  </a:lnTo>
                  <a:lnTo>
                    <a:pt x="891" y="919"/>
                  </a:lnTo>
                  <a:lnTo>
                    <a:pt x="887" y="919"/>
                  </a:lnTo>
                  <a:lnTo>
                    <a:pt x="882" y="919"/>
                  </a:lnTo>
                  <a:lnTo>
                    <a:pt x="878" y="919"/>
                  </a:lnTo>
                  <a:lnTo>
                    <a:pt x="873" y="919"/>
                  </a:lnTo>
                  <a:lnTo>
                    <a:pt x="873" y="924"/>
                  </a:lnTo>
                  <a:lnTo>
                    <a:pt x="868" y="924"/>
                  </a:lnTo>
                  <a:lnTo>
                    <a:pt x="864" y="924"/>
                  </a:lnTo>
                  <a:lnTo>
                    <a:pt x="859" y="924"/>
                  </a:lnTo>
                  <a:lnTo>
                    <a:pt x="855" y="928"/>
                  </a:lnTo>
                  <a:lnTo>
                    <a:pt x="846" y="933"/>
                  </a:lnTo>
                  <a:lnTo>
                    <a:pt x="841" y="933"/>
                  </a:lnTo>
                  <a:lnTo>
                    <a:pt x="836" y="933"/>
                  </a:lnTo>
                  <a:lnTo>
                    <a:pt x="836" y="937"/>
                  </a:lnTo>
                  <a:lnTo>
                    <a:pt x="832" y="937"/>
                  </a:lnTo>
                  <a:lnTo>
                    <a:pt x="827" y="937"/>
                  </a:lnTo>
                  <a:lnTo>
                    <a:pt x="823" y="942"/>
                  </a:lnTo>
                  <a:lnTo>
                    <a:pt x="814" y="942"/>
                  </a:lnTo>
                  <a:lnTo>
                    <a:pt x="814" y="942"/>
                  </a:lnTo>
                  <a:lnTo>
                    <a:pt x="809" y="947"/>
                  </a:lnTo>
                  <a:lnTo>
                    <a:pt x="809" y="947"/>
                  </a:lnTo>
                  <a:lnTo>
                    <a:pt x="809" y="951"/>
                  </a:lnTo>
                  <a:lnTo>
                    <a:pt x="804" y="956"/>
                  </a:lnTo>
                  <a:lnTo>
                    <a:pt x="804" y="960"/>
                  </a:lnTo>
                  <a:lnTo>
                    <a:pt x="800" y="960"/>
                  </a:lnTo>
                  <a:lnTo>
                    <a:pt x="795" y="965"/>
                  </a:lnTo>
                  <a:lnTo>
                    <a:pt x="795" y="974"/>
                  </a:lnTo>
                  <a:lnTo>
                    <a:pt x="791" y="988"/>
                  </a:lnTo>
                  <a:lnTo>
                    <a:pt x="791" y="988"/>
                  </a:lnTo>
                  <a:lnTo>
                    <a:pt x="791" y="992"/>
                  </a:lnTo>
                  <a:lnTo>
                    <a:pt x="791" y="997"/>
                  </a:lnTo>
                  <a:lnTo>
                    <a:pt x="791" y="1001"/>
                  </a:lnTo>
                  <a:lnTo>
                    <a:pt x="795" y="1011"/>
                  </a:lnTo>
                  <a:lnTo>
                    <a:pt x="795" y="1015"/>
                  </a:lnTo>
                  <a:lnTo>
                    <a:pt x="795" y="1020"/>
                  </a:lnTo>
                  <a:lnTo>
                    <a:pt x="795" y="1029"/>
                  </a:lnTo>
                  <a:lnTo>
                    <a:pt x="795" y="1029"/>
                  </a:lnTo>
                  <a:lnTo>
                    <a:pt x="791" y="1033"/>
                  </a:lnTo>
                  <a:lnTo>
                    <a:pt x="791" y="1038"/>
                  </a:lnTo>
                  <a:lnTo>
                    <a:pt x="786" y="1043"/>
                  </a:lnTo>
                  <a:lnTo>
                    <a:pt x="786" y="1047"/>
                  </a:lnTo>
                  <a:lnTo>
                    <a:pt x="782" y="1052"/>
                  </a:lnTo>
                  <a:lnTo>
                    <a:pt x="777" y="1052"/>
                  </a:lnTo>
                  <a:lnTo>
                    <a:pt x="777" y="1052"/>
                  </a:lnTo>
                  <a:lnTo>
                    <a:pt x="772" y="1052"/>
                  </a:lnTo>
                  <a:lnTo>
                    <a:pt x="768" y="1052"/>
                  </a:lnTo>
                  <a:lnTo>
                    <a:pt x="768" y="1056"/>
                  </a:lnTo>
                  <a:lnTo>
                    <a:pt x="763" y="1056"/>
                  </a:lnTo>
                  <a:lnTo>
                    <a:pt x="759" y="1056"/>
                  </a:lnTo>
                  <a:lnTo>
                    <a:pt x="754" y="1061"/>
                  </a:lnTo>
                  <a:lnTo>
                    <a:pt x="750" y="1061"/>
                  </a:lnTo>
                  <a:lnTo>
                    <a:pt x="745" y="1065"/>
                  </a:lnTo>
                  <a:lnTo>
                    <a:pt x="740" y="1061"/>
                  </a:lnTo>
                  <a:lnTo>
                    <a:pt x="740" y="1056"/>
                  </a:lnTo>
                  <a:lnTo>
                    <a:pt x="740" y="1047"/>
                  </a:lnTo>
                  <a:lnTo>
                    <a:pt x="740" y="1038"/>
                  </a:lnTo>
                  <a:lnTo>
                    <a:pt x="740" y="1033"/>
                  </a:lnTo>
                  <a:lnTo>
                    <a:pt x="740" y="1024"/>
                  </a:lnTo>
                  <a:lnTo>
                    <a:pt x="740" y="1001"/>
                  </a:lnTo>
                  <a:lnTo>
                    <a:pt x="745" y="988"/>
                  </a:lnTo>
                  <a:lnTo>
                    <a:pt x="745" y="979"/>
                  </a:lnTo>
                  <a:lnTo>
                    <a:pt x="745" y="969"/>
                  </a:lnTo>
                  <a:lnTo>
                    <a:pt x="740" y="960"/>
                  </a:lnTo>
                  <a:lnTo>
                    <a:pt x="740" y="956"/>
                  </a:lnTo>
                  <a:lnTo>
                    <a:pt x="740" y="947"/>
                  </a:lnTo>
                  <a:lnTo>
                    <a:pt x="740" y="942"/>
                  </a:lnTo>
                  <a:lnTo>
                    <a:pt x="740" y="942"/>
                  </a:lnTo>
                  <a:lnTo>
                    <a:pt x="736" y="942"/>
                  </a:lnTo>
                  <a:lnTo>
                    <a:pt x="736" y="937"/>
                  </a:lnTo>
                  <a:lnTo>
                    <a:pt x="736" y="933"/>
                  </a:lnTo>
                  <a:lnTo>
                    <a:pt x="731" y="933"/>
                  </a:lnTo>
                  <a:lnTo>
                    <a:pt x="727" y="924"/>
                  </a:lnTo>
                  <a:lnTo>
                    <a:pt x="727" y="919"/>
                  </a:lnTo>
                  <a:lnTo>
                    <a:pt x="722" y="919"/>
                  </a:lnTo>
                  <a:lnTo>
                    <a:pt x="722" y="915"/>
                  </a:lnTo>
                  <a:lnTo>
                    <a:pt x="722" y="915"/>
                  </a:lnTo>
                  <a:lnTo>
                    <a:pt x="722" y="910"/>
                  </a:lnTo>
                  <a:lnTo>
                    <a:pt x="718" y="905"/>
                  </a:lnTo>
                  <a:lnTo>
                    <a:pt x="699" y="896"/>
                  </a:lnTo>
                  <a:lnTo>
                    <a:pt x="699" y="896"/>
                  </a:lnTo>
                  <a:lnTo>
                    <a:pt x="699" y="892"/>
                  </a:lnTo>
                  <a:lnTo>
                    <a:pt x="695" y="892"/>
                  </a:lnTo>
                  <a:lnTo>
                    <a:pt x="690" y="887"/>
                  </a:lnTo>
                  <a:lnTo>
                    <a:pt x="686" y="883"/>
                  </a:lnTo>
                  <a:lnTo>
                    <a:pt x="676" y="878"/>
                  </a:lnTo>
                  <a:lnTo>
                    <a:pt x="676" y="873"/>
                  </a:lnTo>
                  <a:lnTo>
                    <a:pt x="672" y="869"/>
                  </a:lnTo>
                  <a:lnTo>
                    <a:pt x="672" y="864"/>
                  </a:lnTo>
                  <a:lnTo>
                    <a:pt x="667" y="855"/>
                  </a:lnTo>
                  <a:lnTo>
                    <a:pt x="667" y="851"/>
                  </a:lnTo>
                  <a:lnTo>
                    <a:pt x="663" y="837"/>
                  </a:lnTo>
                  <a:lnTo>
                    <a:pt x="663" y="832"/>
                  </a:lnTo>
                  <a:lnTo>
                    <a:pt x="658" y="832"/>
                  </a:lnTo>
                  <a:lnTo>
                    <a:pt x="654" y="828"/>
                  </a:lnTo>
                  <a:lnTo>
                    <a:pt x="654" y="828"/>
                  </a:lnTo>
                  <a:lnTo>
                    <a:pt x="654" y="823"/>
                  </a:lnTo>
                  <a:lnTo>
                    <a:pt x="649" y="823"/>
                  </a:lnTo>
                  <a:lnTo>
                    <a:pt x="644" y="819"/>
                  </a:lnTo>
                  <a:lnTo>
                    <a:pt x="635" y="819"/>
                  </a:lnTo>
                  <a:lnTo>
                    <a:pt x="626" y="814"/>
                  </a:lnTo>
                  <a:lnTo>
                    <a:pt x="612" y="809"/>
                  </a:lnTo>
                  <a:lnTo>
                    <a:pt x="603" y="809"/>
                  </a:lnTo>
                  <a:lnTo>
                    <a:pt x="599" y="805"/>
                  </a:lnTo>
                  <a:lnTo>
                    <a:pt x="594" y="800"/>
                  </a:lnTo>
                  <a:lnTo>
                    <a:pt x="590" y="800"/>
                  </a:lnTo>
                  <a:lnTo>
                    <a:pt x="585" y="796"/>
                  </a:lnTo>
                  <a:lnTo>
                    <a:pt x="576" y="796"/>
                  </a:lnTo>
                  <a:lnTo>
                    <a:pt x="562" y="796"/>
                  </a:lnTo>
                  <a:lnTo>
                    <a:pt x="548" y="796"/>
                  </a:lnTo>
                  <a:lnTo>
                    <a:pt x="544" y="796"/>
                  </a:lnTo>
                  <a:lnTo>
                    <a:pt x="535" y="796"/>
                  </a:lnTo>
                  <a:lnTo>
                    <a:pt x="521" y="796"/>
                  </a:lnTo>
                  <a:lnTo>
                    <a:pt x="521" y="796"/>
                  </a:lnTo>
                  <a:lnTo>
                    <a:pt x="516" y="796"/>
                  </a:lnTo>
                  <a:lnTo>
                    <a:pt x="507" y="796"/>
                  </a:lnTo>
                  <a:lnTo>
                    <a:pt x="503" y="796"/>
                  </a:lnTo>
                  <a:lnTo>
                    <a:pt x="503" y="791"/>
                  </a:lnTo>
                  <a:lnTo>
                    <a:pt x="498" y="791"/>
                  </a:lnTo>
                  <a:lnTo>
                    <a:pt x="494" y="787"/>
                  </a:lnTo>
                  <a:lnTo>
                    <a:pt x="489" y="787"/>
                  </a:lnTo>
                  <a:lnTo>
                    <a:pt x="489" y="782"/>
                  </a:lnTo>
                  <a:lnTo>
                    <a:pt x="484" y="777"/>
                  </a:lnTo>
                  <a:lnTo>
                    <a:pt x="484" y="773"/>
                  </a:lnTo>
                  <a:lnTo>
                    <a:pt x="484" y="768"/>
                  </a:lnTo>
                  <a:lnTo>
                    <a:pt x="489" y="768"/>
                  </a:lnTo>
                  <a:lnTo>
                    <a:pt x="489" y="768"/>
                  </a:lnTo>
                  <a:lnTo>
                    <a:pt x="494" y="764"/>
                  </a:lnTo>
                  <a:lnTo>
                    <a:pt x="494" y="759"/>
                  </a:lnTo>
                  <a:lnTo>
                    <a:pt x="498" y="759"/>
                  </a:lnTo>
                  <a:lnTo>
                    <a:pt x="498" y="755"/>
                  </a:lnTo>
                  <a:lnTo>
                    <a:pt x="503" y="750"/>
                  </a:lnTo>
                  <a:lnTo>
                    <a:pt x="503" y="745"/>
                  </a:lnTo>
                  <a:lnTo>
                    <a:pt x="503" y="745"/>
                  </a:lnTo>
                  <a:lnTo>
                    <a:pt x="507" y="741"/>
                  </a:lnTo>
                  <a:lnTo>
                    <a:pt x="507" y="736"/>
                  </a:lnTo>
                  <a:lnTo>
                    <a:pt x="507" y="732"/>
                  </a:lnTo>
                  <a:lnTo>
                    <a:pt x="507" y="727"/>
                  </a:lnTo>
                  <a:lnTo>
                    <a:pt x="507" y="723"/>
                  </a:lnTo>
                  <a:lnTo>
                    <a:pt x="507" y="718"/>
                  </a:lnTo>
                  <a:lnTo>
                    <a:pt x="507" y="709"/>
                  </a:lnTo>
                  <a:lnTo>
                    <a:pt x="507" y="700"/>
                  </a:lnTo>
                  <a:lnTo>
                    <a:pt x="503" y="695"/>
                  </a:lnTo>
                  <a:lnTo>
                    <a:pt x="503" y="686"/>
                  </a:lnTo>
                  <a:lnTo>
                    <a:pt x="503" y="677"/>
                  </a:lnTo>
                  <a:lnTo>
                    <a:pt x="498" y="659"/>
                  </a:lnTo>
                  <a:lnTo>
                    <a:pt x="494" y="649"/>
                  </a:lnTo>
                  <a:lnTo>
                    <a:pt x="494" y="645"/>
                  </a:lnTo>
                  <a:lnTo>
                    <a:pt x="494" y="640"/>
                  </a:lnTo>
                  <a:lnTo>
                    <a:pt x="489" y="636"/>
                  </a:lnTo>
                  <a:lnTo>
                    <a:pt x="489" y="631"/>
                  </a:lnTo>
                  <a:lnTo>
                    <a:pt x="484" y="631"/>
                  </a:lnTo>
                  <a:lnTo>
                    <a:pt x="484" y="627"/>
                  </a:lnTo>
                  <a:lnTo>
                    <a:pt x="480" y="622"/>
                  </a:lnTo>
                  <a:lnTo>
                    <a:pt x="480" y="617"/>
                  </a:lnTo>
                  <a:lnTo>
                    <a:pt x="480" y="617"/>
                  </a:lnTo>
                  <a:lnTo>
                    <a:pt x="480" y="613"/>
                  </a:lnTo>
                  <a:lnTo>
                    <a:pt x="480" y="613"/>
                  </a:lnTo>
                  <a:lnTo>
                    <a:pt x="471" y="604"/>
                  </a:lnTo>
                  <a:lnTo>
                    <a:pt x="471" y="599"/>
                  </a:lnTo>
                  <a:lnTo>
                    <a:pt x="466" y="595"/>
                  </a:lnTo>
                  <a:lnTo>
                    <a:pt x="466" y="590"/>
                  </a:lnTo>
                  <a:lnTo>
                    <a:pt x="466" y="590"/>
                  </a:lnTo>
                  <a:lnTo>
                    <a:pt x="466" y="585"/>
                  </a:lnTo>
                  <a:lnTo>
                    <a:pt x="466" y="572"/>
                  </a:lnTo>
                  <a:lnTo>
                    <a:pt x="466" y="567"/>
                  </a:lnTo>
                  <a:lnTo>
                    <a:pt x="466" y="567"/>
                  </a:lnTo>
                  <a:lnTo>
                    <a:pt x="462" y="567"/>
                  </a:lnTo>
                  <a:lnTo>
                    <a:pt x="462" y="563"/>
                  </a:lnTo>
                  <a:lnTo>
                    <a:pt x="457" y="558"/>
                  </a:lnTo>
                  <a:lnTo>
                    <a:pt x="457" y="553"/>
                  </a:lnTo>
                  <a:lnTo>
                    <a:pt x="457" y="549"/>
                  </a:lnTo>
                  <a:lnTo>
                    <a:pt x="457" y="544"/>
                  </a:lnTo>
                  <a:lnTo>
                    <a:pt x="457" y="535"/>
                  </a:lnTo>
                  <a:lnTo>
                    <a:pt x="457" y="531"/>
                  </a:lnTo>
                  <a:lnTo>
                    <a:pt x="457" y="521"/>
                  </a:lnTo>
                  <a:lnTo>
                    <a:pt x="457" y="512"/>
                  </a:lnTo>
                  <a:lnTo>
                    <a:pt x="457" y="503"/>
                  </a:lnTo>
                  <a:lnTo>
                    <a:pt x="457" y="499"/>
                  </a:lnTo>
                  <a:lnTo>
                    <a:pt x="452" y="494"/>
                  </a:lnTo>
                  <a:lnTo>
                    <a:pt x="452" y="489"/>
                  </a:lnTo>
                  <a:lnTo>
                    <a:pt x="448" y="485"/>
                  </a:lnTo>
                  <a:lnTo>
                    <a:pt x="443" y="476"/>
                  </a:lnTo>
                  <a:lnTo>
                    <a:pt x="443" y="471"/>
                  </a:lnTo>
                  <a:lnTo>
                    <a:pt x="439" y="467"/>
                  </a:lnTo>
                  <a:lnTo>
                    <a:pt x="439" y="462"/>
                  </a:lnTo>
                  <a:lnTo>
                    <a:pt x="434" y="457"/>
                  </a:lnTo>
                  <a:lnTo>
                    <a:pt x="434" y="448"/>
                  </a:lnTo>
                  <a:lnTo>
                    <a:pt x="434" y="439"/>
                  </a:lnTo>
                  <a:lnTo>
                    <a:pt x="434" y="435"/>
                  </a:lnTo>
                  <a:lnTo>
                    <a:pt x="434" y="430"/>
                  </a:lnTo>
                  <a:lnTo>
                    <a:pt x="434" y="416"/>
                  </a:lnTo>
                  <a:lnTo>
                    <a:pt x="434" y="407"/>
                  </a:lnTo>
                  <a:lnTo>
                    <a:pt x="434" y="393"/>
                  </a:lnTo>
                  <a:lnTo>
                    <a:pt x="434" y="393"/>
                  </a:lnTo>
                  <a:lnTo>
                    <a:pt x="434" y="384"/>
                  </a:lnTo>
                  <a:lnTo>
                    <a:pt x="434" y="380"/>
                  </a:lnTo>
                  <a:lnTo>
                    <a:pt x="430" y="380"/>
                  </a:lnTo>
                  <a:lnTo>
                    <a:pt x="430" y="375"/>
                  </a:lnTo>
                  <a:lnTo>
                    <a:pt x="425" y="371"/>
                  </a:lnTo>
                  <a:lnTo>
                    <a:pt x="425" y="366"/>
                  </a:lnTo>
                  <a:lnTo>
                    <a:pt x="425" y="361"/>
                  </a:lnTo>
                  <a:lnTo>
                    <a:pt x="411" y="352"/>
                  </a:lnTo>
                  <a:lnTo>
                    <a:pt x="411" y="348"/>
                  </a:lnTo>
                  <a:lnTo>
                    <a:pt x="407" y="343"/>
                  </a:lnTo>
                  <a:lnTo>
                    <a:pt x="402" y="343"/>
                  </a:lnTo>
                  <a:lnTo>
                    <a:pt x="402" y="339"/>
                  </a:lnTo>
                  <a:lnTo>
                    <a:pt x="398" y="339"/>
                  </a:lnTo>
                  <a:lnTo>
                    <a:pt x="393" y="334"/>
                  </a:lnTo>
                  <a:lnTo>
                    <a:pt x="393" y="329"/>
                  </a:lnTo>
                  <a:lnTo>
                    <a:pt x="379" y="329"/>
                  </a:lnTo>
                  <a:lnTo>
                    <a:pt x="384" y="320"/>
                  </a:lnTo>
                  <a:lnTo>
                    <a:pt x="379" y="307"/>
                  </a:lnTo>
                  <a:lnTo>
                    <a:pt x="375" y="284"/>
                  </a:lnTo>
                  <a:lnTo>
                    <a:pt x="375" y="270"/>
                  </a:lnTo>
                  <a:lnTo>
                    <a:pt x="370" y="256"/>
                  </a:lnTo>
                  <a:lnTo>
                    <a:pt x="370" y="243"/>
                  </a:lnTo>
                  <a:lnTo>
                    <a:pt x="370" y="229"/>
                  </a:lnTo>
                  <a:lnTo>
                    <a:pt x="366" y="224"/>
                  </a:lnTo>
                  <a:lnTo>
                    <a:pt x="361" y="220"/>
                  </a:lnTo>
                  <a:lnTo>
                    <a:pt x="356" y="220"/>
                  </a:lnTo>
                  <a:lnTo>
                    <a:pt x="352" y="220"/>
                  </a:lnTo>
                  <a:lnTo>
                    <a:pt x="329" y="220"/>
                  </a:lnTo>
                  <a:lnTo>
                    <a:pt x="324" y="220"/>
                  </a:lnTo>
                  <a:lnTo>
                    <a:pt x="315" y="220"/>
                  </a:lnTo>
                  <a:lnTo>
                    <a:pt x="306" y="220"/>
                  </a:lnTo>
                  <a:lnTo>
                    <a:pt x="306" y="215"/>
                  </a:lnTo>
                  <a:lnTo>
                    <a:pt x="302" y="215"/>
                  </a:lnTo>
                  <a:lnTo>
                    <a:pt x="297" y="211"/>
                  </a:lnTo>
                  <a:lnTo>
                    <a:pt x="292" y="211"/>
                  </a:lnTo>
                  <a:lnTo>
                    <a:pt x="288" y="215"/>
                  </a:lnTo>
                  <a:lnTo>
                    <a:pt x="283" y="215"/>
                  </a:lnTo>
                  <a:lnTo>
                    <a:pt x="283" y="215"/>
                  </a:lnTo>
                  <a:lnTo>
                    <a:pt x="283" y="220"/>
                  </a:lnTo>
                  <a:lnTo>
                    <a:pt x="279" y="220"/>
                  </a:lnTo>
                  <a:lnTo>
                    <a:pt x="274" y="220"/>
                  </a:lnTo>
                  <a:lnTo>
                    <a:pt x="270" y="220"/>
                  </a:lnTo>
                  <a:lnTo>
                    <a:pt x="265" y="220"/>
                  </a:lnTo>
                  <a:lnTo>
                    <a:pt x="260" y="215"/>
                  </a:lnTo>
                  <a:lnTo>
                    <a:pt x="260" y="211"/>
                  </a:lnTo>
                  <a:lnTo>
                    <a:pt x="260" y="206"/>
                  </a:lnTo>
                  <a:lnTo>
                    <a:pt x="260" y="201"/>
                  </a:lnTo>
                  <a:lnTo>
                    <a:pt x="256" y="197"/>
                  </a:lnTo>
                  <a:lnTo>
                    <a:pt x="260" y="188"/>
                  </a:lnTo>
                  <a:lnTo>
                    <a:pt x="256" y="174"/>
                  </a:lnTo>
                  <a:lnTo>
                    <a:pt x="251" y="165"/>
                  </a:lnTo>
                  <a:lnTo>
                    <a:pt x="247" y="151"/>
                  </a:lnTo>
                  <a:lnTo>
                    <a:pt x="247" y="147"/>
                  </a:lnTo>
                  <a:lnTo>
                    <a:pt x="247" y="147"/>
                  </a:lnTo>
                  <a:lnTo>
                    <a:pt x="242" y="142"/>
                  </a:lnTo>
                  <a:lnTo>
                    <a:pt x="242" y="137"/>
                  </a:lnTo>
                  <a:lnTo>
                    <a:pt x="238" y="133"/>
                  </a:lnTo>
                  <a:lnTo>
                    <a:pt x="238" y="133"/>
                  </a:lnTo>
                  <a:lnTo>
                    <a:pt x="233" y="133"/>
                  </a:lnTo>
                  <a:lnTo>
                    <a:pt x="228" y="133"/>
                  </a:lnTo>
                  <a:lnTo>
                    <a:pt x="219" y="133"/>
                  </a:lnTo>
                  <a:lnTo>
                    <a:pt x="215" y="133"/>
                  </a:lnTo>
                  <a:lnTo>
                    <a:pt x="210" y="142"/>
                  </a:lnTo>
                  <a:lnTo>
                    <a:pt x="206" y="142"/>
                  </a:lnTo>
                  <a:lnTo>
                    <a:pt x="201" y="147"/>
                  </a:lnTo>
                  <a:lnTo>
                    <a:pt x="196" y="147"/>
                  </a:lnTo>
                  <a:lnTo>
                    <a:pt x="196" y="151"/>
                  </a:lnTo>
                  <a:lnTo>
                    <a:pt x="187" y="151"/>
                  </a:lnTo>
                  <a:lnTo>
                    <a:pt x="183" y="151"/>
                  </a:lnTo>
                  <a:lnTo>
                    <a:pt x="174" y="151"/>
                  </a:lnTo>
                  <a:lnTo>
                    <a:pt x="164" y="156"/>
                  </a:lnTo>
                  <a:lnTo>
                    <a:pt x="160" y="156"/>
                  </a:lnTo>
                  <a:lnTo>
                    <a:pt x="155" y="156"/>
                  </a:lnTo>
                  <a:lnTo>
                    <a:pt x="151" y="160"/>
                  </a:lnTo>
                  <a:lnTo>
                    <a:pt x="151" y="160"/>
                  </a:lnTo>
                  <a:lnTo>
                    <a:pt x="146" y="165"/>
                  </a:lnTo>
                  <a:lnTo>
                    <a:pt x="142" y="165"/>
                  </a:lnTo>
                  <a:lnTo>
                    <a:pt x="137" y="169"/>
                  </a:lnTo>
                  <a:lnTo>
                    <a:pt x="132" y="174"/>
                  </a:lnTo>
                  <a:lnTo>
                    <a:pt x="128" y="174"/>
                  </a:lnTo>
                  <a:lnTo>
                    <a:pt x="128" y="174"/>
                  </a:lnTo>
                  <a:lnTo>
                    <a:pt x="128" y="179"/>
                  </a:lnTo>
                  <a:lnTo>
                    <a:pt x="128" y="183"/>
                  </a:lnTo>
                  <a:lnTo>
                    <a:pt x="123" y="192"/>
                  </a:lnTo>
                  <a:lnTo>
                    <a:pt x="119" y="201"/>
                  </a:lnTo>
                  <a:lnTo>
                    <a:pt x="114" y="201"/>
                  </a:lnTo>
                  <a:lnTo>
                    <a:pt x="114" y="206"/>
                  </a:lnTo>
                  <a:lnTo>
                    <a:pt x="110" y="211"/>
                  </a:lnTo>
                  <a:lnTo>
                    <a:pt x="105" y="215"/>
                  </a:lnTo>
                  <a:lnTo>
                    <a:pt x="105" y="215"/>
                  </a:lnTo>
                  <a:lnTo>
                    <a:pt x="105" y="220"/>
                  </a:lnTo>
                  <a:lnTo>
                    <a:pt x="96" y="220"/>
                  </a:lnTo>
                  <a:lnTo>
                    <a:pt x="82" y="220"/>
                  </a:lnTo>
                  <a:lnTo>
                    <a:pt x="78" y="220"/>
                  </a:lnTo>
                  <a:lnTo>
                    <a:pt x="73" y="220"/>
                  </a:lnTo>
                  <a:lnTo>
                    <a:pt x="64" y="220"/>
                  </a:lnTo>
                  <a:lnTo>
                    <a:pt x="64" y="220"/>
                  </a:lnTo>
                  <a:lnTo>
                    <a:pt x="59" y="220"/>
                  </a:lnTo>
                  <a:lnTo>
                    <a:pt x="50" y="220"/>
                  </a:lnTo>
                  <a:lnTo>
                    <a:pt x="41" y="220"/>
                  </a:lnTo>
                  <a:lnTo>
                    <a:pt x="41" y="220"/>
                  </a:lnTo>
                  <a:lnTo>
                    <a:pt x="36" y="220"/>
                  </a:lnTo>
                  <a:lnTo>
                    <a:pt x="27" y="220"/>
                  </a:lnTo>
                  <a:lnTo>
                    <a:pt x="0" y="224"/>
                  </a:lnTo>
                  <a:lnTo>
                    <a:pt x="0" y="215"/>
                  </a:lnTo>
                  <a:lnTo>
                    <a:pt x="0" y="215"/>
                  </a:lnTo>
                  <a:lnTo>
                    <a:pt x="14" y="215"/>
                  </a:lnTo>
                  <a:lnTo>
                    <a:pt x="23" y="215"/>
                  </a:lnTo>
                  <a:lnTo>
                    <a:pt x="32" y="211"/>
                  </a:lnTo>
                  <a:lnTo>
                    <a:pt x="36" y="206"/>
                  </a:lnTo>
                  <a:lnTo>
                    <a:pt x="41" y="201"/>
                  </a:lnTo>
                  <a:lnTo>
                    <a:pt x="46" y="197"/>
                  </a:lnTo>
                  <a:lnTo>
                    <a:pt x="68" y="174"/>
                  </a:lnTo>
                  <a:lnTo>
                    <a:pt x="68" y="174"/>
                  </a:lnTo>
                  <a:lnTo>
                    <a:pt x="73" y="169"/>
                  </a:lnTo>
                  <a:lnTo>
                    <a:pt x="78" y="165"/>
                  </a:lnTo>
                  <a:lnTo>
                    <a:pt x="78" y="165"/>
                  </a:lnTo>
                  <a:lnTo>
                    <a:pt x="82" y="160"/>
                  </a:lnTo>
                  <a:lnTo>
                    <a:pt x="87" y="156"/>
                  </a:lnTo>
                  <a:lnTo>
                    <a:pt x="87" y="151"/>
                  </a:lnTo>
                  <a:lnTo>
                    <a:pt x="91" y="142"/>
                  </a:lnTo>
                  <a:lnTo>
                    <a:pt x="100" y="137"/>
                  </a:lnTo>
                  <a:lnTo>
                    <a:pt x="105" y="128"/>
                  </a:lnTo>
                  <a:lnTo>
                    <a:pt x="110" y="128"/>
                  </a:lnTo>
                  <a:lnTo>
                    <a:pt x="114" y="124"/>
                  </a:lnTo>
                  <a:lnTo>
                    <a:pt x="119" y="119"/>
                  </a:lnTo>
                  <a:lnTo>
                    <a:pt x="123" y="119"/>
                  </a:lnTo>
                  <a:lnTo>
                    <a:pt x="123" y="115"/>
                  </a:lnTo>
                  <a:lnTo>
                    <a:pt x="132" y="105"/>
                  </a:lnTo>
                  <a:lnTo>
                    <a:pt x="146" y="87"/>
                  </a:lnTo>
                  <a:lnTo>
                    <a:pt x="151" y="87"/>
                  </a:lnTo>
                  <a:lnTo>
                    <a:pt x="151" y="87"/>
                  </a:lnTo>
                  <a:lnTo>
                    <a:pt x="151" y="83"/>
                  </a:lnTo>
                  <a:lnTo>
                    <a:pt x="155" y="83"/>
                  </a:lnTo>
                  <a:lnTo>
                    <a:pt x="155" y="78"/>
                  </a:lnTo>
                  <a:lnTo>
                    <a:pt x="155" y="78"/>
                  </a:lnTo>
                  <a:lnTo>
                    <a:pt x="164" y="73"/>
                  </a:lnTo>
                  <a:lnTo>
                    <a:pt x="169" y="73"/>
                  </a:lnTo>
                  <a:lnTo>
                    <a:pt x="169" y="69"/>
                  </a:lnTo>
                  <a:lnTo>
                    <a:pt x="174" y="69"/>
                  </a:lnTo>
                  <a:lnTo>
                    <a:pt x="178" y="64"/>
                  </a:lnTo>
                  <a:lnTo>
                    <a:pt x="192" y="60"/>
                  </a:lnTo>
                  <a:lnTo>
                    <a:pt x="201" y="55"/>
                  </a:lnTo>
                  <a:lnTo>
                    <a:pt x="206" y="55"/>
                  </a:lnTo>
                  <a:lnTo>
                    <a:pt x="210" y="51"/>
                  </a:lnTo>
                  <a:lnTo>
                    <a:pt x="219" y="46"/>
                  </a:lnTo>
                  <a:lnTo>
                    <a:pt x="228" y="41"/>
                  </a:lnTo>
                  <a:lnTo>
                    <a:pt x="228" y="41"/>
                  </a:lnTo>
                  <a:lnTo>
                    <a:pt x="233" y="41"/>
                  </a:lnTo>
                  <a:lnTo>
                    <a:pt x="251" y="41"/>
                  </a:lnTo>
                  <a:lnTo>
                    <a:pt x="256" y="41"/>
                  </a:lnTo>
                  <a:lnTo>
                    <a:pt x="256" y="41"/>
                  </a:lnTo>
                  <a:lnTo>
                    <a:pt x="265" y="37"/>
                  </a:lnTo>
                  <a:lnTo>
                    <a:pt x="270" y="37"/>
                  </a:lnTo>
                  <a:lnTo>
                    <a:pt x="279" y="37"/>
                  </a:lnTo>
                  <a:lnTo>
                    <a:pt x="283" y="37"/>
                  </a:lnTo>
                  <a:lnTo>
                    <a:pt x="302" y="37"/>
                  </a:lnTo>
                  <a:lnTo>
                    <a:pt x="311" y="37"/>
                  </a:lnTo>
                  <a:lnTo>
                    <a:pt x="311" y="37"/>
                  </a:lnTo>
                  <a:lnTo>
                    <a:pt x="320" y="37"/>
                  </a:lnTo>
                  <a:lnTo>
                    <a:pt x="324" y="37"/>
                  </a:lnTo>
                  <a:lnTo>
                    <a:pt x="329" y="37"/>
                  </a:lnTo>
                  <a:lnTo>
                    <a:pt x="334" y="37"/>
                  </a:lnTo>
                  <a:lnTo>
                    <a:pt x="338" y="32"/>
                  </a:lnTo>
                  <a:lnTo>
                    <a:pt x="356" y="23"/>
                  </a:lnTo>
                  <a:lnTo>
                    <a:pt x="361" y="23"/>
                  </a:lnTo>
                  <a:lnTo>
                    <a:pt x="370" y="19"/>
                  </a:lnTo>
                  <a:lnTo>
                    <a:pt x="375" y="19"/>
                  </a:lnTo>
                  <a:lnTo>
                    <a:pt x="379" y="19"/>
                  </a:lnTo>
                  <a:lnTo>
                    <a:pt x="384" y="14"/>
                  </a:lnTo>
                  <a:lnTo>
                    <a:pt x="388" y="14"/>
                  </a:lnTo>
                  <a:lnTo>
                    <a:pt x="402" y="9"/>
                  </a:lnTo>
                  <a:lnTo>
                    <a:pt x="407" y="9"/>
                  </a:lnTo>
                  <a:lnTo>
                    <a:pt x="411" y="5"/>
                  </a:lnTo>
                  <a:lnTo>
                    <a:pt x="416" y="5"/>
                  </a:lnTo>
                  <a:lnTo>
                    <a:pt x="420" y="5"/>
                  </a:lnTo>
                  <a:lnTo>
                    <a:pt x="434" y="5"/>
                  </a:lnTo>
                  <a:lnTo>
                    <a:pt x="443" y="5"/>
                  </a:lnTo>
                  <a:lnTo>
                    <a:pt x="457" y="5"/>
                  </a:lnTo>
                  <a:lnTo>
                    <a:pt x="466" y="5"/>
                  </a:lnTo>
                  <a:lnTo>
                    <a:pt x="475" y="5"/>
                  </a:lnTo>
                  <a:lnTo>
                    <a:pt x="480" y="5"/>
                  </a:lnTo>
                  <a:lnTo>
                    <a:pt x="489" y="5"/>
                  </a:lnTo>
                  <a:lnTo>
                    <a:pt x="498" y="5"/>
                  </a:lnTo>
                  <a:lnTo>
                    <a:pt x="503" y="5"/>
                  </a:lnTo>
                  <a:lnTo>
                    <a:pt x="507" y="0"/>
                  </a:lnTo>
                  <a:lnTo>
                    <a:pt x="526" y="0"/>
                  </a:lnTo>
                  <a:lnTo>
                    <a:pt x="530" y="0"/>
                  </a:lnTo>
                  <a:lnTo>
                    <a:pt x="544" y="0"/>
                  </a:lnTo>
                  <a:lnTo>
                    <a:pt x="544" y="0"/>
                  </a:lnTo>
                  <a:lnTo>
                    <a:pt x="548" y="0"/>
                  </a:lnTo>
                  <a:lnTo>
                    <a:pt x="558" y="0"/>
                  </a:lnTo>
                  <a:lnTo>
                    <a:pt x="558" y="0"/>
                  </a:lnTo>
                  <a:lnTo>
                    <a:pt x="562" y="0"/>
                  </a:lnTo>
                  <a:lnTo>
                    <a:pt x="567" y="0"/>
                  </a:lnTo>
                  <a:lnTo>
                    <a:pt x="585" y="0"/>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5" name="Freeform 42">
              <a:extLst>
                <a:ext uri="{FF2B5EF4-FFF2-40B4-BE49-F238E27FC236}">
                  <a16:creationId xmlns:a16="http://schemas.microsoft.com/office/drawing/2014/main" id="{B6F632B4-3400-4FAF-919B-F1B5B7E261B6}"/>
                </a:ext>
              </a:extLst>
            </p:cNvPr>
            <p:cNvSpPr>
              <a:spLocks/>
            </p:cNvSpPr>
            <p:nvPr>
              <p:custDataLst>
                <p:tags r:id="rId37"/>
              </p:custDataLst>
            </p:nvPr>
          </p:nvSpPr>
          <p:spPr bwMode="auto">
            <a:xfrm>
              <a:off x="733663" y="1116245"/>
              <a:ext cx="919147" cy="855468"/>
            </a:xfrm>
            <a:custGeom>
              <a:avLst/>
              <a:gdLst/>
              <a:ahLst/>
              <a:cxnLst>
                <a:cxn ang="0">
                  <a:pos x="124" y="526"/>
                </a:cxn>
                <a:cxn ang="0">
                  <a:pos x="87" y="539"/>
                </a:cxn>
                <a:cxn ang="0">
                  <a:pos x="46" y="562"/>
                </a:cxn>
                <a:cxn ang="0">
                  <a:pos x="28" y="576"/>
                </a:cxn>
                <a:cxn ang="0">
                  <a:pos x="14" y="503"/>
                </a:cxn>
                <a:cxn ang="0">
                  <a:pos x="46" y="402"/>
                </a:cxn>
                <a:cxn ang="0">
                  <a:pos x="114" y="361"/>
                </a:cxn>
                <a:cxn ang="0">
                  <a:pos x="220" y="325"/>
                </a:cxn>
                <a:cxn ang="0">
                  <a:pos x="316" y="306"/>
                </a:cxn>
                <a:cxn ang="0">
                  <a:pos x="402" y="283"/>
                </a:cxn>
                <a:cxn ang="0">
                  <a:pos x="421" y="174"/>
                </a:cxn>
                <a:cxn ang="0">
                  <a:pos x="530" y="119"/>
                </a:cxn>
                <a:cxn ang="0">
                  <a:pos x="613" y="73"/>
                </a:cxn>
                <a:cxn ang="0">
                  <a:pos x="887" y="5"/>
                </a:cxn>
                <a:cxn ang="0">
                  <a:pos x="937" y="37"/>
                </a:cxn>
                <a:cxn ang="0">
                  <a:pos x="978" y="82"/>
                </a:cxn>
                <a:cxn ang="0">
                  <a:pos x="978" y="174"/>
                </a:cxn>
                <a:cxn ang="0">
                  <a:pos x="988" y="238"/>
                </a:cxn>
                <a:cxn ang="0">
                  <a:pos x="997" y="283"/>
                </a:cxn>
                <a:cxn ang="0">
                  <a:pos x="1010" y="329"/>
                </a:cxn>
                <a:cxn ang="0">
                  <a:pos x="1020" y="370"/>
                </a:cxn>
                <a:cxn ang="0">
                  <a:pos x="1006" y="398"/>
                </a:cxn>
                <a:cxn ang="0">
                  <a:pos x="1024" y="421"/>
                </a:cxn>
                <a:cxn ang="0">
                  <a:pos x="1052" y="453"/>
                </a:cxn>
                <a:cxn ang="0">
                  <a:pos x="1015" y="466"/>
                </a:cxn>
                <a:cxn ang="0">
                  <a:pos x="988" y="498"/>
                </a:cxn>
                <a:cxn ang="0">
                  <a:pos x="937" y="498"/>
                </a:cxn>
                <a:cxn ang="0">
                  <a:pos x="924" y="517"/>
                </a:cxn>
                <a:cxn ang="0">
                  <a:pos x="914" y="549"/>
                </a:cxn>
                <a:cxn ang="0">
                  <a:pos x="919" y="585"/>
                </a:cxn>
                <a:cxn ang="0">
                  <a:pos x="924" y="622"/>
                </a:cxn>
                <a:cxn ang="0">
                  <a:pos x="924" y="658"/>
                </a:cxn>
                <a:cxn ang="0">
                  <a:pos x="896" y="681"/>
                </a:cxn>
                <a:cxn ang="0">
                  <a:pos x="864" y="718"/>
                </a:cxn>
                <a:cxn ang="0">
                  <a:pos x="855" y="754"/>
                </a:cxn>
                <a:cxn ang="0">
                  <a:pos x="828" y="777"/>
                </a:cxn>
                <a:cxn ang="0">
                  <a:pos x="764" y="786"/>
                </a:cxn>
                <a:cxn ang="0">
                  <a:pos x="704" y="795"/>
                </a:cxn>
                <a:cxn ang="0">
                  <a:pos x="677" y="823"/>
                </a:cxn>
                <a:cxn ang="0">
                  <a:pos x="649" y="846"/>
                </a:cxn>
                <a:cxn ang="0">
                  <a:pos x="631" y="809"/>
                </a:cxn>
                <a:cxn ang="0">
                  <a:pos x="608" y="773"/>
                </a:cxn>
                <a:cxn ang="0">
                  <a:pos x="594" y="722"/>
                </a:cxn>
                <a:cxn ang="0">
                  <a:pos x="581" y="677"/>
                </a:cxn>
                <a:cxn ang="0">
                  <a:pos x="567" y="654"/>
                </a:cxn>
                <a:cxn ang="0">
                  <a:pos x="530" y="635"/>
                </a:cxn>
                <a:cxn ang="0">
                  <a:pos x="544" y="571"/>
                </a:cxn>
                <a:cxn ang="0">
                  <a:pos x="512" y="549"/>
                </a:cxn>
                <a:cxn ang="0">
                  <a:pos x="485" y="549"/>
                </a:cxn>
                <a:cxn ang="0">
                  <a:pos x="453" y="553"/>
                </a:cxn>
                <a:cxn ang="0">
                  <a:pos x="425" y="549"/>
                </a:cxn>
                <a:cxn ang="0">
                  <a:pos x="393" y="558"/>
                </a:cxn>
                <a:cxn ang="0">
                  <a:pos x="375" y="535"/>
                </a:cxn>
                <a:cxn ang="0">
                  <a:pos x="348" y="526"/>
                </a:cxn>
                <a:cxn ang="0">
                  <a:pos x="316" y="512"/>
                </a:cxn>
                <a:cxn ang="0">
                  <a:pos x="284" y="507"/>
                </a:cxn>
                <a:cxn ang="0">
                  <a:pos x="265" y="526"/>
                </a:cxn>
                <a:cxn ang="0">
                  <a:pos x="229" y="535"/>
                </a:cxn>
                <a:cxn ang="0">
                  <a:pos x="188" y="526"/>
                </a:cxn>
                <a:cxn ang="0">
                  <a:pos x="165" y="521"/>
                </a:cxn>
              </a:cxnLst>
              <a:rect l="0" t="0" r="r" b="b"/>
              <a:pathLst>
                <a:path w="1052" h="846">
                  <a:moveTo>
                    <a:pt x="160" y="521"/>
                  </a:moveTo>
                  <a:lnTo>
                    <a:pt x="156" y="521"/>
                  </a:lnTo>
                  <a:lnTo>
                    <a:pt x="156" y="521"/>
                  </a:lnTo>
                  <a:lnTo>
                    <a:pt x="151" y="512"/>
                  </a:lnTo>
                  <a:lnTo>
                    <a:pt x="146" y="512"/>
                  </a:lnTo>
                  <a:lnTo>
                    <a:pt x="137" y="517"/>
                  </a:lnTo>
                  <a:lnTo>
                    <a:pt x="133" y="521"/>
                  </a:lnTo>
                  <a:lnTo>
                    <a:pt x="128" y="521"/>
                  </a:lnTo>
                  <a:lnTo>
                    <a:pt x="124" y="526"/>
                  </a:lnTo>
                  <a:lnTo>
                    <a:pt x="119" y="526"/>
                  </a:lnTo>
                  <a:lnTo>
                    <a:pt x="114" y="526"/>
                  </a:lnTo>
                  <a:lnTo>
                    <a:pt x="110" y="530"/>
                  </a:lnTo>
                  <a:lnTo>
                    <a:pt x="110" y="530"/>
                  </a:lnTo>
                  <a:lnTo>
                    <a:pt x="110" y="535"/>
                  </a:lnTo>
                  <a:lnTo>
                    <a:pt x="105" y="535"/>
                  </a:lnTo>
                  <a:lnTo>
                    <a:pt x="96" y="535"/>
                  </a:lnTo>
                  <a:lnTo>
                    <a:pt x="92" y="535"/>
                  </a:lnTo>
                  <a:lnTo>
                    <a:pt x="87" y="539"/>
                  </a:lnTo>
                  <a:lnTo>
                    <a:pt x="82" y="539"/>
                  </a:lnTo>
                  <a:lnTo>
                    <a:pt x="78" y="544"/>
                  </a:lnTo>
                  <a:lnTo>
                    <a:pt x="73" y="544"/>
                  </a:lnTo>
                  <a:lnTo>
                    <a:pt x="64" y="549"/>
                  </a:lnTo>
                  <a:lnTo>
                    <a:pt x="64" y="549"/>
                  </a:lnTo>
                  <a:lnTo>
                    <a:pt x="60" y="549"/>
                  </a:lnTo>
                  <a:lnTo>
                    <a:pt x="55" y="553"/>
                  </a:lnTo>
                  <a:lnTo>
                    <a:pt x="50" y="558"/>
                  </a:lnTo>
                  <a:lnTo>
                    <a:pt x="46" y="562"/>
                  </a:lnTo>
                  <a:lnTo>
                    <a:pt x="46" y="567"/>
                  </a:lnTo>
                  <a:lnTo>
                    <a:pt x="46" y="567"/>
                  </a:lnTo>
                  <a:lnTo>
                    <a:pt x="46" y="571"/>
                  </a:lnTo>
                  <a:lnTo>
                    <a:pt x="41" y="571"/>
                  </a:lnTo>
                  <a:lnTo>
                    <a:pt x="41" y="576"/>
                  </a:lnTo>
                  <a:lnTo>
                    <a:pt x="37" y="576"/>
                  </a:lnTo>
                  <a:lnTo>
                    <a:pt x="37" y="581"/>
                  </a:lnTo>
                  <a:lnTo>
                    <a:pt x="32" y="576"/>
                  </a:lnTo>
                  <a:lnTo>
                    <a:pt x="28" y="576"/>
                  </a:lnTo>
                  <a:lnTo>
                    <a:pt x="23" y="576"/>
                  </a:lnTo>
                  <a:lnTo>
                    <a:pt x="18" y="571"/>
                  </a:lnTo>
                  <a:lnTo>
                    <a:pt x="5" y="567"/>
                  </a:lnTo>
                  <a:lnTo>
                    <a:pt x="0" y="562"/>
                  </a:lnTo>
                  <a:lnTo>
                    <a:pt x="0" y="549"/>
                  </a:lnTo>
                  <a:lnTo>
                    <a:pt x="0" y="535"/>
                  </a:lnTo>
                  <a:lnTo>
                    <a:pt x="5" y="530"/>
                  </a:lnTo>
                  <a:lnTo>
                    <a:pt x="9" y="521"/>
                  </a:lnTo>
                  <a:lnTo>
                    <a:pt x="14" y="503"/>
                  </a:lnTo>
                  <a:lnTo>
                    <a:pt x="18" y="480"/>
                  </a:lnTo>
                  <a:lnTo>
                    <a:pt x="23" y="457"/>
                  </a:lnTo>
                  <a:lnTo>
                    <a:pt x="28" y="443"/>
                  </a:lnTo>
                  <a:lnTo>
                    <a:pt x="37" y="425"/>
                  </a:lnTo>
                  <a:lnTo>
                    <a:pt x="37" y="407"/>
                  </a:lnTo>
                  <a:lnTo>
                    <a:pt x="37" y="402"/>
                  </a:lnTo>
                  <a:lnTo>
                    <a:pt x="41" y="402"/>
                  </a:lnTo>
                  <a:lnTo>
                    <a:pt x="46" y="402"/>
                  </a:lnTo>
                  <a:lnTo>
                    <a:pt x="46" y="402"/>
                  </a:lnTo>
                  <a:lnTo>
                    <a:pt x="55" y="402"/>
                  </a:lnTo>
                  <a:lnTo>
                    <a:pt x="60" y="398"/>
                  </a:lnTo>
                  <a:lnTo>
                    <a:pt x="64" y="393"/>
                  </a:lnTo>
                  <a:lnTo>
                    <a:pt x="64" y="393"/>
                  </a:lnTo>
                  <a:lnTo>
                    <a:pt x="78" y="393"/>
                  </a:lnTo>
                  <a:lnTo>
                    <a:pt x="87" y="389"/>
                  </a:lnTo>
                  <a:lnTo>
                    <a:pt x="96" y="379"/>
                  </a:lnTo>
                  <a:lnTo>
                    <a:pt x="110" y="370"/>
                  </a:lnTo>
                  <a:lnTo>
                    <a:pt x="114" y="361"/>
                  </a:lnTo>
                  <a:lnTo>
                    <a:pt x="128" y="347"/>
                  </a:lnTo>
                  <a:lnTo>
                    <a:pt x="137" y="343"/>
                  </a:lnTo>
                  <a:lnTo>
                    <a:pt x="151" y="334"/>
                  </a:lnTo>
                  <a:lnTo>
                    <a:pt x="165" y="329"/>
                  </a:lnTo>
                  <a:lnTo>
                    <a:pt x="174" y="329"/>
                  </a:lnTo>
                  <a:lnTo>
                    <a:pt x="188" y="329"/>
                  </a:lnTo>
                  <a:lnTo>
                    <a:pt x="197" y="329"/>
                  </a:lnTo>
                  <a:lnTo>
                    <a:pt x="210" y="325"/>
                  </a:lnTo>
                  <a:lnTo>
                    <a:pt x="220" y="325"/>
                  </a:lnTo>
                  <a:lnTo>
                    <a:pt x="229" y="315"/>
                  </a:lnTo>
                  <a:lnTo>
                    <a:pt x="238" y="311"/>
                  </a:lnTo>
                  <a:lnTo>
                    <a:pt x="242" y="311"/>
                  </a:lnTo>
                  <a:lnTo>
                    <a:pt x="256" y="311"/>
                  </a:lnTo>
                  <a:lnTo>
                    <a:pt x="270" y="311"/>
                  </a:lnTo>
                  <a:lnTo>
                    <a:pt x="284" y="311"/>
                  </a:lnTo>
                  <a:lnTo>
                    <a:pt x="302" y="306"/>
                  </a:lnTo>
                  <a:lnTo>
                    <a:pt x="306" y="306"/>
                  </a:lnTo>
                  <a:lnTo>
                    <a:pt x="316" y="306"/>
                  </a:lnTo>
                  <a:lnTo>
                    <a:pt x="329" y="306"/>
                  </a:lnTo>
                  <a:lnTo>
                    <a:pt x="338" y="306"/>
                  </a:lnTo>
                  <a:lnTo>
                    <a:pt x="357" y="306"/>
                  </a:lnTo>
                  <a:lnTo>
                    <a:pt x="375" y="306"/>
                  </a:lnTo>
                  <a:lnTo>
                    <a:pt x="389" y="306"/>
                  </a:lnTo>
                  <a:lnTo>
                    <a:pt x="393" y="302"/>
                  </a:lnTo>
                  <a:lnTo>
                    <a:pt x="402" y="293"/>
                  </a:lnTo>
                  <a:lnTo>
                    <a:pt x="402" y="288"/>
                  </a:lnTo>
                  <a:lnTo>
                    <a:pt x="402" y="283"/>
                  </a:lnTo>
                  <a:lnTo>
                    <a:pt x="398" y="270"/>
                  </a:lnTo>
                  <a:lnTo>
                    <a:pt x="398" y="247"/>
                  </a:lnTo>
                  <a:lnTo>
                    <a:pt x="393" y="233"/>
                  </a:lnTo>
                  <a:lnTo>
                    <a:pt x="384" y="219"/>
                  </a:lnTo>
                  <a:lnTo>
                    <a:pt x="384" y="210"/>
                  </a:lnTo>
                  <a:lnTo>
                    <a:pt x="389" y="197"/>
                  </a:lnTo>
                  <a:lnTo>
                    <a:pt x="398" y="192"/>
                  </a:lnTo>
                  <a:lnTo>
                    <a:pt x="412" y="183"/>
                  </a:lnTo>
                  <a:lnTo>
                    <a:pt x="421" y="174"/>
                  </a:lnTo>
                  <a:lnTo>
                    <a:pt x="439" y="155"/>
                  </a:lnTo>
                  <a:lnTo>
                    <a:pt x="453" y="151"/>
                  </a:lnTo>
                  <a:lnTo>
                    <a:pt x="466" y="142"/>
                  </a:lnTo>
                  <a:lnTo>
                    <a:pt x="480" y="137"/>
                  </a:lnTo>
                  <a:lnTo>
                    <a:pt x="485" y="137"/>
                  </a:lnTo>
                  <a:lnTo>
                    <a:pt x="489" y="133"/>
                  </a:lnTo>
                  <a:lnTo>
                    <a:pt x="503" y="128"/>
                  </a:lnTo>
                  <a:lnTo>
                    <a:pt x="521" y="119"/>
                  </a:lnTo>
                  <a:lnTo>
                    <a:pt x="530" y="119"/>
                  </a:lnTo>
                  <a:lnTo>
                    <a:pt x="549" y="119"/>
                  </a:lnTo>
                  <a:lnTo>
                    <a:pt x="558" y="110"/>
                  </a:lnTo>
                  <a:lnTo>
                    <a:pt x="572" y="110"/>
                  </a:lnTo>
                  <a:lnTo>
                    <a:pt x="590" y="105"/>
                  </a:lnTo>
                  <a:lnTo>
                    <a:pt x="594" y="105"/>
                  </a:lnTo>
                  <a:lnTo>
                    <a:pt x="599" y="96"/>
                  </a:lnTo>
                  <a:lnTo>
                    <a:pt x="608" y="87"/>
                  </a:lnTo>
                  <a:lnTo>
                    <a:pt x="613" y="87"/>
                  </a:lnTo>
                  <a:lnTo>
                    <a:pt x="613" y="73"/>
                  </a:lnTo>
                  <a:lnTo>
                    <a:pt x="617" y="59"/>
                  </a:lnTo>
                  <a:lnTo>
                    <a:pt x="631" y="41"/>
                  </a:lnTo>
                  <a:lnTo>
                    <a:pt x="636" y="37"/>
                  </a:lnTo>
                  <a:lnTo>
                    <a:pt x="636" y="32"/>
                  </a:lnTo>
                  <a:lnTo>
                    <a:pt x="636" y="32"/>
                  </a:lnTo>
                  <a:lnTo>
                    <a:pt x="658" y="27"/>
                  </a:lnTo>
                  <a:lnTo>
                    <a:pt x="718" y="18"/>
                  </a:lnTo>
                  <a:lnTo>
                    <a:pt x="800" y="14"/>
                  </a:lnTo>
                  <a:lnTo>
                    <a:pt x="887" y="5"/>
                  </a:lnTo>
                  <a:lnTo>
                    <a:pt x="896" y="0"/>
                  </a:lnTo>
                  <a:lnTo>
                    <a:pt x="896" y="0"/>
                  </a:lnTo>
                  <a:lnTo>
                    <a:pt x="914" y="18"/>
                  </a:lnTo>
                  <a:lnTo>
                    <a:pt x="914" y="18"/>
                  </a:lnTo>
                  <a:lnTo>
                    <a:pt x="919" y="23"/>
                  </a:lnTo>
                  <a:lnTo>
                    <a:pt x="924" y="32"/>
                  </a:lnTo>
                  <a:lnTo>
                    <a:pt x="928" y="37"/>
                  </a:lnTo>
                  <a:lnTo>
                    <a:pt x="928" y="37"/>
                  </a:lnTo>
                  <a:lnTo>
                    <a:pt x="937" y="37"/>
                  </a:lnTo>
                  <a:lnTo>
                    <a:pt x="956" y="37"/>
                  </a:lnTo>
                  <a:lnTo>
                    <a:pt x="960" y="37"/>
                  </a:lnTo>
                  <a:lnTo>
                    <a:pt x="969" y="32"/>
                  </a:lnTo>
                  <a:lnTo>
                    <a:pt x="974" y="32"/>
                  </a:lnTo>
                  <a:lnTo>
                    <a:pt x="978" y="32"/>
                  </a:lnTo>
                  <a:lnTo>
                    <a:pt x="983" y="32"/>
                  </a:lnTo>
                  <a:lnTo>
                    <a:pt x="978" y="50"/>
                  </a:lnTo>
                  <a:lnTo>
                    <a:pt x="978" y="69"/>
                  </a:lnTo>
                  <a:lnTo>
                    <a:pt x="978" y="82"/>
                  </a:lnTo>
                  <a:lnTo>
                    <a:pt x="978" y="91"/>
                  </a:lnTo>
                  <a:lnTo>
                    <a:pt x="978" y="101"/>
                  </a:lnTo>
                  <a:lnTo>
                    <a:pt x="974" y="110"/>
                  </a:lnTo>
                  <a:lnTo>
                    <a:pt x="974" y="119"/>
                  </a:lnTo>
                  <a:lnTo>
                    <a:pt x="974" y="151"/>
                  </a:lnTo>
                  <a:lnTo>
                    <a:pt x="974" y="151"/>
                  </a:lnTo>
                  <a:lnTo>
                    <a:pt x="974" y="155"/>
                  </a:lnTo>
                  <a:lnTo>
                    <a:pt x="978" y="165"/>
                  </a:lnTo>
                  <a:lnTo>
                    <a:pt x="978" y="174"/>
                  </a:lnTo>
                  <a:lnTo>
                    <a:pt x="978" y="174"/>
                  </a:lnTo>
                  <a:lnTo>
                    <a:pt x="978" y="183"/>
                  </a:lnTo>
                  <a:lnTo>
                    <a:pt x="983" y="187"/>
                  </a:lnTo>
                  <a:lnTo>
                    <a:pt x="983" y="210"/>
                  </a:lnTo>
                  <a:lnTo>
                    <a:pt x="983" y="215"/>
                  </a:lnTo>
                  <a:lnTo>
                    <a:pt x="983" y="219"/>
                  </a:lnTo>
                  <a:lnTo>
                    <a:pt x="988" y="224"/>
                  </a:lnTo>
                  <a:lnTo>
                    <a:pt x="988" y="229"/>
                  </a:lnTo>
                  <a:lnTo>
                    <a:pt x="988" y="238"/>
                  </a:lnTo>
                  <a:lnTo>
                    <a:pt x="988" y="251"/>
                  </a:lnTo>
                  <a:lnTo>
                    <a:pt x="988" y="261"/>
                  </a:lnTo>
                  <a:lnTo>
                    <a:pt x="988" y="261"/>
                  </a:lnTo>
                  <a:lnTo>
                    <a:pt x="988" y="265"/>
                  </a:lnTo>
                  <a:lnTo>
                    <a:pt x="992" y="265"/>
                  </a:lnTo>
                  <a:lnTo>
                    <a:pt x="992" y="270"/>
                  </a:lnTo>
                  <a:lnTo>
                    <a:pt x="992" y="274"/>
                  </a:lnTo>
                  <a:lnTo>
                    <a:pt x="992" y="279"/>
                  </a:lnTo>
                  <a:lnTo>
                    <a:pt x="997" y="283"/>
                  </a:lnTo>
                  <a:lnTo>
                    <a:pt x="997" y="288"/>
                  </a:lnTo>
                  <a:lnTo>
                    <a:pt x="1001" y="288"/>
                  </a:lnTo>
                  <a:lnTo>
                    <a:pt x="1001" y="293"/>
                  </a:lnTo>
                  <a:lnTo>
                    <a:pt x="1001" y="297"/>
                  </a:lnTo>
                  <a:lnTo>
                    <a:pt x="1006" y="306"/>
                  </a:lnTo>
                  <a:lnTo>
                    <a:pt x="1006" y="315"/>
                  </a:lnTo>
                  <a:lnTo>
                    <a:pt x="1010" y="320"/>
                  </a:lnTo>
                  <a:lnTo>
                    <a:pt x="1010" y="325"/>
                  </a:lnTo>
                  <a:lnTo>
                    <a:pt x="1010" y="329"/>
                  </a:lnTo>
                  <a:lnTo>
                    <a:pt x="1010" y="329"/>
                  </a:lnTo>
                  <a:lnTo>
                    <a:pt x="1010" y="334"/>
                  </a:lnTo>
                  <a:lnTo>
                    <a:pt x="1015" y="338"/>
                  </a:lnTo>
                  <a:lnTo>
                    <a:pt x="1015" y="347"/>
                  </a:lnTo>
                  <a:lnTo>
                    <a:pt x="1020" y="347"/>
                  </a:lnTo>
                  <a:lnTo>
                    <a:pt x="1020" y="357"/>
                  </a:lnTo>
                  <a:lnTo>
                    <a:pt x="1020" y="361"/>
                  </a:lnTo>
                  <a:lnTo>
                    <a:pt x="1020" y="370"/>
                  </a:lnTo>
                  <a:lnTo>
                    <a:pt x="1020" y="370"/>
                  </a:lnTo>
                  <a:lnTo>
                    <a:pt x="1015" y="375"/>
                  </a:lnTo>
                  <a:lnTo>
                    <a:pt x="1015" y="379"/>
                  </a:lnTo>
                  <a:lnTo>
                    <a:pt x="1015" y="384"/>
                  </a:lnTo>
                  <a:lnTo>
                    <a:pt x="1010" y="384"/>
                  </a:lnTo>
                  <a:lnTo>
                    <a:pt x="1010" y="389"/>
                  </a:lnTo>
                  <a:lnTo>
                    <a:pt x="1010" y="389"/>
                  </a:lnTo>
                  <a:lnTo>
                    <a:pt x="1010" y="393"/>
                  </a:lnTo>
                  <a:lnTo>
                    <a:pt x="1006" y="393"/>
                  </a:lnTo>
                  <a:lnTo>
                    <a:pt x="1006" y="398"/>
                  </a:lnTo>
                  <a:lnTo>
                    <a:pt x="1001" y="402"/>
                  </a:lnTo>
                  <a:lnTo>
                    <a:pt x="1001" y="407"/>
                  </a:lnTo>
                  <a:lnTo>
                    <a:pt x="1006" y="411"/>
                  </a:lnTo>
                  <a:lnTo>
                    <a:pt x="1010" y="411"/>
                  </a:lnTo>
                  <a:lnTo>
                    <a:pt x="1010" y="416"/>
                  </a:lnTo>
                  <a:lnTo>
                    <a:pt x="1010" y="416"/>
                  </a:lnTo>
                  <a:lnTo>
                    <a:pt x="1020" y="416"/>
                  </a:lnTo>
                  <a:lnTo>
                    <a:pt x="1024" y="416"/>
                  </a:lnTo>
                  <a:lnTo>
                    <a:pt x="1024" y="421"/>
                  </a:lnTo>
                  <a:lnTo>
                    <a:pt x="1029" y="421"/>
                  </a:lnTo>
                  <a:lnTo>
                    <a:pt x="1029" y="425"/>
                  </a:lnTo>
                  <a:lnTo>
                    <a:pt x="1033" y="425"/>
                  </a:lnTo>
                  <a:lnTo>
                    <a:pt x="1038" y="434"/>
                  </a:lnTo>
                  <a:lnTo>
                    <a:pt x="1042" y="439"/>
                  </a:lnTo>
                  <a:lnTo>
                    <a:pt x="1047" y="439"/>
                  </a:lnTo>
                  <a:lnTo>
                    <a:pt x="1052" y="443"/>
                  </a:lnTo>
                  <a:lnTo>
                    <a:pt x="1052" y="448"/>
                  </a:lnTo>
                  <a:lnTo>
                    <a:pt x="1052" y="453"/>
                  </a:lnTo>
                  <a:lnTo>
                    <a:pt x="1047" y="457"/>
                  </a:lnTo>
                  <a:lnTo>
                    <a:pt x="1042" y="457"/>
                  </a:lnTo>
                  <a:lnTo>
                    <a:pt x="1038" y="457"/>
                  </a:lnTo>
                  <a:lnTo>
                    <a:pt x="1038" y="462"/>
                  </a:lnTo>
                  <a:lnTo>
                    <a:pt x="1033" y="457"/>
                  </a:lnTo>
                  <a:lnTo>
                    <a:pt x="1029" y="457"/>
                  </a:lnTo>
                  <a:lnTo>
                    <a:pt x="1020" y="457"/>
                  </a:lnTo>
                  <a:lnTo>
                    <a:pt x="1015" y="462"/>
                  </a:lnTo>
                  <a:lnTo>
                    <a:pt x="1015" y="466"/>
                  </a:lnTo>
                  <a:lnTo>
                    <a:pt x="1010" y="471"/>
                  </a:lnTo>
                  <a:lnTo>
                    <a:pt x="1010" y="475"/>
                  </a:lnTo>
                  <a:lnTo>
                    <a:pt x="1010" y="480"/>
                  </a:lnTo>
                  <a:lnTo>
                    <a:pt x="1010" y="480"/>
                  </a:lnTo>
                  <a:lnTo>
                    <a:pt x="1006" y="480"/>
                  </a:lnTo>
                  <a:lnTo>
                    <a:pt x="1001" y="485"/>
                  </a:lnTo>
                  <a:lnTo>
                    <a:pt x="992" y="494"/>
                  </a:lnTo>
                  <a:lnTo>
                    <a:pt x="988" y="498"/>
                  </a:lnTo>
                  <a:lnTo>
                    <a:pt x="988" y="498"/>
                  </a:lnTo>
                  <a:lnTo>
                    <a:pt x="988" y="503"/>
                  </a:lnTo>
                  <a:lnTo>
                    <a:pt x="983" y="503"/>
                  </a:lnTo>
                  <a:lnTo>
                    <a:pt x="978" y="503"/>
                  </a:lnTo>
                  <a:lnTo>
                    <a:pt x="974" y="503"/>
                  </a:lnTo>
                  <a:lnTo>
                    <a:pt x="965" y="494"/>
                  </a:lnTo>
                  <a:lnTo>
                    <a:pt x="960" y="494"/>
                  </a:lnTo>
                  <a:lnTo>
                    <a:pt x="951" y="494"/>
                  </a:lnTo>
                  <a:lnTo>
                    <a:pt x="946" y="494"/>
                  </a:lnTo>
                  <a:lnTo>
                    <a:pt x="937" y="498"/>
                  </a:lnTo>
                  <a:lnTo>
                    <a:pt x="933" y="498"/>
                  </a:lnTo>
                  <a:lnTo>
                    <a:pt x="933" y="503"/>
                  </a:lnTo>
                  <a:lnTo>
                    <a:pt x="928" y="503"/>
                  </a:lnTo>
                  <a:lnTo>
                    <a:pt x="928" y="503"/>
                  </a:lnTo>
                  <a:lnTo>
                    <a:pt x="924" y="503"/>
                  </a:lnTo>
                  <a:lnTo>
                    <a:pt x="924" y="507"/>
                  </a:lnTo>
                  <a:lnTo>
                    <a:pt x="924" y="512"/>
                  </a:lnTo>
                  <a:lnTo>
                    <a:pt x="924" y="512"/>
                  </a:lnTo>
                  <a:lnTo>
                    <a:pt x="924" y="517"/>
                  </a:lnTo>
                  <a:lnTo>
                    <a:pt x="924" y="526"/>
                  </a:lnTo>
                  <a:lnTo>
                    <a:pt x="924" y="526"/>
                  </a:lnTo>
                  <a:lnTo>
                    <a:pt x="919" y="526"/>
                  </a:lnTo>
                  <a:lnTo>
                    <a:pt x="919" y="530"/>
                  </a:lnTo>
                  <a:lnTo>
                    <a:pt x="919" y="535"/>
                  </a:lnTo>
                  <a:lnTo>
                    <a:pt x="919" y="539"/>
                  </a:lnTo>
                  <a:lnTo>
                    <a:pt x="919" y="544"/>
                  </a:lnTo>
                  <a:lnTo>
                    <a:pt x="914" y="549"/>
                  </a:lnTo>
                  <a:lnTo>
                    <a:pt x="914" y="549"/>
                  </a:lnTo>
                  <a:lnTo>
                    <a:pt x="914" y="553"/>
                  </a:lnTo>
                  <a:lnTo>
                    <a:pt x="910" y="558"/>
                  </a:lnTo>
                  <a:lnTo>
                    <a:pt x="910" y="562"/>
                  </a:lnTo>
                  <a:lnTo>
                    <a:pt x="910" y="567"/>
                  </a:lnTo>
                  <a:lnTo>
                    <a:pt x="910" y="567"/>
                  </a:lnTo>
                  <a:lnTo>
                    <a:pt x="910" y="571"/>
                  </a:lnTo>
                  <a:lnTo>
                    <a:pt x="914" y="576"/>
                  </a:lnTo>
                  <a:lnTo>
                    <a:pt x="914" y="581"/>
                  </a:lnTo>
                  <a:lnTo>
                    <a:pt x="919" y="585"/>
                  </a:lnTo>
                  <a:lnTo>
                    <a:pt x="919" y="590"/>
                  </a:lnTo>
                  <a:lnTo>
                    <a:pt x="924" y="590"/>
                  </a:lnTo>
                  <a:lnTo>
                    <a:pt x="924" y="594"/>
                  </a:lnTo>
                  <a:lnTo>
                    <a:pt x="924" y="594"/>
                  </a:lnTo>
                  <a:lnTo>
                    <a:pt x="928" y="603"/>
                  </a:lnTo>
                  <a:lnTo>
                    <a:pt x="928" y="613"/>
                  </a:lnTo>
                  <a:lnTo>
                    <a:pt x="928" y="613"/>
                  </a:lnTo>
                  <a:lnTo>
                    <a:pt x="924" y="617"/>
                  </a:lnTo>
                  <a:lnTo>
                    <a:pt x="924" y="622"/>
                  </a:lnTo>
                  <a:lnTo>
                    <a:pt x="924" y="626"/>
                  </a:lnTo>
                  <a:lnTo>
                    <a:pt x="924" y="626"/>
                  </a:lnTo>
                  <a:lnTo>
                    <a:pt x="924" y="631"/>
                  </a:lnTo>
                  <a:lnTo>
                    <a:pt x="924" y="635"/>
                  </a:lnTo>
                  <a:lnTo>
                    <a:pt x="919" y="635"/>
                  </a:lnTo>
                  <a:lnTo>
                    <a:pt x="919" y="640"/>
                  </a:lnTo>
                  <a:lnTo>
                    <a:pt x="919" y="649"/>
                  </a:lnTo>
                  <a:lnTo>
                    <a:pt x="919" y="654"/>
                  </a:lnTo>
                  <a:lnTo>
                    <a:pt x="924" y="658"/>
                  </a:lnTo>
                  <a:lnTo>
                    <a:pt x="924" y="658"/>
                  </a:lnTo>
                  <a:lnTo>
                    <a:pt x="919" y="663"/>
                  </a:lnTo>
                  <a:lnTo>
                    <a:pt x="914" y="667"/>
                  </a:lnTo>
                  <a:lnTo>
                    <a:pt x="910" y="667"/>
                  </a:lnTo>
                  <a:lnTo>
                    <a:pt x="905" y="677"/>
                  </a:lnTo>
                  <a:lnTo>
                    <a:pt x="901" y="677"/>
                  </a:lnTo>
                  <a:lnTo>
                    <a:pt x="901" y="677"/>
                  </a:lnTo>
                  <a:lnTo>
                    <a:pt x="901" y="681"/>
                  </a:lnTo>
                  <a:lnTo>
                    <a:pt x="896" y="681"/>
                  </a:lnTo>
                  <a:lnTo>
                    <a:pt x="896" y="686"/>
                  </a:lnTo>
                  <a:lnTo>
                    <a:pt x="892" y="686"/>
                  </a:lnTo>
                  <a:lnTo>
                    <a:pt x="887" y="690"/>
                  </a:lnTo>
                  <a:lnTo>
                    <a:pt x="882" y="690"/>
                  </a:lnTo>
                  <a:lnTo>
                    <a:pt x="878" y="695"/>
                  </a:lnTo>
                  <a:lnTo>
                    <a:pt x="878" y="695"/>
                  </a:lnTo>
                  <a:lnTo>
                    <a:pt x="873" y="699"/>
                  </a:lnTo>
                  <a:lnTo>
                    <a:pt x="869" y="704"/>
                  </a:lnTo>
                  <a:lnTo>
                    <a:pt x="864" y="718"/>
                  </a:lnTo>
                  <a:lnTo>
                    <a:pt x="864" y="722"/>
                  </a:lnTo>
                  <a:lnTo>
                    <a:pt x="864" y="727"/>
                  </a:lnTo>
                  <a:lnTo>
                    <a:pt x="864" y="731"/>
                  </a:lnTo>
                  <a:lnTo>
                    <a:pt x="864" y="736"/>
                  </a:lnTo>
                  <a:lnTo>
                    <a:pt x="860" y="736"/>
                  </a:lnTo>
                  <a:lnTo>
                    <a:pt x="860" y="741"/>
                  </a:lnTo>
                  <a:lnTo>
                    <a:pt x="855" y="745"/>
                  </a:lnTo>
                  <a:lnTo>
                    <a:pt x="855" y="754"/>
                  </a:lnTo>
                  <a:lnTo>
                    <a:pt x="855" y="754"/>
                  </a:lnTo>
                  <a:lnTo>
                    <a:pt x="855" y="759"/>
                  </a:lnTo>
                  <a:lnTo>
                    <a:pt x="850" y="763"/>
                  </a:lnTo>
                  <a:lnTo>
                    <a:pt x="846" y="768"/>
                  </a:lnTo>
                  <a:lnTo>
                    <a:pt x="841" y="768"/>
                  </a:lnTo>
                  <a:lnTo>
                    <a:pt x="837" y="768"/>
                  </a:lnTo>
                  <a:lnTo>
                    <a:pt x="832" y="773"/>
                  </a:lnTo>
                  <a:lnTo>
                    <a:pt x="832" y="773"/>
                  </a:lnTo>
                  <a:lnTo>
                    <a:pt x="832" y="777"/>
                  </a:lnTo>
                  <a:lnTo>
                    <a:pt x="828" y="777"/>
                  </a:lnTo>
                  <a:lnTo>
                    <a:pt x="818" y="782"/>
                  </a:lnTo>
                  <a:lnTo>
                    <a:pt x="814" y="786"/>
                  </a:lnTo>
                  <a:lnTo>
                    <a:pt x="809" y="786"/>
                  </a:lnTo>
                  <a:lnTo>
                    <a:pt x="791" y="786"/>
                  </a:lnTo>
                  <a:lnTo>
                    <a:pt x="786" y="786"/>
                  </a:lnTo>
                  <a:lnTo>
                    <a:pt x="777" y="786"/>
                  </a:lnTo>
                  <a:lnTo>
                    <a:pt x="773" y="786"/>
                  </a:lnTo>
                  <a:lnTo>
                    <a:pt x="768" y="786"/>
                  </a:lnTo>
                  <a:lnTo>
                    <a:pt x="764" y="786"/>
                  </a:lnTo>
                  <a:lnTo>
                    <a:pt x="754" y="786"/>
                  </a:lnTo>
                  <a:lnTo>
                    <a:pt x="745" y="786"/>
                  </a:lnTo>
                  <a:lnTo>
                    <a:pt x="745" y="786"/>
                  </a:lnTo>
                  <a:lnTo>
                    <a:pt x="736" y="782"/>
                  </a:lnTo>
                  <a:lnTo>
                    <a:pt x="727" y="782"/>
                  </a:lnTo>
                  <a:lnTo>
                    <a:pt x="727" y="786"/>
                  </a:lnTo>
                  <a:lnTo>
                    <a:pt x="722" y="786"/>
                  </a:lnTo>
                  <a:lnTo>
                    <a:pt x="718" y="786"/>
                  </a:lnTo>
                  <a:lnTo>
                    <a:pt x="704" y="795"/>
                  </a:lnTo>
                  <a:lnTo>
                    <a:pt x="704" y="795"/>
                  </a:lnTo>
                  <a:lnTo>
                    <a:pt x="700" y="800"/>
                  </a:lnTo>
                  <a:lnTo>
                    <a:pt x="695" y="805"/>
                  </a:lnTo>
                  <a:lnTo>
                    <a:pt x="695" y="809"/>
                  </a:lnTo>
                  <a:lnTo>
                    <a:pt x="690" y="809"/>
                  </a:lnTo>
                  <a:lnTo>
                    <a:pt x="681" y="814"/>
                  </a:lnTo>
                  <a:lnTo>
                    <a:pt x="681" y="814"/>
                  </a:lnTo>
                  <a:lnTo>
                    <a:pt x="681" y="818"/>
                  </a:lnTo>
                  <a:lnTo>
                    <a:pt x="677" y="823"/>
                  </a:lnTo>
                  <a:lnTo>
                    <a:pt x="677" y="832"/>
                  </a:lnTo>
                  <a:lnTo>
                    <a:pt x="672" y="832"/>
                  </a:lnTo>
                  <a:lnTo>
                    <a:pt x="672" y="837"/>
                  </a:lnTo>
                  <a:lnTo>
                    <a:pt x="672" y="841"/>
                  </a:lnTo>
                  <a:lnTo>
                    <a:pt x="668" y="841"/>
                  </a:lnTo>
                  <a:lnTo>
                    <a:pt x="668" y="846"/>
                  </a:lnTo>
                  <a:lnTo>
                    <a:pt x="663" y="846"/>
                  </a:lnTo>
                  <a:lnTo>
                    <a:pt x="658" y="846"/>
                  </a:lnTo>
                  <a:lnTo>
                    <a:pt x="649" y="846"/>
                  </a:lnTo>
                  <a:lnTo>
                    <a:pt x="645" y="837"/>
                  </a:lnTo>
                  <a:lnTo>
                    <a:pt x="645" y="832"/>
                  </a:lnTo>
                  <a:lnTo>
                    <a:pt x="645" y="832"/>
                  </a:lnTo>
                  <a:lnTo>
                    <a:pt x="640" y="827"/>
                  </a:lnTo>
                  <a:lnTo>
                    <a:pt x="640" y="818"/>
                  </a:lnTo>
                  <a:lnTo>
                    <a:pt x="636" y="818"/>
                  </a:lnTo>
                  <a:lnTo>
                    <a:pt x="636" y="814"/>
                  </a:lnTo>
                  <a:lnTo>
                    <a:pt x="636" y="809"/>
                  </a:lnTo>
                  <a:lnTo>
                    <a:pt x="631" y="809"/>
                  </a:lnTo>
                  <a:lnTo>
                    <a:pt x="626" y="800"/>
                  </a:lnTo>
                  <a:lnTo>
                    <a:pt x="622" y="800"/>
                  </a:lnTo>
                  <a:lnTo>
                    <a:pt x="622" y="795"/>
                  </a:lnTo>
                  <a:lnTo>
                    <a:pt x="617" y="791"/>
                  </a:lnTo>
                  <a:lnTo>
                    <a:pt x="617" y="786"/>
                  </a:lnTo>
                  <a:lnTo>
                    <a:pt x="613" y="786"/>
                  </a:lnTo>
                  <a:lnTo>
                    <a:pt x="613" y="782"/>
                  </a:lnTo>
                  <a:lnTo>
                    <a:pt x="613" y="777"/>
                  </a:lnTo>
                  <a:lnTo>
                    <a:pt x="608" y="773"/>
                  </a:lnTo>
                  <a:lnTo>
                    <a:pt x="599" y="763"/>
                  </a:lnTo>
                  <a:lnTo>
                    <a:pt x="599" y="759"/>
                  </a:lnTo>
                  <a:lnTo>
                    <a:pt x="594" y="759"/>
                  </a:lnTo>
                  <a:lnTo>
                    <a:pt x="594" y="754"/>
                  </a:lnTo>
                  <a:lnTo>
                    <a:pt x="594" y="745"/>
                  </a:lnTo>
                  <a:lnTo>
                    <a:pt x="590" y="741"/>
                  </a:lnTo>
                  <a:lnTo>
                    <a:pt x="590" y="736"/>
                  </a:lnTo>
                  <a:lnTo>
                    <a:pt x="590" y="731"/>
                  </a:lnTo>
                  <a:lnTo>
                    <a:pt x="594" y="722"/>
                  </a:lnTo>
                  <a:lnTo>
                    <a:pt x="594" y="718"/>
                  </a:lnTo>
                  <a:lnTo>
                    <a:pt x="594" y="709"/>
                  </a:lnTo>
                  <a:lnTo>
                    <a:pt x="594" y="704"/>
                  </a:lnTo>
                  <a:lnTo>
                    <a:pt x="594" y="699"/>
                  </a:lnTo>
                  <a:lnTo>
                    <a:pt x="590" y="690"/>
                  </a:lnTo>
                  <a:lnTo>
                    <a:pt x="590" y="686"/>
                  </a:lnTo>
                  <a:lnTo>
                    <a:pt x="585" y="681"/>
                  </a:lnTo>
                  <a:lnTo>
                    <a:pt x="585" y="677"/>
                  </a:lnTo>
                  <a:lnTo>
                    <a:pt x="581" y="677"/>
                  </a:lnTo>
                  <a:lnTo>
                    <a:pt x="581" y="672"/>
                  </a:lnTo>
                  <a:lnTo>
                    <a:pt x="581" y="667"/>
                  </a:lnTo>
                  <a:lnTo>
                    <a:pt x="576" y="663"/>
                  </a:lnTo>
                  <a:lnTo>
                    <a:pt x="576" y="663"/>
                  </a:lnTo>
                  <a:lnTo>
                    <a:pt x="576" y="658"/>
                  </a:lnTo>
                  <a:lnTo>
                    <a:pt x="572" y="658"/>
                  </a:lnTo>
                  <a:lnTo>
                    <a:pt x="572" y="658"/>
                  </a:lnTo>
                  <a:lnTo>
                    <a:pt x="572" y="658"/>
                  </a:lnTo>
                  <a:lnTo>
                    <a:pt x="567" y="654"/>
                  </a:lnTo>
                  <a:lnTo>
                    <a:pt x="558" y="649"/>
                  </a:lnTo>
                  <a:lnTo>
                    <a:pt x="553" y="649"/>
                  </a:lnTo>
                  <a:lnTo>
                    <a:pt x="549" y="649"/>
                  </a:lnTo>
                  <a:lnTo>
                    <a:pt x="549" y="645"/>
                  </a:lnTo>
                  <a:lnTo>
                    <a:pt x="544" y="645"/>
                  </a:lnTo>
                  <a:lnTo>
                    <a:pt x="540" y="640"/>
                  </a:lnTo>
                  <a:lnTo>
                    <a:pt x="535" y="640"/>
                  </a:lnTo>
                  <a:lnTo>
                    <a:pt x="535" y="635"/>
                  </a:lnTo>
                  <a:lnTo>
                    <a:pt x="530" y="635"/>
                  </a:lnTo>
                  <a:lnTo>
                    <a:pt x="530" y="635"/>
                  </a:lnTo>
                  <a:lnTo>
                    <a:pt x="535" y="635"/>
                  </a:lnTo>
                  <a:lnTo>
                    <a:pt x="535" y="631"/>
                  </a:lnTo>
                  <a:lnTo>
                    <a:pt x="535" y="626"/>
                  </a:lnTo>
                  <a:lnTo>
                    <a:pt x="544" y="617"/>
                  </a:lnTo>
                  <a:lnTo>
                    <a:pt x="544" y="613"/>
                  </a:lnTo>
                  <a:lnTo>
                    <a:pt x="549" y="603"/>
                  </a:lnTo>
                  <a:lnTo>
                    <a:pt x="549" y="594"/>
                  </a:lnTo>
                  <a:lnTo>
                    <a:pt x="544" y="571"/>
                  </a:lnTo>
                  <a:lnTo>
                    <a:pt x="540" y="567"/>
                  </a:lnTo>
                  <a:lnTo>
                    <a:pt x="535" y="567"/>
                  </a:lnTo>
                  <a:lnTo>
                    <a:pt x="530" y="562"/>
                  </a:lnTo>
                  <a:lnTo>
                    <a:pt x="530" y="558"/>
                  </a:lnTo>
                  <a:lnTo>
                    <a:pt x="526" y="558"/>
                  </a:lnTo>
                  <a:lnTo>
                    <a:pt x="526" y="553"/>
                  </a:lnTo>
                  <a:lnTo>
                    <a:pt x="521" y="553"/>
                  </a:lnTo>
                  <a:lnTo>
                    <a:pt x="517" y="549"/>
                  </a:lnTo>
                  <a:lnTo>
                    <a:pt x="512" y="549"/>
                  </a:lnTo>
                  <a:lnTo>
                    <a:pt x="508" y="549"/>
                  </a:lnTo>
                  <a:lnTo>
                    <a:pt x="503" y="549"/>
                  </a:lnTo>
                  <a:lnTo>
                    <a:pt x="503" y="549"/>
                  </a:lnTo>
                  <a:lnTo>
                    <a:pt x="498" y="549"/>
                  </a:lnTo>
                  <a:lnTo>
                    <a:pt x="494" y="549"/>
                  </a:lnTo>
                  <a:lnTo>
                    <a:pt x="489" y="544"/>
                  </a:lnTo>
                  <a:lnTo>
                    <a:pt x="485" y="544"/>
                  </a:lnTo>
                  <a:lnTo>
                    <a:pt x="485" y="544"/>
                  </a:lnTo>
                  <a:lnTo>
                    <a:pt x="485" y="549"/>
                  </a:lnTo>
                  <a:lnTo>
                    <a:pt x="480" y="549"/>
                  </a:lnTo>
                  <a:lnTo>
                    <a:pt x="476" y="549"/>
                  </a:lnTo>
                  <a:lnTo>
                    <a:pt x="476" y="553"/>
                  </a:lnTo>
                  <a:lnTo>
                    <a:pt x="471" y="553"/>
                  </a:lnTo>
                  <a:lnTo>
                    <a:pt x="466" y="553"/>
                  </a:lnTo>
                  <a:lnTo>
                    <a:pt x="462" y="549"/>
                  </a:lnTo>
                  <a:lnTo>
                    <a:pt x="462" y="553"/>
                  </a:lnTo>
                  <a:lnTo>
                    <a:pt x="457" y="553"/>
                  </a:lnTo>
                  <a:lnTo>
                    <a:pt x="453" y="553"/>
                  </a:lnTo>
                  <a:lnTo>
                    <a:pt x="448" y="553"/>
                  </a:lnTo>
                  <a:lnTo>
                    <a:pt x="444" y="549"/>
                  </a:lnTo>
                  <a:lnTo>
                    <a:pt x="439" y="549"/>
                  </a:lnTo>
                  <a:lnTo>
                    <a:pt x="439" y="549"/>
                  </a:lnTo>
                  <a:lnTo>
                    <a:pt x="439" y="553"/>
                  </a:lnTo>
                  <a:lnTo>
                    <a:pt x="434" y="553"/>
                  </a:lnTo>
                  <a:lnTo>
                    <a:pt x="434" y="549"/>
                  </a:lnTo>
                  <a:lnTo>
                    <a:pt x="430" y="549"/>
                  </a:lnTo>
                  <a:lnTo>
                    <a:pt x="425" y="549"/>
                  </a:lnTo>
                  <a:lnTo>
                    <a:pt x="421" y="553"/>
                  </a:lnTo>
                  <a:lnTo>
                    <a:pt x="416" y="553"/>
                  </a:lnTo>
                  <a:lnTo>
                    <a:pt x="412" y="553"/>
                  </a:lnTo>
                  <a:lnTo>
                    <a:pt x="412" y="558"/>
                  </a:lnTo>
                  <a:lnTo>
                    <a:pt x="407" y="558"/>
                  </a:lnTo>
                  <a:lnTo>
                    <a:pt x="402" y="562"/>
                  </a:lnTo>
                  <a:lnTo>
                    <a:pt x="398" y="562"/>
                  </a:lnTo>
                  <a:lnTo>
                    <a:pt x="398" y="558"/>
                  </a:lnTo>
                  <a:lnTo>
                    <a:pt x="393" y="558"/>
                  </a:lnTo>
                  <a:lnTo>
                    <a:pt x="393" y="553"/>
                  </a:lnTo>
                  <a:lnTo>
                    <a:pt x="393" y="553"/>
                  </a:lnTo>
                  <a:lnTo>
                    <a:pt x="393" y="549"/>
                  </a:lnTo>
                  <a:lnTo>
                    <a:pt x="389" y="549"/>
                  </a:lnTo>
                  <a:lnTo>
                    <a:pt x="384" y="544"/>
                  </a:lnTo>
                  <a:lnTo>
                    <a:pt x="380" y="544"/>
                  </a:lnTo>
                  <a:lnTo>
                    <a:pt x="380" y="539"/>
                  </a:lnTo>
                  <a:lnTo>
                    <a:pt x="375" y="539"/>
                  </a:lnTo>
                  <a:lnTo>
                    <a:pt x="375" y="535"/>
                  </a:lnTo>
                  <a:lnTo>
                    <a:pt x="370" y="535"/>
                  </a:lnTo>
                  <a:lnTo>
                    <a:pt x="366" y="535"/>
                  </a:lnTo>
                  <a:lnTo>
                    <a:pt x="361" y="535"/>
                  </a:lnTo>
                  <a:lnTo>
                    <a:pt x="357" y="539"/>
                  </a:lnTo>
                  <a:lnTo>
                    <a:pt x="357" y="544"/>
                  </a:lnTo>
                  <a:lnTo>
                    <a:pt x="352" y="539"/>
                  </a:lnTo>
                  <a:lnTo>
                    <a:pt x="352" y="535"/>
                  </a:lnTo>
                  <a:lnTo>
                    <a:pt x="348" y="530"/>
                  </a:lnTo>
                  <a:lnTo>
                    <a:pt x="348" y="526"/>
                  </a:lnTo>
                  <a:lnTo>
                    <a:pt x="348" y="526"/>
                  </a:lnTo>
                  <a:lnTo>
                    <a:pt x="343" y="521"/>
                  </a:lnTo>
                  <a:lnTo>
                    <a:pt x="338" y="512"/>
                  </a:lnTo>
                  <a:lnTo>
                    <a:pt x="334" y="512"/>
                  </a:lnTo>
                  <a:lnTo>
                    <a:pt x="334" y="507"/>
                  </a:lnTo>
                  <a:lnTo>
                    <a:pt x="329" y="507"/>
                  </a:lnTo>
                  <a:lnTo>
                    <a:pt x="329" y="507"/>
                  </a:lnTo>
                  <a:lnTo>
                    <a:pt x="320" y="507"/>
                  </a:lnTo>
                  <a:lnTo>
                    <a:pt x="316" y="512"/>
                  </a:lnTo>
                  <a:lnTo>
                    <a:pt x="311" y="512"/>
                  </a:lnTo>
                  <a:lnTo>
                    <a:pt x="306" y="517"/>
                  </a:lnTo>
                  <a:lnTo>
                    <a:pt x="306" y="517"/>
                  </a:lnTo>
                  <a:lnTo>
                    <a:pt x="302" y="512"/>
                  </a:lnTo>
                  <a:lnTo>
                    <a:pt x="297" y="512"/>
                  </a:lnTo>
                  <a:lnTo>
                    <a:pt x="297" y="507"/>
                  </a:lnTo>
                  <a:lnTo>
                    <a:pt x="288" y="507"/>
                  </a:lnTo>
                  <a:lnTo>
                    <a:pt x="284" y="507"/>
                  </a:lnTo>
                  <a:lnTo>
                    <a:pt x="284" y="507"/>
                  </a:lnTo>
                  <a:lnTo>
                    <a:pt x="279" y="507"/>
                  </a:lnTo>
                  <a:lnTo>
                    <a:pt x="274" y="512"/>
                  </a:lnTo>
                  <a:lnTo>
                    <a:pt x="274" y="517"/>
                  </a:lnTo>
                  <a:lnTo>
                    <a:pt x="279" y="517"/>
                  </a:lnTo>
                  <a:lnTo>
                    <a:pt x="279" y="521"/>
                  </a:lnTo>
                  <a:lnTo>
                    <a:pt x="279" y="526"/>
                  </a:lnTo>
                  <a:lnTo>
                    <a:pt x="274" y="526"/>
                  </a:lnTo>
                  <a:lnTo>
                    <a:pt x="270" y="526"/>
                  </a:lnTo>
                  <a:lnTo>
                    <a:pt x="265" y="526"/>
                  </a:lnTo>
                  <a:lnTo>
                    <a:pt x="265" y="526"/>
                  </a:lnTo>
                  <a:lnTo>
                    <a:pt x="261" y="530"/>
                  </a:lnTo>
                  <a:lnTo>
                    <a:pt x="247" y="535"/>
                  </a:lnTo>
                  <a:lnTo>
                    <a:pt x="242" y="535"/>
                  </a:lnTo>
                  <a:lnTo>
                    <a:pt x="242" y="530"/>
                  </a:lnTo>
                  <a:lnTo>
                    <a:pt x="242" y="535"/>
                  </a:lnTo>
                  <a:lnTo>
                    <a:pt x="238" y="535"/>
                  </a:lnTo>
                  <a:lnTo>
                    <a:pt x="233" y="535"/>
                  </a:lnTo>
                  <a:lnTo>
                    <a:pt x="229" y="535"/>
                  </a:lnTo>
                  <a:lnTo>
                    <a:pt x="229" y="530"/>
                  </a:lnTo>
                  <a:lnTo>
                    <a:pt x="224" y="526"/>
                  </a:lnTo>
                  <a:lnTo>
                    <a:pt x="220" y="526"/>
                  </a:lnTo>
                  <a:lnTo>
                    <a:pt x="220" y="521"/>
                  </a:lnTo>
                  <a:lnTo>
                    <a:pt x="220" y="521"/>
                  </a:lnTo>
                  <a:lnTo>
                    <a:pt x="197" y="521"/>
                  </a:lnTo>
                  <a:lnTo>
                    <a:pt x="197" y="526"/>
                  </a:lnTo>
                  <a:lnTo>
                    <a:pt x="192" y="526"/>
                  </a:lnTo>
                  <a:lnTo>
                    <a:pt x="188" y="526"/>
                  </a:lnTo>
                  <a:lnTo>
                    <a:pt x="183" y="526"/>
                  </a:lnTo>
                  <a:lnTo>
                    <a:pt x="178" y="526"/>
                  </a:lnTo>
                  <a:lnTo>
                    <a:pt x="174" y="526"/>
                  </a:lnTo>
                  <a:lnTo>
                    <a:pt x="174" y="521"/>
                  </a:lnTo>
                  <a:lnTo>
                    <a:pt x="174" y="517"/>
                  </a:lnTo>
                  <a:lnTo>
                    <a:pt x="174" y="517"/>
                  </a:lnTo>
                  <a:lnTo>
                    <a:pt x="169" y="517"/>
                  </a:lnTo>
                  <a:lnTo>
                    <a:pt x="165" y="517"/>
                  </a:lnTo>
                  <a:lnTo>
                    <a:pt x="165" y="521"/>
                  </a:lnTo>
                  <a:lnTo>
                    <a:pt x="160" y="521"/>
                  </a:lnTo>
                  <a:close/>
                </a:path>
              </a:pathLst>
            </a:custGeom>
            <a:solidFill>
              <a:sysClr val="window" lastClr="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26" name="Freeform 44">
              <a:extLst>
                <a:ext uri="{FF2B5EF4-FFF2-40B4-BE49-F238E27FC236}">
                  <a16:creationId xmlns:a16="http://schemas.microsoft.com/office/drawing/2014/main" id="{DA06F47E-7132-47B6-ACE9-BD16FF921F27}"/>
                </a:ext>
              </a:extLst>
            </p:cNvPr>
            <p:cNvSpPr>
              <a:spLocks/>
            </p:cNvSpPr>
            <p:nvPr>
              <p:custDataLst>
                <p:tags r:id="rId38"/>
              </p:custDataLst>
            </p:nvPr>
          </p:nvSpPr>
          <p:spPr bwMode="auto">
            <a:xfrm>
              <a:off x="3013147" y="1952405"/>
              <a:ext cx="766427" cy="1327759"/>
            </a:xfrm>
            <a:custGeom>
              <a:avLst/>
              <a:gdLst/>
              <a:ahLst/>
              <a:cxnLst>
                <a:cxn ang="0">
                  <a:pos x="42" y="1143"/>
                </a:cxn>
                <a:cxn ang="0">
                  <a:pos x="0" y="1079"/>
                </a:cxn>
                <a:cxn ang="0">
                  <a:pos x="42" y="1038"/>
                </a:cxn>
                <a:cxn ang="0">
                  <a:pos x="69" y="997"/>
                </a:cxn>
                <a:cxn ang="0">
                  <a:pos x="101" y="951"/>
                </a:cxn>
                <a:cxn ang="0">
                  <a:pos x="151" y="915"/>
                </a:cxn>
                <a:cxn ang="0">
                  <a:pos x="170" y="828"/>
                </a:cxn>
                <a:cxn ang="0">
                  <a:pos x="197" y="769"/>
                </a:cxn>
                <a:cxn ang="0">
                  <a:pos x="142" y="709"/>
                </a:cxn>
                <a:cxn ang="0">
                  <a:pos x="133" y="636"/>
                </a:cxn>
                <a:cxn ang="0">
                  <a:pos x="106" y="599"/>
                </a:cxn>
                <a:cxn ang="0">
                  <a:pos x="60" y="572"/>
                </a:cxn>
                <a:cxn ang="0">
                  <a:pos x="28" y="517"/>
                </a:cxn>
                <a:cxn ang="0">
                  <a:pos x="110" y="494"/>
                </a:cxn>
                <a:cxn ang="0">
                  <a:pos x="151" y="471"/>
                </a:cxn>
                <a:cxn ang="0">
                  <a:pos x="183" y="416"/>
                </a:cxn>
                <a:cxn ang="0">
                  <a:pos x="215" y="352"/>
                </a:cxn>
                <a:cxn ang="0">
                  <a:pos x="275" y="288"/>
                </a:cxn>
                <a:cxn ang="0">
                  <a:pos x="334" y="243"/>
                </a:cxn>
                <a:cxn ang="0">
                  <a:pos x="435" y="224"/>
                </a:cxn>
                <a:cxn ang="0">
                  <a:pos x="512" y="156"/>
                </a:cxn>
                <a:cxn ang="0">
                  <a:pos x="572" y="133"/>
                </a:cxn>
                <a:cxn ang="0">
                  <a:pos x="631" y="165"/>
                </a:cxn>
                <a:cxn ang="0">
                  <a:pos x="704" y="160"/>
                </a:cxn>
                <a:cxn ang="0">
                  <a:pos x="723" y="92"/>
                </a:cxn>
                <a:cxn ang="0">
                  <a:pos x="768" y="14"/>
                </a:cxn>
                <a:cxn ang="0">
                  <a:pos x="878" y="0"/>
                </a:cxn>
                <a:cxn ang="0">
                  <a:pos x="851" y="42"/>
                </a:cxn>
                <a:cxn ang="0">
                  <a:pos x="819" y="96"/>
                </a:cxn>
                <a:cxn ang="0">
                  <a:pos x="819" y="160"/>
                </a:cxn>
                <a:cxn ang="0">
                  <a:pos x="805" y="234"/>
                </a:cxn>
                <a:cxn ang="0">
                  <a:pos x="778" y="275"/>
                </a:cxn>
                <a:cxn ang="0">
                  <a:pos x="723" y="311"/>
                </a:cxn>
                <a:cxn ang="0">
                  <a:pos x="714" y="371"/>
                </a:cxn>
                <a:cxn ang="0">
                  <a:pos x="714" y="403"/>
                </a:cxn>
                <a:cxn ang="0">
                  <a:pos x="714" y="444"/>
                </a:cxn>
                <a:cxn ang="0">
                  <a:pos x="704" y="480"/>
                </a:cxn>
                <a:cxn ang="0">
                  <a:pos x="691" y="512"/>
                </a:cxn>
                <a:cxn ang="0">
                  <a:pos x="650" y="526"/>
                </a:cxn>
                <a:cxn ang="0">
                  <a:pos x="604" y="540"/>
                </a:cxn>
                <a:cxn ang="0">
                  <a:pos x="558" y="576"/>
                </a:cxn>
                <a:cxn ang="0">
                  <a:pos x="576" y="636"/>
                </a:cxn>
                <a:cxn ang="0">
                  <a:pos x="576" y="672"/>
                </a:cxn>
                <a:cxn ang="0">
                  <a:pos x="558" y="723"/>
                </a:cxn>
                <a:cxn ang="0">
                  <a:pos x="535" y="773"/>
                </a:cxn>
                <a:cxn ang="0">
                  <a:pos x="517" y="810"/>
                </a:cxn>
                <a:cxn ang="0">
                  <a:pos x="494" y="851"/>
                </a:cxn>
                <a:cxn ang="0">
                  <a:pos x="426" y="860"/>
                </a:cxn>
                <a:cxn ang="0">
                  <a:pos x="403" y="887"/>
                </a:cxn>
                <a:cxn ang="0">
                  <a:pos x="366" y="924"/>
                </a:cxn>
                <a:cxn ang="0">
                  <a:pos x="320" y="956"/>
                </a:cxn>
                <a:cxn ang="0">
                  <a:pos x="320" y="1052"/>
                </a:cxn>
                <a:cxn ang="0">
                  <a:pos x="316" y="1107"/>
                </a:cxn>
                <a:cxn ang="0">
                  <a:pos x="275" y="1157"/>
                </a:cxn>
                <a:cxn ang="0">
                  <a:pos x="252" y="1217"/>
                </a:cxn>
                <a:cxn ang="0">
                  <a:pos x="238" y="1285"/>
                </a:cxn>
                <a:cxn ang="0">
                  <a:pos x="183" y="1276"/>
                </a:cxn>
                <a:cxn ang="0">
                  <a:pos x="170" y="1189"/>
                </a:cxn>
                <a:cxn ang="0">
                  <a:pos x="128" y="1148"/>
                </a:cxn>
                <a:cxn ang="0">
                  <a:pos x="87" y="1143"/>
                </a:cxn>
              </a:cxnLst>
              <a:rect l="0" t="0" r="r" b="b"/>
              <a:pathLst>
                <a:path w="878" h="1313">
                  <a:moveTo>
                    <a:pt x="83" y="1148"/>
                  </a:moveTo>
                  <a:lnTo>
                    <a:pt x="83" y="1148"/>
                  </a:lnTo>
                  <a:lnTo>
                    <a:pt x="83" y="1153"/>
                  </a:lnTo>
                  <a:lnTo>
                    <a:pt x="78" y="1157"/>
                  </a:lnTo>
                  <a:lnTo>
                    <a:pt x="74" y="1166"/>
                  </a:lnTo>
                  <a:lnTo>
                    <a:pt x="69" y="1166"/>
                  </a:lnTo>
                  <a:lnTo>
                    <a:pt x="64" y="1171"/>
                  </a:lnTo>
                  <a:lnTo>
                    <a:pt x="60" y="1166"/>
                  </a:lnTo>
                  <a:lnTo>
                    <a:pt x="55" y="1166"/>
                  </a:lnTo>
                  <a:lnTo>
                    <a:pt x="55" y="1166"/>
                  </a:lnTo>
                  <a:lnTo>
                    <a:pt x="51" y="1166"/>
                  </a:lnTo>
                  <a:lnTo>
                    <a:pt x="46" y="1162"/>
                  </a:lnTo>
                  <a:lnTo>
                    <a:pt x="46" y="1148"/>
                  </a:lnTo>
                  <a:lnTo>
                    <a:pt x="42" y="1143"/>
                  </a:lnTo>
                  <a:lnTo>
                    <a:pt x="42" y="1139"/>
                  </a:lnTo>
                  <a:lnTo>
                    <a:pt x="37" y="1125"/>
                  </a:lnTo>
                  <a:lnTo>
                    <a:pt x="32" y="1125"/>
                  </a:lnTo>
                  <a:lnTo>
                    <a:pt x="32" y="1125"/>
                  </a:lnTo>
                  <a:lnTo>
                    <a:pt x="32" y="1121"/>
                  </a:lnTo>
                  <a:lnTo>
                    <a:pt x="28" y="1116"/>
                  </a:lnTo>
                  <a:lnTo>
                    <a:pt x="28" y="1111"/>
                  </a:lnTo>
                  <a:lnTo>
                    <a:pt x="23" y="1102"/>
                  </a:lnTo>
                  <a:lnTo>
                    <a:pt x="19" y="1098"/>
                  </a:lnTo>
                  <a:lnTo>
                    <a:pt x="14" y="1093"/>
                  </a:lnTo>
                  <a:lnTo>
                    <a:pt x="10" y="1089"/>
                  </a:lnTo>
                  <a:lnTo>
                    <a:pt x="0" y="1089"/>
                  </a:lnTo>
                  <a:lnTo>
                    <a:pt x="0" y="1084"/>
                  </a:lnTo>
                  <a:lnTo>
                    <a:pt x="0" y="1079"/>
                  </a:lnTo>
                  <a:lnTo>
                    <a:pt x="0" y="1079"/>
                  </a:lnTo>
                  <a:lnTo>
                    <a:pt x="10" y="1075"/>
                  </a:lnTo>
                  <a:lnTo>
                    <a:pt x="14" y="1070"/>
                  </a:lnTo>
                  <a:lnTo>
                    <a:pt x="14" y="1066"/>
                  </a:lnTo>
                  <a:lnTo>
                    <a:pt x="19" y="1061"/>
                  </a:lnTo>
                  <a:lnTo>
                    <a:pt x="23" y="1057"/>
                  </a:lnTo>
                  <a:lnTo>
                    <a:pt x="23" y="1057"/>
                  </a:lnTo>
                  <a:lnTo>
                    <a:pt x="28" y="1052"/>
                  </a:lnTo>
                  <a:lnTo>
                    <a:pt x="28" y="1047"/>
                  </a:lnTo>
                  <a:lnTo>
                    <a:pt x="32" y="1047"/>
                  </a:lnTo>
                  <a:lnTo>
                    <a:pt x="32" y="1043"/>
                  </a:lnTo>
                  <a:lnTo>
                    <a:pt x="37" y="1043"/>
                  </a:lnTo>
                  <a:lnTo>
                    <a:pt x="37" y="1038"/>
                  </a:lnTo>
                  <a:lnTo>
                    <a:pt x="42" y="1038"/>
                  </a:lnTo>
                  <a:lnTo>
                    <a:pt x="46" y="1038"/>
                  </a:lnTo>
                  <a:lnTo>
                    <a:pt x="46" y="1034"/>
                  </a:lnTo>
                  <a:lnTo>
                    <a:pt x="46" y="1029"/>
                  </a:lnTo>
                  <a:lnTo>
                    <a:pt x="46" y="1025"/>
                  </a:lnTo>
                  <a:lnTo>
                    <a:pt x="51" y="1025"/>
                  </a:lnTo>
                  <a:lnTo>
                    <a:pt x="51" y="1020"/>
                  </a:lnTo>
                  <a:lnTo>
                    <a:pt x="55" y="1020"/>
                  </a:lnTo>
                  <a:lnTo>
                    <a:pt x="55" y="1015"/>
                  </a:lnTo>
                  <a:lnTo>
                    <a:pt x="55" y="1015"/>
                  </a:lnTo>
                  <a:lnTo>
                    <a:pt x="60" y="1015"/>
                  </a:lnTo>
                  <a:lnTo>
                    <a:pt x="60" y="1011"/>
                  </a:lnTo>
                  <a:lnTo>
                    <a:pt x="64" y="1006"/>
                  </a:lnTo>
                  <a:lnTo>
                    <a:pt x="64" y="1002"/>
                  </a:lnTo>
                  <a:lnTo>
                    <a:pt x="69" y="997"/>
                  </a:lnTo>
                  <a:lnTo>
                    <a:pt x="69" y="993"/>
                  </a:lnTo>
                  <a:lnTo>
                    <a:pt x="74" y="993"/>
                  </a:lnTo>
                  <a:lnTo>
                    <a:pt x="74" y="993"/>
                  </a:lnTo>
                  <a:lnTo>
                    <a:pt x="78" y="983"/>
                  </a:lnTo>
                  <a:lnTo>
                    <a:pt x="78" y="979"/>
                  </a:lnTo>
                  <a:lnTo>
                    <a:pt x="83" y="979"/>
                  </a:lnTo>
                  <a:lnTo>
                    <a:pt x="83" y="974"/>
                  </a:lnTo>
                  <a:lnTo>
                    <a:pt x="83" y="970"/>
                  </a:lnTo>
                  <a:lnTo>
                    <a:pt x="87" y="970"/>
                  </a:lnTo>
                  <a:lnTo>
                    <a:pt x="87" y="970"/>
                  </a:lnTo>
                  <a:lnTo>
                    <a:pt x="87" y="970"/>
                  </a:lnTo>
                  <a:lnTo>
                    <a:pt x="87" y="965"/>
                  </a:lnTo>
                  <a:lnTo>
                    <a:pt x="96" y="956"/>
                  </a:lnTo>
                  <a:lnTo>
                    <a:pt x="101" y="951"/>
                  </a:lnTo>
                  <a:lnTo>
                    <a:pt x="106" y="951"/>
                  </a:lnTo>
                  <a:lnTo>
                    <a:pt x="106" y="947"/>
                  </a:lnTo>
                  <a:lnTo>
                    <a:pt x="110" y="947"/>
                  </a:lnTo>
                  <a:lnTo>
                    <a:pt x="110" y="947"/>
                  </a:lnTo>
                  <a:lnTo>
                    <a:pt x="119" y="947"/>
                  </a:lnTo>
                  <a:lnTo>
                    <a:pt x="128" y="942"/>
                  </a:lnTo>
                  <a:lnTo>
                    <a:pt x="133" y="938"/>
                  </a:lnTo>
                  <a:lnTo>
                    <a:pt x="133" y="933"/>
                  </a:lnTo>
                  <a:lnTo>
                    <a:pt x="138" y="933"/>
                  </a:lnTo>
                  <a:lnTo>
                    <a:pt x="142" y="929"/>
                  </a:lnTo>
                  <a:lnTo>
                    <a:pt x="147" y="929"/>
                  </a:lnTo>
                  <a:lnTo>
                    <a:pt x="147" y="924"/>
                  </a:lnTo>
                  <a:lnTo>
                    <a:pt x="151" y="919"/>
                  </a:lnTo>
                  <a:lnTo>
                    <a:pt x="151" y="915"/>
                  </a:lnTo>
                  <a:lnTo>
                    <a:pt x="156" y="915"/>
                  </a:lnTo>
                  <a:lnTo>
                    <a:pt x="156" y="910"/>
                  </a:lnTo>
                  <a:lnTo>
                    <a:pt x="156" y="906"/>
                  </a:lnTo>
                  <a:lnTo>
                    <a:pt x="156" y="906"/>
                  </a:lnTo>
                  <a:lnTo>
                    <a:pt x="156" y="901"/>
                  </a:lnTo>
                  <a:lnTo>
                    <a:pt x="156" y="887"/>
                  </a:lnTo>
                  <a:lnTo>
                    <a:pt x="156" y="865"/>
                  </a:lnTo>
                  <a:lnTo>
                    <a:pt x="160" y="860"/>
                  </a:lnTo>
                  <a:lnTo>
                    <a:pt x="160" y="851"/>
                  </a:lnTo>
                  <a:lnTo>
                    <a:pt x="165" y="842"/>
                  </a:lnTo>
                  <a:lnTo>
                    <a:pt x="165" y="837"/>
                  </a:lnTo>
                  <a:lnTo>
                    <a:pt x="170" y="837"/>
                  </a:lnTo>
                  <a:lnTo>
                    <a:pt x="170" y="837"/>
                  </a:lnTo>
                  <a:lnTo>
                    <a:pt x="170" y="828"/>
                  </a:lnTo>
                  <a:lnTo>
                    <a:pt x="174" y="828"/>
                  </a:lnTo>
                  <a:lnTo>
                    <a:pt x="174" y="823"/>
                  </a:lnTo>
                  <a:lnTo>
                    <a:pt x="174" y="819"/>
                  </a:lnTo>
                  <a:lnTo>
                    <a:pt x="174" y="819"/>
                  </a:lnTo>
                  <a:lnTo>
                    <a:pt x="174" y="819"/>
                  </a:lnTo>
                  <a:lnTo>
                    <a:pt x="183" y="805"/>
                  </a:lnTo>
                  <a:lnTo>
                    <a:pt x="192" y="796"/>
                  </a:lnTo>
                  <a:lnTo>
                    <a:pt x="192" y="796"/>
                  </a:lnTo>
                  <a:lnTo>
                    <a:pt x="192" y="791"/>
                  </a:lnTo>
                  <a:lnTo>
                    <a:pt x="197" y="791"/>
                  </a:lnTo>
                  <a:lnTo>
                    <a:pt x="197" y="787"/>
                  </a:lnTo>
                  <a:lnTo>
                    <a:pt x="197" y="773"/>
                  </a:lnTo>
                  <a:lnTo>
                    <a:pt x="197" y="773"/>
                  </a:lnTo>
                  <a:lnTo>
                    <a:pt x="197" y="769"/>
                  </a:lnTo>
                  <a:lnTo>
                    <a:pt x="197" y="759"/>
                  </a:lnTo>
                  <a:lnTo>
                    <a:pt x="197" y="755"/>
                  </a:lnTo>
                  <a:lnTo>
                    <a:pt x="197" y="750"/>
                  </a:lnTo>
                  <a:lnTo>
                    <a:pt x="192" y="750"/>
                  </a:lnTo>
                  <a:lnTo>
                    <a:pt x="192" y="750"/>
                  </a:lnTo>
                  <a:lnTo>
                    <a:pt x="183" y="746"/>
                  </a:lnTo>
                  <a:lnTo>
                    <a:pt x="174" y="741"/>
                  </a:lnTo>
                  <a:lnTo>
                    <a:pt x="174" y="737"/>
                  </a:lnTo>
                  <a:lnTo>
                    <a:pt x="165" y="732"/>
                  </a:lnTo>
                  <a:lnTo>
                    <a:pt x="160" y="727"/>
                  </a:lnTo>
                  <a:lnTo>
                    <a:pt x="156" y="723"/>
                  </a:lnTo>
                  <a:lnTo>
                    <a:pt x="156" y="718"/>
                  </a:lnTo>
                  <a:lnTo>
                    <a:pt x="147" y="714"/>
                  </a:lnTo>
                  <a:lnTo>
                    <a:pt x="142" y="709"/>
                  </a:lnTo>
                  <a:lnTo>
                    <a:pt x="142" y="709"/>
                  </a:lnTo>
                  <a:lnTo>
                    <a:pt x="138" y="709"/>
                  </a:lnTo>
                  <a:lnTo>
                    <a:pt x="138" y="705"/>
                  </a:lnTo>
                  <a:lnTo>
                    <a:pt x="133" y="700"/>
                  </a:lnTo>
                  <a:lnTo>
                    <a:pt x="133" y="691"/>
                  </a:lnTo>
                  <a:lnTo>
                    <a:pt x="133" y="686"/>
                  </a:lnTo>
                  <a:lnTo>
                    <a:pt x="133" y="677"/>
                  </a:lnTo>
                  <a:lnTo>
                    <a:pt x="133" y="663"/>
                  </a:lnTo>
                  <a:lnTo>
                    <a:pt x="133" y="659"/>
                  </a:lnTo>
                  <a:lnTo>
                    <a:pt x="133" y="654"/>
                  </a:lnTo>
                  <a:lnTo>
                    <a:pt x="133" y="645"/>
                  </a:lnTo>
                  <a:lnTo>
                    <a:pt x="133" y="640"/>
                  </a:lnTo>
                  <a:lnTo>
                    <a:pt x="133" y="640"/>
                  </a:lnTo>
                  <a:lnTo>
                    <a:pt x="133" y="636"/>
                  </a:lnTo>
                  <a:lnTo>
                    <a:pt x="128" y="631"/>
                  </a:lnTo>
                  <a:lnTo>
                    <a:pt x="128" y="627"/>
                  </a:lnTo>
                  <a:lnTo>
                    <a:pt x="124" y="627"/>
                  </a:lnTo>
                  <a:lnTo>
                    <a:pt x="124" y="622"/>
                  </a:lnTo>
                  <a:lnTo>
                    <a:pt x="124" y="618"/>
                  </a:lnTo>
                  <a:lnTo>
                    <a:pt x="119" y="618"/>
                  </a:lnTo>
                  <a:lnTo>
                    <a:pt x="119" y="618"/>
                  </a:lnTo>
                  <a:lnTo>
                    <a:pt x="115" y="618"/>
                  </a:lnTo>
                  <a:lnTo>
                    <a:pt x="115" y="613"/>
                  </a:lnTo>
                  <a:lnTo>
                    <a:pt x="110" y="608"/>
                  </a:lnTo>
                  <a:lnTo>
                    <a:pt x="110" y="608"/>
                  </a:lnTo>
                  <a:lnTo>
                    <a:pt x="110" y="604"/>
                  </a:lnTo>
                  <a:lnTo>
                    <a:pt x="106" y="599"/>
                  </a:lnTo>
                  <a:lnTo>
                    <a:pt x="106" y="599"/>
                  </a:lnTo>
                  <a:lnTo>
                    <a:pt x="101" y="599"/>
                  </a:lnTo>
                  <a:lnTo>
                    <a:pt x="101" y="595"/>
                  </a:lnTo>
                  <a:lnTo>
                    <a:pt x="96" y="595"/>
                  </a:lnTo>
                  <a:lnTo>
                    <a:pt x="92" y="590"/>
                  </a:lnTo>
                  <a:lnTo>
                    <a:pt x="87" y="590"/>
                  </a:lnTo>
                  <a:lnTo>
                    <a:pt x="87" y="586"/>
                  </a:lnTo>
                  <a:lnTo>
                    <a:pt x="87" y="586"/>
                  </a:lnTo>
                  <a:lnTo>
                    <a:pt x="83" y="586"/>
                  </a:lnTo>
                  <a:lnTo>
                    <a:pt x="74" y="581"/>
                  </a:lnTo>
                  <a:lnTo>
                    <a:pt x="74" y="581"/>
                  </a:lnTo>
                  <a:lnTo>
                    <a:pt x="64" y="576"/>
                  </a:lnTo>
                  <a:lnTo>
                    <a:pt x="64" y="576"/>
                  </a:lnTo>
                  <a:lnTo>
                    <a:pt x="60" y="576"/>
                  </a:lnTo>
                  <a:lnTo>
                    <a:pt x="60" y="572"/>
                  </a:lnTo>
                  <a:lnTo>
                    <a:pt x="55" y="572"/>
                  </a:lnTo>
                  <a:lnTo>
                    <a:pt x="55" y="567"/>
                  </a:lnTo>
                  <a:lnTo>
                    <a:pt x="55" y="563"/>
                  </a:lnTo>
                  <a:lnTo>
                    <a:pt x="51" y="558"/>
                  </a:lnTo>
                  <a:lnTo>
                    <a:pt x="51" y="554"/>
                  </a:lnTo>
                  <a:lnTo>
                    <a:pt x="46" y="554"/>
                  </a:lnTo>
                  <a:lnTo>
                    <a:pt x="46" y="549"/>
                  </a:lnTo>
                  <a:lnTo>
                    <a:pt x="46" y="549"/>
                  </a:lnTo>
                  <a:lnTo>
                    <a:pt x="46" y="540"/>
                  </a:lnTo>
                  <a:lnTo>
                    <a:pt x="42" y="535"/>
                  </a:lnTo>
                  <a:lnTo>
                    <a:pt x="42" y="531"/>
                  </a:lnTo>
                  <a:lnTo>
                    <a:pt x="37" y="531"/>
                  </a:lnTo>
                  <a:lnTo>
                    <a:pt x="23" y="517"/>
                  </a:lnTo>
                  <a:lnTo>
                    <a:pt x="28" y="517"/>
                  </a:lnTo>
                  <a:lnTo>
                    <a:pt x="37" y="512"/>
                  </a:lnTo>
                  <a:lnTo>
                    <a:pt x="46" y="512"/>
                  </a:lnTo>
                  <a:lnTo>
                    <a:pt x="64" y="508"/>
                  </a:lnTo>
                  <a:lnTo>
                    <a:pt x="69" y="508"/>
                  </a:lnTo>
                  <a:lnTo>
                    <a:pt x="74" y="508"/>
                  </a:lnTo>
                  <a:lnTo>
                    <a:pt x="78" y="508"/>
                  </a:lnTo>
                  <a:lnTo>
                    <a:pt x="87" y="503"/>
                  </a:lnTo>
                  <a:lnTo>
                    <a:pt x="87" y="503"/>
                  </a:lnTo>
                  <a:lnTo>
                    <a:pt x="92" y="503"/>
                  </a:lnTo>
                  <a:lnTo>
                    <a:pt x="96" y="503"/>
                  </a:lnTo>
                  <a:lnTo>
                    <a:pt x="96" y="499"/>
                  </a:lnTo>
                  <a:lnTo>
                    <a:pt x="101" y="499"/>
                  </a:lnTo>
                  <a:lnTo>
                    <a:pt x="110" y="499"/>
                  </a:lnTo>
                  <a:lnTo>
                    <a:pt x="110" y="494"/>
                  </a:lnTo>
                  <a:lnTo>
                    <a:pt x="110" y="494"/>
                  </a:lnTo>
                  <a:lnTo>
                    <a:pt x="115" y="494"/>
                  </a:lnTo>
                  <a:lnTo>
                    <a:pt x="115" y="490"/>
                  </a:lnTo>
                  <a:lnTo>
                    <a:pt x="119" y="490"/>
                  </a:lnTo>
                  <a:lnTo>
                    <a:pt x="124" y="490"/>
                  </a:lnTo>
                  <a:lnTo>
                    <a:pt x="128" y="490"/>
                  </a:lnTo>
                  <a:lnTo>
                    <a:pt x="133" y="485"/>
                  </a:lnTo>
                  <a:lnTo>
                    <a:pt x="138" y="485"/>
                  </a:lnTo>
                  <a:lnTo>
                    <a:pt x="138" y="480"/>
                  </a:lnTo>
                  <a:lnTo>
                    <a:pt x="142" y="480"/>
                  </a:lnTo>
                  <a:lnTo>
                    <a:pt x="142" y="476"/>
                  </a:lnTo>
                  <a:lnTo>
                    <a:pt x="147" y="476"/>
                  </a:lnTo>
                  <a:lnTo>
                    <a:pt x="147" y="471"/>
                  </a:lnTo>
                  <a:lnTo>
                    <a:pt x="151" y="471"/>
                  </a:lnTo>
                  <a:lnTo>
                    <a:pt x="156" y="467"/>
                  </a:lnTo>
                  <a:lnTo>
                    <a:pt x="156" y="467"/>
                  </a:lnTo>
                  <a:lnTo>
                    <a:pt x="160" y="462"/>
                  </a:lnTo>
                  <a:lnTo>
                    <a:pt x="160" y="462"/>
                  </a:lnTo>
                  <a:lnTo>
                    <a:pt x="160" y="458"/>
                  </a:lnTo>
                  <a:lnTo>
                    <a:pt x="165" y="453"/>
                  </a:lnTo>
                  <a:lnTo>
                    <a:pt x="170" y="453"/>
                  </a:lnTo>
                  <a:lnTo>
                    <a:pt x="170" y="448"/>
                  </a:lnTo>
                  <a:lnTo>
                    <a:pt x="174" y="448"/>
                  </a:lnTo>
                  <a:lnTo>
                    <a:pt x="174" y="444"/>
                  </a:lnTo>
                  <a:lnTo>
                    <a:pt x="179" y="439"/>
                  </a:lnTo>
                  <a:lnTo>
                    <a:pt x="183" y="426"/>
                  </a:lnTo>
                  <a:lnTo>
                    <a:pt x="183" y="421"/>
                  </a:lnTo>
                  <a:lnTo>
                    <a:pt x="183" y="416"/>
                  </a:lnTo>
                  <a:lnTo>
                    <a:pt x="179" y="398"/>
                  </a:lnTo>
                  <a:lnTo>
                    <a:pt x="179" y="394"/>
                  </a:lnTo>
                  <a:lnTo>
                    <a:pt x="179" y="384"/>
                  </a:lnTo>
                  <a:lnTo>
                    <a:pt x="179" y="380"/>
                  </a:lnTo>
                  <a:lnTo>
                    <a:pt x="179" y="375"/>
                  </a:lnTo>
                  <a:lnTo>
                    <a:pt x="174" y="366"/>
                  </a:lnTo>
                  <a:lnTo>
                    <a:pt x="174" y="357"/>
                  </a:lnTo>
                  <a:lnTo>
                    <a:pt x="174" y="357"/>
                  </a:lnTo>
                  <a:lnTo>
                    <a:pt x="174" y="352"/>
                  </a:lnTo>
                  <a:lnTo>
                    <a:pt x="174" y="348"/>
                  </a:lnTo>
                  <a:lnTo>
                    <a:pt x="170" y="339"/>
                  </a:lnTo>
                  <a:lnTo>
                    <a:pt x="192" y="348"/>
                  </a:lnTo>
                  <a:lnTo>
                    <a:pt x="197" y="352"/>
                  </a:lnTo>
                  <a:lnTo>
                    <a:pt x="215" y="352"/>
                  </a:lnTo>
                  <a:lnTo>
                    <a:pt x="220" y="348"/>
                  </a:lnTo>
                  <a:lnTo>
                    <a:pt x="224" y="348"/>
                  </a:lnTo>
                  <a:lnTo>
                    <a:pt x="229" y="352"/>
                  </a:lnTo>
                  <a:lnTo>
                    <a:pt x="243" y="348"/>
                  </a:lnTo>
                  <a:lnTo>
                    <a:pt x="247" y="348"/>
                  </a:lnTo>
                  <a:lnTo>
                    <a:pt x="261" y="339"/>
                  </a:lnTo>
                  <a:lnTo>
                    <a:pt x="266" y="334"/>
                  </a:lnTo>
                  <a:lnTo>
                    <a:pt x="266" y="334"/>
                  </a:lnTo>
                  <a:lnTo>
                    <a:pt x="266" y="316"/>
                  </a:lnTo>
                  <a:lnTo>
                    <a:pt x="270" y="307"/>
                  </a:lnTo>
                  <a:lnTo>
                    <a:pt x="270" y="302"/>
                  </a:lnTo>
                  <a:lnTo>
                    <a:pt x="275" y="298"/>
                  </a:lnTo>
                  <a:lnTo>
                    <a:pt x="275" y="293"/>
                  </a:lnTo>
                  <a:lnTo>
                    <a:pt x="275" y="288"/>
                  </a:lnTo>
                  <a:lnTo>
                    <a:pt x="279" y="288"/>
                  </a:lnTo>
                  <a:lnTo>
                    <a:pt x="284" y="284"/>
                  </a:lnTo>
                  <a:lnTo>
                    <a:pt x="284" y="275"/>
                  </a:lnTo>
                  <a:lnTo>
                    <a:pt x="288" y="275"/>
                  </a:lnTo>
                  <a:lnTo>
                    <a:pt x="288" y="270"/>
                  </a:lnTo>
                  <a:lnTo>
                    <a:pt x="293" y="270"/>
                  </a:lnTo>
                  <a:lnTo>
                    <a:pt x="307" y="261"/>
                  </a:lnTo>
                  <a:lnTo>
                    <a:pt x="307" y="252"/>
                  </a:lnTo>
                  <a:lnTo>
                    <a:pt x="311" y="252"/>
                  </a:lnTo>
                  <a:lnTo>
                    <a:pt x="320" y="247"/>
                  </a:lnTo>
                  <a:lnTo>
                    <a:pt x="325" y="247"/>
                  </a:lnTo>
                  <a:lnTo>
                    <a:pt x="330" y="247"/>
                  </a:lnTo>
                  <a:lnTo>
                    <a:pt x="330" y="243"/>
                  </a:lnTo>
                  <a:lnTo>
                    <a:pt x="334" y="243"/>
                  </a:lnTo>
                  <a:lnTo>
                    <a:pt x="339" y="238"/>
                  </a:lnTo>
                  <a:lnTo>
                    <a:pt x="343" y="238"/>
                  </a:lnTo>
                  <a:lnTo>
                    <a:pt x="348" y="234"/>
                  </a:lnTo>
                  <a:lnTo>
                    <a:pt x="352" y="234"/>
                  </a:lnTo>
                  <a:lnTo>
                    <a:pt x="352" y="234"/>
                  </a:lnTo>
                  <a:lnTo>
                    <a:pt x="366" y="229"/>
                  </a:lnTo>
                  <a:lnTo>
                    <a:pt x="375" y="229"/>
                  </a:lnTo>
                  <a:lnTo>
                    <a:pt x="380" y="229"/>
                  </a:lnTo>
                  <a:lnTo>
                    <a:pt x="394" y="229"/>
                  </a:lnTo>
                  <a:lnTo>
                    <a:pt x="412" y="229"/>
                  </a:lnTo>
                  <a:lnTo>
                    <a:pt x="421" y="229"/>
                  </a:lnTo>
                  <a:lnTo>
                    <a:pt x="430" y="229"/>
                  </a:lnTo>
                  <a:lnTo>
                    <a:pt x="435" y="229"/>
                  </a:lnTo>
                  <a:lnTo>
                    <a:pt x="435" y="224"/>
                  </a:lnTo>
                  <a:lnTo>
                    <a:pt x="439" y="224"/>
                  </a:lnTo>
                  <a:lnTo>
                    <a:pt x="439" y="224"/>
                  </a:lnTo>
                  <a:lnTo>
                    <a:pt x="448" y="215"/>
                  </a:lnTo>
                  <a:lnTo>
                    <a:pt x="453" y="211"/>
                  </a:lnTo>
                  <a:lnTo>
                    <a:pt x="471" y="192"/>
                  </a:lnTo>
                  <a:lnTo>
                    <a:pt x="476" y="192"/>
                  </a:lnTo>
                  <a:lnTo>
                    <a:pt x="476" y="188"/>
                  </a:lnTo>
                  <a:lnTo>
                    <a:pt x="480" y="183"/>
                  </a:lnTo>
                  <a:lnTo>
                    <a:pt x="485" y="179"/>
                  </a:lnTo>
                  <a:lnTo>
                    <a:pt x="490" y="179"/>
                  </a:lnTo>
                  <a:lnTo>
                    <a:pt x="494" y="179"/>
                  </a:lnTo>
                  <a:lnTo>
                    <a:pt x="499" y="174"/>
                  </a:lnTo>
                  <a:lnTo>
                    <a:pt x="503" y="160"/>
                  </a:lnTo>
                  <a:lnTo>
                    <a:pt x="512" y="156"/>
                  </a:lnTo>
                  <a:lnTo>
                    <a:pt x="517" y="151"/>
                  </a:lnTo>
                  <a:lnTo>
                    <a:pt x="526" y="142"/>
                  </a:lnTo>
                  <a:lnTo>
                    <a:pt x="526" y="142"/>
                  </a:lnTo>
                  <a:lnTo>
                    <a:pt x="531" y="138"/>
                  </a:lnTo>
                  <a:lnTo>
                    <a:pt x="535" y="138"/>
                  </a:lnTo>
                  <a:lnTo>
                    <a:pt x="535" y="138"/>
                  </a:lnTo>
                  <a:lnTo>
                    <a:pt x="540" y="138"/>
                  </a:lnTo>
                  <a:lnTo>
                    <a:pt x="540" y="133"/>
                  </a:lnTo>
                  <a:lnTo>
                    <a:pt x="549" y="133"/>
                  </a:lnTo>
                  <a:lnTo>
                    <a:pt x="549" y="128"/>
                  </a:lnTo>
                  <a:lnTo>
                    <a:pt x="554" y="128"/>
                  </a:lnTo>
                  <a:lnTo>
                    <a:pt x="563" y="128"/>
                  </a:lnTo>
                  <a:lnTo>
                    <a:pt x="567" y="128"/>
                  </a:lnTo>
                  <a:lnTo>
                    <a:pt x="572" y="133"/>
                  </a:lnTo>
                  <a:lnTo>
                    <a:pt x="576" y="133"/>
                  </a:lnTo>
                  <a:lnTo>
                    <a:pt x="581" y="138"/>
                  </a:lnTo>
                  <a:lnTo>
                    <a:pt x="586" y="138"/>
                  </a:lnTo>
                  <a:lnTo>
                    <a:pt x="595" y="142"/>
                  </a:lnTo>
                  <a:lnTo>
                    <a:pt x="595" y="147"/>
                  </a:lnTo>
                  <a:lnTo>
                    <a:pt x="599" y="151"/>
                  </a:lnTo>
                  <a:lnTo>
                    <a:pt x="604" y="151"/>
                  </a:lnTo>
                  <a:lnTo>
                    <a:pt x="608" y="151"/>
                  </a:lnTo>
                  <a:lnTo>
                    <a:pt x="613" y="156"/>
                  </a:lnTo>
                  <a:lnTo>
                    <a:pt x="613" y="156"/>
                  </a:lnTo>
                  <a:lnTo>
                    <a:pt x="613" y="160"/>
                  </a:lnTo>
                  <a:lnTo>
                    <a:pt x="618" y="160"/>
                  </a:lnTo>
                  <a:lnTo>
                    <a:pt x="622" y="160"/>
                  </a:lnTo>
                  <a:lnTo>
                    <a:pt x="631" y="165"/>
                  </a:lnTo>
                  <a:lnTo>
                    <a:pt x="636" y="165"/>
                  </a:lnTo>
                  <a:lnTo>
                    <a:pt x="636" y="165"/>
                  </a:lnTo>
                  <a:lnTo>
                    <a:pt x="640" y="170"/>
                  </a:lnTo>
                  <a:lnTo>
                    <a:pt x="650" y="170"/>
                  </a:lnTo>
                  <a:lnTo>
                    <a:pt x="659" y="170"/>
                  </a:lnTo>
                  <a:lnTo>
                    <a:pt x="682" y="174"/>
                  </a:lnTo>
                  <a:lnTo>
                    <a:pt x="686" y="174"/>
                  </a:lnTo>
                  <a:lnTo>
                    <a:pt x="691" y="170"/>
                  </a:lnTo>
                  <a:lnTo>
                    <a:pt x="700" y="170"/>
                  </a:lnTo>
                  <a:lnTo>
                    <a:pt x="704" y="165"/>
                  </a:lnTo>
                  <a:lnTo>
                    <a:pt x="704" y="160"/>
                  </a:lnTo>
                  <a:lnTo>
                    <a:pt x="704" y="160"/>
                  </a:lnTo>
                  <a:lnTo>
                    <a:pt x="704" y="160"/>
                  </a:lnTo>
                  <a:lnTo>
                    <a:pt x="704" y="160"/>
                  </a:lnTo>
                  <a:lnTo>
                    <a:pt x="709" y="156"/>
                  </a:lnTo>
                  <a:lnTo>
                    <a:pt x="709" y="156"/>
                  </a:lnTo>
                  <a:lnTo>
                    <a:pt x="709" y="138"/>
                  </a:lnTo>
                  <a:lnTo>
                    <a:pt x="714" y="138"/>
                  </a:lnTo>
                  <a:lnTo>
                    <a:pt x="714" y="133"/>
                  </a:lnTo>
                  <a:lnTo>
                    <a:pt x="714" y="128"/>
                  </a:lnTo>
                  <a:lnTo>
                    <a:pt x="714" y="124"/>
                  </a:lnTo>
                  <a:lnTo>
                    <a:pt x="714" y="119"/>
                  </a:lnTo>
                  <a:lnTo>
                    <a:pt x="714" y="115"/>
                  </a:lnTo>
                  <a:lnTo>
                    <a:pt x="714" y="110"/>
                  </a:lnTo>
                  <a:lnTo>
                    <a:pt x="718" y="106"/>
                  </a:lnTo>
                  <a:lnTo>
                    <a:pt x="723" y="101"/>
                  </a:lnTo>
                  <a:lnTo>
                    <a:pt x="723" y="96"/>
                  </a:lnTo>
                  <a:lnTo>
                    <a:pt x="723" y="92"/>
                  </a:lnTo>
                  <a:lnTo>
                    <a:pt x="723" y="92"/>
                  </a:lnTo>
                  <a:lnTo>
                    <a:pt x="723" y="87"/>
                  </a:lnTo>
                  <a:lnTo>
                    <a:pt x="732" y="69"/>
                  </a:lnTo>
                  <a:lnTo>
                    <a:pt x="741" y="51"/>
                  </a:lnTo>
                  <a:lnTo>
                    <a:pt x="746" y="46"/>
                  </a:lnTo>
                  <a:lnTo>
                    <a:pt x="746" y="37"/>
                  </a:lnTo>
                  <a:lnTo>
                    <a:pt x="746" y="32"/>
                  </a:lnTo>
                  <a:lnTo>
                    <a:pt x="746" y="28"/>
                  </a:lnTo>
                  <a:lnTo>
                    <a:pt x="746" y="23"/>
                  </a:lnTo>
                  <a:lnTo>
                    <a:pt x="750" y="19"/>
                  </a:lnTo>
                  <a:lnTo>
                    <a:pt x="755" y="19"/>
                  </a:lnTo>
                  <a:lnTo>
                    <a:pt x="759" y="14"/>
                  </a:lnTo>
                  <a:lnTo>
                    <a:pt x="764" y="14"/>
                  </a:lnTo>
                  <a:lnTo>
                    <a:pt x="768" y="14"/>
                  </a:lnTo>
                  <a:lnTo>
                    <a:pt x="778" y="10"/>
                  </a:lnTo>
                  <a:lnTo>
                    <a:pt x="791" y="10"/>
                  </a:lnTo>
                  <a:lnTo>
                    <a:pt x="810" y="10"/>
                  </a:lnTo>
                  <a:lnTo>
                    <a:pt x="814" y="10"/>
                  </a:lnTo>
                  <a:lnTo>
                    <a:pt x="814" y="10"/>
                  </a:lnTo>
                  <a:lnTo>
                    <a:pt x="814" y="5"/>
                  </a:lnTo>
                  <a:lnTo>
                    <a:pt x="819" y="5"/>
                  </a:lnTo>
                  <a:lnTo>
                    <a:pt x="823" y="5"/>
                  </a:lnTo>
                  <a:lnTo>
                    <a:pt x="828" y="5"/>
                  </a:lnTo>
                  <a:lnTo>
                    <a:pt x="832" y="5"/>
                  </a:lnTo>
                  <a:lnTo>
                    <a:pt x="842" y="0"/>
                  </a:lnTo>
                  <a:lnTo>
                    <a:pt x="855" y="0"/>
                  </a:lnTo>
                  <a:lnTo>
                    <a:pt x="874" y="0"/>
                  </a:lnTo>
                  <a:lnTo>
                    <a:pt x="878" y="0"/>
                  </a:lnTo>
                  <a:lnTo>
                    <a:pt x="878" y="0"/>
                  </a:lnTo>
                  <a:lnTo>
                    <a:pt x="874" y="5"/>
                  </a:lnTo>
                  <a:lnTo>
                    <a:pt x="874" y="10"/>
                  </a:lnTo>
                  <a:lnTo>
                    <a:pt x="869" y="14"/>
                  </a:lnTo>
                  <a:lnTo>
                    <a:pt x="864" y="23"/>
                  </a:lnTo>
                  <a:lnTo>
                    <a:pt x="864" y="23"/>
                  </a:lnTo>
                  <a:lnTo>
                    <a:pt x="860" y="28"/>
                  </a:lnTo>
                  <a:lnTo>
                    <a:pt x="860" y="28"/>
                  </a:lnTo>
                  <a:lnTo>
                    <a:pt x="855" y="28"/>
                  </a:lnTo>
                  <a:lnTo>
                    <a:pt x="855" y="32"/>
                  </a:lnTo>
                  <a:lnTo>
                    <a:pt x="855" y="32"/>
                  </a:lnTo>
                  <a:lnTo>
                    <a:pt x="855" y="37"/>
                  </a:lnTo>
                  <a:lnTo>
                    <a:pt x="855" y="37"/>
                  </a:lnTo>
                  <a:lnTo>
                    <a:pt x="851" y="42"/>
                  </a:lnTo>
                  <a:lnTo>
                    <a:pt x="846" y="46"/>
                  </a:lnTo>
                  <a:lnTo>
                    <a:pt x="846" y="51"/>
                  </a:lnTo>
                  <a:lnTo>
                    <a:pt x="842" y="60"/>
                  </a:lnTo>
                  <a:lnTo>
                    <a:pt x="842" y="69"/>
                  </a:lnTo>
                  <a:lnTo>
                    <a:pt x="842" y="74"/>
                  </a:lnTo>
                  <a:lnTo>
                    <a:pt x="837" y="78"/>
                  </a:lnTo>
                  <a:lnTo>
                    <a:pt x="837" y="78"/>
                  </a:lnTo>
                  <a:lnTo>
                    <a:pt x="837" y="78"/>
                  </a:lnTo>
                  <a:lnTo>
                    <a:pt x="832" y="83"/>
                  </a:lnTo>
                  <a:lnTo>
                    <a:pt x="828" y="87"/>
                  </a:lnTo>
                  <a:lnTo>
                    <a:pt x="823" y="87"/>
                  </a:lnTo>
                  <a:lnTo>
                    <a:pt x="823" y="92"/>
                  </a:lnTo>
                  <a:lnTo>
                    <a:pt x="823" y="92"/>
                  </a:lnTo>
                  <a:lnTo>
                    <a:pt x="819" y="96"/>
                  </a:lnTo>
                  <a:lnTo>
                    <a:pt x="819" y="110"/>
                  </a:lnTo>
                  <a:lnTo>
                    <a:pt x="814" y="115"/>
                  </a:lnTo>
                  <a:lnTo>
                    <a:pt x="814" y="115"/>
                  </a:lnTo>
                  <a:lnTo>
                    <a:pt x="814" y="119"/>
                  </a:lnTo>
                  <a:lnTo>
                    <a:pt x="819" y="124"/>
                  </a:lnTo>
                  <a:lnTo>
                    <a:pt x="819" y="128"/>
                  </a:lnTo>
                  <a:lnTo>
                    <a:pt x="819" y="133"/>
                  </a:lnTo>
                  <a:lnTo>
                    <a:pt x="819" y="138"/>
                  </a:lnTo>
                  <a:lnTo>
                    <a:pt x="823" y="142"/>
                  </a:lnTo>
                  <a:lnTo>
                    <a:pt x="823" y="142"/>
                  </a:lnTo>
                  <a:lnTo>
                    <a:pt x="823" y="147"/>
                  </a:lnTo>
                  <a:lnTo>
                    <a:pt x="823" y="156"/>
                  </a:lnTo>
                  <a:lnTo>
                    <a:pt x="819" y="160"/>
                  </a:lnTo>
                  <a:lnTo>
                    <a:pt x="819" y="160"/>
                  </a:lnTo>
                  <a:lnTo>
                    <a:pt x="819" y="160"/>
                  </a:lnTo>
                  <a:lnTo>
                    <a:pt x="814" y="165"/>
                  </a:lnTo>
                  <a:lnTo>
                    <a:pt x="814" y="170"/>
                  </a:lnTo>
                  <a:lnTo>
                    <a:pt x="814" y="170"/>
                  </a:lnTo>
                  <a:lnTo>
                    <a:pt x="814" y="179"/>
                  </a:lnTo>
                  <a:lnTo>
                    <a:pt x="814" y="183"/>
                  </a:lnTo>
                  <a:lnTo>
                    <a:pt x="814" y="192"/>
                  </a:lnTo>
                  <a:lnTo>
                    <a:pt x="810" y="197"/>
                  </a:lnTo>
                  <a:lnTo>
                    <a:pt x="805" y="202"/>
                  </a:lnTo>
                  <a:lnTo>
                    <a:pt x="805" y="206"/>
                  </a:lnTo>
                  <a:lnTo>
                    <a:pt x="810" y="215"/>
                  </a:lnTo>
                  <a:lnTo>
                    <a:pt x="810" y="224"/>
                  </a:lnTo>
                  <a:lnTo>
                    <a:pt x="805" y="229"/>
                  </a:lnTo>
                  <a:lnTo>
                    <a:pt x="805" y="234"/>
                  </a:lnTo>
                  <a:lnTo>
                    <a:pt x="800" y="238"/>
                  </a:lnTo>
                  <a:lnTo>
                    <a:pt x="800" y="243"/>
                  </a:lnTo>
                  <a:lnTo>
                    <a:pt x="796" y="243"/>
                  </a:lnTo>
                  <a:lnTo>
                    <a:pt x="796" y="243"/>
                  </a:lnTo>
                  <a:lnTo>
                    <a:pt x="796" y="247"/>
                  </a:lnTo>
                  <a:lnTo>
                    <a:pt x="791" y="252"/>
                  </a:lnTo>
                  <a:lnTo>
                    <a:pt x="791" y="252"/>
                  </a:lnTo>
                  <a:lnTo>
                    <a:pt x="791" y="256"/>
                  </a:lnTo>
                  <a:lnTo>
                    <a:pt x="791" y="261"/>
                  </a:lnTo>
                  <a:lnTo>
                    <a:pt x="791" y="266"/>
                  </a:lnTo>
                  <a:lnTo>
                    <a:pt x="791" y="270"/>
                  </a:lnTo>
                  <a:lnTo>
                    <a:pt x="787" y="270"/>
                  </a:lnTo>
                  <a:lnTo>
                    <a:pt x="782" y="275"/>
                  </a:lnTo>
                  <a:lnTo>
                    <a:pt x="778" y="275"/>
                  </a:lnTo>
                  <a:lnTo>
                    <a:pt x="778" y="279"/>
                  </a:lnTo>
                  <a:lnTo>
                    <a:pt x="773" y="284"/>
                  </a:lnTo>
                  <a:lnTo>
                    <a:pt x="773" y="288"/>
                  </a:lnTo>
                  <a:lnTo>
                    <a:pt x="768" y="293"/>
                  </a:lnTo>
                  <a:lnTo>
                    <a:pt x="768" y="293"/>
                  </a:lnTo>
                  <a:lnTo>
                    <a:pt x="759" y="293"/>
                  </a:lnTo>
                  <a:lnTo>
                    <a:pt x="755" y="298"/>
                  </a:lnTo>
                  <a:lnTo>
                    <a:pt x="750" y="298"/>
                  </a:lnTo>
                  <a:lnTo>
                    <a:pt x="741" y="298"/>
                  </a:lnTo>
                  <a:lnTo>
                    <a:pt x="736" y="298"/>
                  </a:lnTo>
                  <a:lnTo>
                    <a:pt x="736" y="298"/>
                  </a:lnTo>
                  <a:lnTo>
                    <a:pt x="732" y="302"/>
                  </a:lnTo>
                  <a:lnTo>
                    <a:pt x="727" y="311"/>
                  </a:lnTo>
                  <a:lnTo>
                    <a:pt x="723" y="311"/>
                  </a:lnTo>
                  <a:lnTo>
                    <a:pt x="718" y="320"/>
                  </a:lnTo>
                  <a:lnTo>
                    <a:pt x="709" y="330"/>
                  </a:lnTo>
                  <a:lnTo>
                    <a:pt x="709" y="334"/>
                  </a:lnTo>
                  <a:lnTo>
                    <a:pt x="709" y="339"/>
                  </a:lnTo>
                  <a:lnTo>
                    <a:pt x="709" y="339"/>
                  </a:lnTo>
                  <a:lnTo>
                    <a:pt x="714" y="343"/>
                  </a:lnTo>
                  <a:lnTo>
                    <a:pt x="714" y="348"/>
                  </a:lnTo>
                  <a:lnTo>
                    <a:pt x="718" y="348"/>
                  </a:lnTo>
                  <a:lnTo>
                    <a:pt x="718" y="348"/>
                  </a:lnTo>
                  <a:lnTo>
                    <a:pt x="718" y="352"/>
                  </a:lnTo>
                  <a:lnTo>
                    <a:pt x="718" y="352"/>
                  </a:lnTo>
                  <a:lnTo>
                    <a:pt x="718" y="357"/>
                  </a:lnTo>
                  <a:lnTo>
                    <a:pt x="718" y="362"/>
                  </a:lnTo>
                  <a:lnTo>
                    <a:pt x="714" y="371"/>
                  </a:lnTo>
                  <a:lnTo>
                    <a:pt x="709" y="371"/>
                  </a:lnTo>
                  <a:lnTo>
                    <a:pt x="704" y="375"/>
                  </a:lnTo>
                  <a:lnTo>
                    <a:pt x="700" y="375"/>
                  </a:lnTo>
                  <a:lnTo>
                    <a:pt x="700" y="380"/>
                  </a:lnTo>
                  <a:lnTo>
                    <a:pt x="700" y="384"/>
                  </a:lnTo>
                  <a:lnTo>
                    <a:pt x="700" y="384"/>
                  </a:lnTo>
                  <a:lnTo>
                    <a:pt x="700" y="389"/>
                  </a:lnTo>
                  <a:lnTo>
                    <a:pt x="700" y="389"/>
                  </a:lnTo>
                  <a:lnTo>
                    <a:pt x="704" y="389"/>
                  </a:lnTo>
                  <a:lnTo>
                    <a:pt x="704" y="394"/>
                  </a:lnTo>
                  <a:lnTo>
                    <a:pt x="704" y="398"/>
                  </a:lnTo>
                  <a:lnTo>
                    <a:pt x="704" y="398"/>
                  </a:lnTo>
                  <a:lnTo>
                    <a:pt x="709" y="398"/>
                  </a:lnTo>
                  <a:lnTo>
                    <a:pt x="714" y="403"/>
                  </a:lnTo>
                  <a:lnTo>
                    <a:pt x="718" y="403"/>
                  </a:lnTo>
                  <a:lnTo>
                    <a:pt x="718" y="403"/>
                  </a:lnTo>
                  <a:lnTo>
                    <a:pt x="723" y="407"/>
                  </a:lnTo>
                  <a:lnTo>
                    <a:pt x="723" y="412"/>
                  </a:lnTo>
                  <a:lnTo>
                    <a:pt x="727" y="412"/>
                  </a:lnTo>
                  <a:lnTo>
                    <a:pt x="727" y="416"/>
                  </a:lnTo>
                  <a:lnTo>
                    <a:pt x="727" y="416"/>
                  </a:lnTo>
                  <a:lnTo>
                    <a:pt x="723" y="421"/>
                  </a:lnTo>
                  <a:lnTo>
                    <a:pt x="723" y="426"/>
                  </a:lnTo>
                  <a:lnTo>
                    <a:pt x="718" y="430"/>
                  </a:lnTo>
                  <a:lnTo>
                    <a:pt x="714" y="435"/>
                  </a:lnTo>
                  <a:lnTo>
                    <a:pt x="714" y="435"/>
                  </a:lnTo>
                  <a:lnTo>
                    <a:pt x="714" y="439"/>
                  </a:lnTo>
                  <a:lnTo>
                    <a:pt x="714" y="444"/>
                  </a:lnTo>
                  <a:lnTo>
                    <a:pt x="714" y="448"/>
                  </a:lnTo>
                  <a:lnTo>
                    <a:pt x="714" y="453"/>
                  </a:lnTo>
                  <a:lnTo>
                    <a:pt x="709" y="453"/>
                  </a:lnTo>
                  <a:lnTo>
                    <a:pt x="709" y="458"/>
                  </a:lnTo>
                  <a:lnTo>
                    <a:pt x="714" y="462"/>
                  </a:lnTo>
                  <a:lnTo>
                    <a:pt x="714" y="467"/>
                  </a:lnTo>
                  <a:lnTo>
                    <a:pt x="709" y="467"/>
                  </a:lnTo>
                  <a:lnTo>
                    <a:pt x="709" y="467"/>
                  </a:lnTo>
                  <a:lnTo>
                    <a:pt x="704" y="471"/>
                  </a:lnTo>
                  <a:lnTo>
                    <a:pt x="704" y="471"/>
                  </a:lnTo>
                  <a:lnTo>
                    <a:pt x="709" y="476"/>
                  </a:lnTo>
                  <a:lnTo>
                    <a:pt x="709" y="476"/>
                  </a:lnTo>
                  <a:lnTo>
                    <a:pt x="709" y="480"/>
                  </a:lnTo>
                  <a:lnTo>
                    <a:pt x="704" y="480"/>
                  </a:lnTo>
                  <a:lnTo>
                    <a:pt x="704" y="480"/>
                  </a:lnTo>
                  <a:lnTo>
                    <a:pt x="709" y="485"/>
                  </a:lnTo>
                  <a:lnTo>
                    <a:pt x="704" y="485"/>
                  </a:lnTo>
                  <a:lnTo>
                    <a:pt x="709" y="490"/>
                  </a:lnTo>
                  <a:lnTo>
                    <a:pt x="709" y="490"/>
                  </a:lnTo>
                  <a:lnTo>
                    <a:pt x="709" y="494"/>
                  </a:lnTo>
                  <a:lnTo>
                    <a:pt x="704" y="494"/>
                  </a:lnTo>
                  <a:lnTo>
                    <a:pt x="704" y="499"/>
                  </a:lnTo>
                  <a:lnTo>
                    <a:pt x="704" y="503"/>
                  </a:lnTo>
                  <a:lnTo>
                    <a:pt x="700" y="503"/>
                  </a:lnTo>
                  <a:lnTo>
                    <a:pt x="700" y="508"/>
                  </a:lnTo>
                  <a:lnTo>
                    <a:pt x="700" y="512"/>
                  </a:lnTo>
                  <a:lnTo>
                    <a:pt x="695" y="512"/>
                  </a:lnTo>
                  <a:lnTo>
                    <a:pt x="691" y="512"/>
                  </a:lnTo>
                  <a:lnTo>
                    <a:pt x="691" y="512"/>
                  </a:lnTo>
                  <a:lnTo>
                    <a:pt x="686" y="517"/>
                  </a:lnTo>
                  <a:lnTo>
                    <a:pt x="682" y="517"/>
                  </a:lnTo>
                  <a:lnTo>
                    <a:pt x="682" y="522"/>
                  </a:lnTo>
                  <a:lnTo>
                    <a:pt x="682" y="522"/>
                  </a:lnTo>
                  <a:lnTo>
                    <a:pt x="677" y="522"/>
                  </a:lnTo>
                  <a:lnTo>
                    <a:pt x="672" y="522"/>
                  </a:lnTo>
                  <a:lnTo>
                    <a:pt x="672" y="522"/>
                  </a:lnTo>
                  <a:lnTo>
                    <a:pt x="668" y="522"/>
                  </a:lnTo>
                  <a:lnTo>
                    <a:pt x="663" y="522"/>
                  </a:lnTo>
                  <a:lnTo>
                    <a:pt x="663" y="522"/>
                  </a:lnTo>
                  <a:lnTo>
                    <a:pt x="659" y="522"/>
                  </a:lnTo>
                  <a:lnTo>
                    <a:pt x="654" y="522"/>
                  </a:lnTo>
                  <a:lnTo>
                    <a:pt x="650" y="526"/>
                  </a:lnTo>
                  <a:lnTo>
                    <a:pt x="640" y="522"/>
                  </a:lnTo>
                  <a:lnTo>
                    <a:pt x="640" y="526"/>
                  </a:lnTo>
                  <a:lnTo>
                    <a:pt x="636" y="526"/>
                  </a:lnTo>
                  <a:lnTo>
                    <a:pt x="636" y="526"/>
                  </a:lnTo>
                  <a:lnTo>
                    <a:pt x="636" y="526"/>
                  </a:lnTo>
                  <a:lnTo>
                    <a:pt x="631" y="526"/>
                  </a:lnTo>
                  <a:lnTo>
                    <a:pt x="631" y="526"/>
                  </a:lnTo>
                  <a:lnTo>
                    <a:pt x="622" y="531"/>
                  </a:lnTo>
                  <a:lnTo>
                    <a:pt x="618" y="540"/>
                  </a:lnTo>
                  <a:lnTo>
                    <a:pt x="613" y="540"/>
                  </a:lnTo>
                  <a:lnTo>
                    <a:pt x="613" y="540"/>
                  </a:lnTo>
                  <a:lnTo>
                    <a:pt x="608" y="540"/>
                  </a:lnTo>
                  <a:lnTo>
                    <a:pt x="608" y="540"/>
                  </a:lnTo>
                  <a:lnTo>
                    <a:pt x="604" y="540"/>
                  </a:lnTo>
                  <a:lnTo>
                    <a:pt x="604" y="544"/>
                  </a:lnTo>
                  <a:lnTo>
                    <a:pt x="599" y="549"/>
                  </a:lnTo>
                  <a:lnTo>
                    <a:pt x="595" y="549"/>
                  </a:lnTo>
                  <a:lnTo>
                    <a:pt x="590" y="554"/>
                  </a:lnTo>
                  <a:lnTo>
                    <a:pt x="590" y="558"/>
                  </a:lnTo>
                  <a:lnTo>
                    <a:pt x="581" y="563"/>
                  </a:lnTo>
                  <a:lnTo>
                    <a:pt x="576" y="563"/>
                  </a:lnTo>
                  <a:lnTo>
                    <a:pt x="567" y="567"/>
                  </a:lnTo>
                  <a:lnTo>
                    <a:pt x="567" y="567"/>
                  </a:lnTo>
                  <a:lnTo>
                    <a:pt x="563" y="572"/>
                  </a:lnTo>
                  <a:lnTo>
                    <a:pt x="563" y="572"/>
                  </a:lnTo>
                  <a:lnTo>
                    <a:pt x="558" y="572"/>
                  </a:lnTo>
                  <a:lnTo>
                    <a:pt x="563" y="576"/>
                  </a:lnTo>
                  <a:lnTo>
                    <a:pt x="558" y="576"/>
                  </a:lnTo>
                  <a:lnTo>
                    <a:pt x="563" y="581"/>
                  </a:lnTo>
                  <a:lnTo>
                    <a:pt x="563" y="581"/>
                  </a:lnTo>
                  <a:lnTo>
                    <a:pt x="576" y="581"/>
                  </a:lnTo>
                  <a:lnTo>
                    <a:pt x="576" y="586"/>
                  </a:lnTo>
                  <a:lnTo>
                    <a:pt x="576" y="586"/>
                  </a:lnTo>
                  <a:lnTo>
                    <a:pt x="581" y="590"/>
                  </a:lnTo>
                  <a:lnTo>
                    <a:pt x="576" y="595"/>
                  </a:lnTo>
                  <a:lnTo>
                    <a:pt x="576" y="599"/>
                  </a:lnTo>
                  <a:lnTo>
                    <a:pt x="576" y="608"/>
                  </a:lnTo>
                  <a:lnTo>
                    <a:pt x="576" y="618"/>
                  </a:lnTo>
                  <a:lnTo>
                    <a:pt x="576" y="618"/>
                  </a:lnTo>
                  <a:lnTo>
                    <a:pt x="581" y="622"/>
                  </a:lnTo>
                  <a:lnTo>
                    <a:pt x="581" y="631"/>
                  </a:lnTo>
                  <a:lnTo>
                    <a:pt x="576" y="636"/>
                  </a:lnTo>
                  <a:lnTo>
                    <a:pt x="572" y="640"/>
                  </a:lnTo>
                  <a:lnTo>
                    <a:pt x="572" y="640"/>
                  </a:lnTo>
                  <a:lnTo>
                    <a:pt x="572" y="640"/>
                  </a:lnTo>
                  <a:lnTo>
                    <a:pt x="572" y="640"/>
                  </a:lnTo>
                  <a:lnTo>
                    <a:pt x="572" y="645"/>
                  </a:lnTo>
                  <a:lnTo>
                    <a:pt x="572" y="650"/>
                  </a:lnTo>
                  <a:lnTo>
                    <a:pt x="572" y="654"/>
                  </a:lnTo>
                  <a:lnTo>
                    <a:pt x="572" y="659"/>
                  </a:lnTo>
                  <a:lnTo>
                    <a:pt x="567" y="663"/>
                  </a:lnTo>
                  <a:lnTo>
                    <a:pt x="572" y="663"/>
                  </a:lnTo>
                  <a:lnTo>
                    <a:pt x="572" y="663"/>
                  </a:lnTo>
                  <a:lnTo>
                    <a:pt x="572" y="668"/>
                  </a:lnTo>
                  <a:lnTo>
                    <a:pt x="572" y="668"/>
                  </a:lnTo>
                  <a:lnTo>
                    <a:pt x="576" y="672"/>
                  </a:lnTo>
                  <a:lnTo>
                    <a:pt x="576" y="672"/>
                  </a:lnTo>
                  <a:lnTo>
                    <a:pt x="572" y="677"/>
                  </a:lnTo>
                  <a:lnTo>
                    <a:pt x="572" y="677"/>
                  </a:lnTo>
                  <a:lnTo>
                    <a:pt x="572" y="682"/>
                  </a:lnTo>
                  <a:lnTo>
                    <a:pt x="572" y="686"/>
                  </a:lnTo>
                  <a:lnTo>
                    <a:pt x="572" y="691"/>
                  </a:lnTo>
                  <a:lnTo>
                    <a:pt x="567" y="695"/>
                  </a:lnTo>
                  <a:lnTo>
                    <a:pt x="567" y="700"/>
                  </a:lnTo>
                  <a:lnTo>
                    <a:pt x="567" y="700"/>
                  </a:lnTo>
                  <a:lnTo>
                    <a:pt x="567" y="705"/>
                  </a:lnTo>
                  <a:lnTo>
                    <a:pt x="567" y="705"/>
                  </a:lnTo>
                  <a:lnTo>
                    <a:pt x="567" y="709"/>
                  </a:lnTo>
                  <a:lnTo>
                    <a:pt x="563" y="718"/>
                  </a:lnTo>
                  <a:lnTo>
                    <a:pt x="558" y="723"/>
                  </a:lnTo>
                  <a:lnTo>
                    <a:pt x="558" y="727"/>
                  </a:lnTo>
                  <a:lnTo>
                    <a:pt x="558" y="727"/>
                  </a:lnTo>
                  <a:lnTo>
                    <a:pt x="554" y="737"/>
                  </a:lnTo>
                  <a:lnTo>
                    <a:pt x="549" y="741"/>
                  </a:lnTo>
                  <a:lnTo>
                    <a:pt x="540" y="746"/>
                  </a:lnTo>
                  <a:lnTo>
                    <a:pt x="540" y="746"/>
                  </a:lnTo>
                  <a:lnTo>
                    <a:pt x="535" y="750"/>
                  </a:lnTo>
                  <a:lnTo>
                    <a:pt x="535" y="755"/>
                  </a:lnTo>
                  <a:lnTo>
                    <a:pt x="540" y="759"/>
                  </a:lnTo>
                  <a:lnTo>
                    <a:pt x="540" y="759"/>
                  </a:lnTo>
                  <a:lnTo>
                    <a:pt x="540" y="759"/>
                  </a:lnTo>
                  <a:lnTo>
                    <a:pt x="540" y="764"/>
                  </a:lnTo>
                  <a:lnTo>
                    <a:pt x="535" y="773"/>
                  </a:lnTo>
                  <a:lnTo>
                    <a:pt x="535" y="773"/>
                  </a:lnTo>
                  <a:lnTo>
                    <a:pt x="535" y="778"/>
                  </a:lnTo>
                  <a:lnTo>
                    <a:pt x="535" y="782"/>
                  </a:lnTo>
                  <a:lnTo>
                    <a:pt x="540" y="782"/>
                  </a:lnTo>
                  <a:lnTo>
                    <a:pt x="540" y="791"/>
                  </a:lnTo>
                  <a:lnTo>
                    <a:pt x="544" y="796"/>
                  </a:lnTo>
                  <a:lnTo>
                    <a:pt x="544" y="796"/>
                  </a:lnTo>
                  <a:lnTo>
                    <a:pt x="540" y="805"/>
                  </a:lnTo>
                  <a:lnTo>
                    <a:pt x="535" y="810"/>
                  </a:lnTo>
                  <a:lnTo>
                    <a:pt x="535" y="810"/>
                  </a:lnTo>
                  <a:lnTo>
                    <a:pt x="531" y="810"/>
                  </a:lnTo>
                  <a:lnTo>
                    <a:pt x="526" y="810"/>
                  </a:lnTo>
                  <a:lnTo>
                    <a:pt x="522" y="810"/>
                  </a:lnTo>
                  <a:lnTo>
                    <a:pt x="517" y="810"/>
                  </a:lnTo>
                  <a:lnTo>
                    <a:pt x="517" y="810"/>
                  </a:lnTo>
                  <a:lnTo>
                    <a:pt x="517" y="810"/>
                  </a:lnTo>
                  <a:lnTo>
                    <a:pt x="512" y="810"/>
                  </a:lnTo>
                  <a:lnTo>
                    <a:pt x="512" y="814"/>
                  </a:lnTo>
                  <a:lnTo>
                    <a:pt x="508" y="819"/>
                  </a:lnTo>
                  <a:lnTo>
                    <a:pt x="508" y="819"/>
                  </a:lnTo>
                  <a:lnTo>
                    <a:pt x="508" y="828"/>
                  </a:lnTo>
                  <a:lnTo>
                    <a:pt x="508" y="833"/>
                  </a:lnTo>
                  <a:lnTo>
                    <a:pt x="508" y="837"/>
                  </a:lnTo>
                  <a:lnTo>
                    <a:pt x="499" y="842"/>
                  </a:lnTo>
                  <a:lnTo>
                    <a:pt x="499" y="842"/>
                  </a:lnTo>
                  <a:lnTo>
                    <a:pt x="499" y="851"/>
                  </a:lnTo>
                  <a:lnTo>
                    <a:pt x="499" y="851"/>
                  </a:lnTo>
                  <a:lnTo>
                    <a:pt x="494" y="851"/>
                  </a:lnTo>
                  <a:lnTo>
                    <a:pt x="494" y="851"/>
                  </a:lnTo>
                  <a:lnTo>
                    <a:pt x="490" y="855"/>
                  </a:lnTo>
                  <a:lnTo>
                    <a:pt x="490" y="855"/>
                  </a:lnTo>
                  <a:lnTo>
                    <a:pt x="485" y="851"/>
                  </a:lnTo>
                  <a:lnTo>
                    <a:pt x="480" y="855"/>
                  </a:lnTo>
                  <a:lnTo>
                    <a:pt x="476" y="860"/>
                  </a:lnTo>
                  <a:lnTo>
                    <a:pt x="462" y="869"/>
                  </a:lnTo>
                  <a:lnTo>
                    <a:pt x="458" y="869"/>
                  </a:lnTo>
                  <a:lnTo>
                    <a:pt x="458" y="869"/>
                  </a:lnTo>
                  <a:lnTo>
                    <a:pt x="453" y="869"/>
                  </a:lnTo>
                  <a:lnTo>
                    <a:pt x="453" y="869"/>
                  </a:lnTo>
                  <a:lnTo>
                    <a:pt x="448" y="869"/>
                  </a:lnTo>
                  <a:lnTo>
                    <a:pt x="439" y="865"/>
                  </a:lnTo>
                  <a:lnTo>
                    <a:pt x="435" y="865"/>
                  </a:lnTo>
                  <a:lnTo>
                    <a:pt x="426" y="860"/>
                  </a:lnTo>
                  <a:lnTo>
                    <a:pt x="421" y="860"/>
                  </a:lnTo>
                  <a:lnTo>
                    <a:pt x="416" y="860"/>
                  </a:lnTo>
                  <a:lnTo>
                    <a:pt x="416" y="865"/>
                  </a:lnTo>
                  <a:lnTo>
                    <a:pt x="416" y="865"/>
                  </a:lnTo>
                  <a:lnTo>
                    <a:pt x="416" y="865"/>
                  </a:lnTo>
                  <a:lnTo>
                    <a:pt x="412" y="869"/>
                  </a:lnTo>
                  <a:lnTo>
                    <a:pt x="416" y="874"/>
                  </a:lnTo>
                  <a:lnTo>
                    <a:pt x="412" y="874"/>
                  </a:lnTo>
                  <a:lnTo>
                    <a:pt x="412" y="878"/>
                  </a:lnTo>
                  <a:lnTo>
                    <a:pt x="412" y="878"/>
                  </a:lnTo>
                  <a:lnTo>
                    <a:pt x="407" y="878"/>
                  </a:lnTo>
                  <a:lnTo>
                    <a:pt x="407" y="883"/>
                  </a:lnTo>
                  <a:lnTo>
                    <a:pt x="403" y="887"/>
                  </a:lnTo>
                  <a:lnTo>
                    <a:pt x="403" y="887"/>
                  </a:lnTo>
                  <a:lnTo>
                    <a:pt x="403" y="892"/>
                  </a:lnTo>
                  <a:lnTo>
                    <a:pt x="403" y="897"/>
                  </a:lnTo>
                  <a:lnTo>
                    <a:pt x="403" y="901"/>
                  </a:lnTo>
                  <a:lnTo>
                    <a:pt x="394" y="910"/>
                  </a:lnTo>
                  <a:lnTo>
                    <a:pt x="394" y="915"/>
                  </a:lnTo>
                  <a:lnTo>
                    <a:pt x="389" y="915"/>
                  </a:lnTo>
                  <a:lnTo>
                    <a:pt x="389" y="915"/>
                  </a:lnTo>
                  <a:lnTo>
                    <a:pt x="380" y="915"/>
                  </a:lnTo>
                  <a:lnTo>
                    <a:pt x="380" y="915"/>
                  </a:lnTo>
                  <a:lnTo>
                    <a:pt x="375" y="915"/>
                  </a:lnTo>
                  <a:lnTo>
                    <a:pt x="371" y="919"/>
                  </a:lnTo>
                  <a:lnTo>
                    <a:pt x="371" y="919"/>
                  </a:lnTo>
                  <a:lnTo>
                    <a:pt x="371" y="919"/>
                  </a:lnTo>
                  <a:lnTo>
                    <a:pt x="366" y="924"/>
                  </a:lnTo>
                  <a:lnTo>
                    <a:pt x="357" y="919"/>
                  </a:lnTo>
                  <a:lnTo>
                    <a:pt x="352" y="919"/>
                  </a:lnTo>
                  <a:lnTo>
                    <a:pt x="352" y="919"/>
                  </a:lnTo>
                  <a:lnTo>
                    <a:pt x="343" y="924"/>
                  </a:lnTo>
                  <a:lnTo>
                    <a:pt x="343" y="924"/>
                  </a:lnTo>
                  <a:lnTo>
                    <a:pt x="343" y="924"/>
                  </a:lnTo>
                  <a:lnTo>
                    <a:pt x="343" y="929"/>
                  </a:lnTo>
                  <a:lnTo>
                    <a:pt x="339" y="929"/>
                  </a:lnTo>
                  <a:lnTo>
                    <a:pt x="334" y="929"/>
                  </a:lnTo>
                  <a:lnTo>
                    <a:pt x="330" y="929"/>
                  </a:lnTo>
                  <a:lnTo>
                    <a:pt x="330" y="933"/>
                  </a:lnTo>
                  <a:lnTo>
                    <a:pt x="325" y="933"/>
                  </a:lnTo>
                  <a:lnTo>
                    <a:pt x="325" y="942"/>
                  </a:lnTo>
                  <a:lnTo>
                    <a:pt x="320" y="956"/>
                  </a:lnTo>
                  <a:lnTo>
                    <a:pt x="320" y="961"/>
                  </a:lnTo>
                  <a:lnTo>
                    <a:pt x="325" y="961"/>
                  </a:lnTo>
                  <a:lnTo>
                    <a:pt x="325" y="965"/>
                  </a:lnTo>
                  <a:lnTo>
                    <a:pt x="325" y="974"/>
                  </a:lnTo>
                  <a:lnTo>
                    <a:pt x="330" y="979"/>
                  </a:lnTo>
                  <a:lnTo>
                    <a:pt x="330" y="993"/>
                  </a:lnTo>
                  <a:lnTo>
                    <a:pt x="334" y="1011"/>
                  </a:lnTo>
                  <a:lnTo>
                    <a:pt x="334" y="1025"/>
                  </a:lnTo>
                  <a:lnTo>
                    <a:pt x="334" y="1034"/>
                  </a:lnTo>
                  <a:lnTo>
                    <a:pt x="334" y="1034"/>
                  </a:lnTo>
                  <a:lnTo>
                    <a:pt x="330" y="1034"/>
                  </a:lnTo>
                  <a:lnTo>
                    <a:pt x="330" y="1043"/>
                  </a:lnTo>
                  <a:lnTo>
                    <a:pt x="325" y="1047"/>
                  </a:lnTo>
                  <a:lnTo>
                    <a:pt x="320" y="1052"/>
                  </a:lnTo>
                  <a:lnTo>
                    <a:pt x="316" y="1057"/>
                  </a:lnTo>
                  <a:lnTo>
                    <a:pt x="316" y="1061"/>
                  </a:lnTo>
                  <a:lnTo>
                    <a:pt x="316" y="1061"/>
                  </a:lnTo>
                  <a:lnTo>
                    <a:pt x="316" y="1070"/>
                  </a:lnTo>
                  <a:lnTo>
                    <a:pt x="316" y="1070"/>
                  </a:lnTo>
                  <a:lnTo>
                    <a:pt x="320" y="1079"/>
                  </a:lnTo>
                  <a:lnTo>
                    <a:pt x="316" y="1084"/>
                  </a:lnTo>
                  <a:lnTo>
                    <a:pt x="316" y="1089"/>
                  </a:lnTo>
                  <a:lnTo>
                    <a:pt x="320" y="1089"/>
                  </a:lnTo>
                  <a:lnTo>
                    <a:pt x="320" y="1093"/>
                  </a:lnTo>
                  <a:lnTo>
                    <a:pt x="320" y="1093"/>
                  </a:lnTo>
                  <a:lnTo>
                    <a:pt x="320" y="1098"/>
                  </a:lnTo>
                  <a:lnTo>
                    <a:pt x="320" y="1102"/>
                  </a:lnTo>
                  <a:lnTo>
                    <a:pt x="316" y="1107"/>
                  </a:lnTo>
                  <a:lnTo>
                    <a:pt x="311" y="1111"/>
                  </a:lnTo>
                  <a:lnTo>
                    <a:pt x="311" y="1116"/>
                  </a:lnTo>
                  <a:lnTo>
                    <a:pt x="311" y="1121"/>
                  </a:lnTo>
                  <a:lnTo>
                    <a:pt x="307" y="1121"/>
                  </a:lnTo>
                  <a:lnTo>
                    <a:pt x="307" y="1121"/>
                  </a:lnTo>
                  <a:lnTo>
                    <a:pt x="302" y="1125"/>
                  </a:lnTo>
                  <a:lnTo>
                    <a:pt x="302" y="1125"/>
                  </a:lnTo>
                  <a:lnTo>
                    <a:pt x="298" y="1130"/>
                  </a:lnTo>
                  <a:lnTo>
                    <a:pt x="298" y="1134"/>
                  </a:lnTo>
                  <a:lnTo>
                    <a:pt x="293" y="1139"/>
                  </a:lnTo>
                  <a:lnTo>
                    <a:pt x="288" y="1143"/>
                  </a:lnTo>
                  <a:lnTo>
                    <a:pt x="288" y="1148"/>
                  </a:lnTo>
                  <a:lnTo>
                    <a:pt x="279" y="1153"/>
                  </a:lnTo>
                  <a:lnTo>
                    <a:pt x="275" y="1157"/>
                  </a:lnTo>
                  <a:lnTo>
                    <a:pt x="270" y="1162"/>
                  </a:lnTo>
                  <a:lnTo>
                    <a:pt x="270" y="1171"/>
                  </a:lnTo>
                  <a:lnTo>
                    <a:pt x="266" y="1175"/>
                  </a:lnTo>
                  <a:lnTo>
                    <a:pt x="266" y="1175"/>
                  </a:lnTo>
                  <a:lnTo>
                    <a:pt x="261" y="1175"/>
                  </a:lnTo>
                  <a:lnTo>
                    <a:pt x="261" y="1180"/>
                  </a:lnTo>
                  <a:lnTo>
                    <a:pt x="261" y="1185"/>
                  </a:lnTo>
                  <a:lnTo>
                    <a:pt x="261" y="1189"/>
                  </a:lnTo>
                  <a:lnTo>
                    <a:pt x="256" y="1194"/>
                  </a:lnTo>
                  <a:lnTo>
                    <a:pt x="256" y="1194"/>
                  </a:lnTo>
                  <a:lnTo>
                    <a:pt x="252" y="1198"/>
                  </a:lnTo>
                  <a:lnTo>
                    <a:pt x="252" y="1203"/>
                  </a:lnTo>
                  <a:lnTo>
                    <a:pt x="252" y="1207"/>
                  </a:lnTo>
                  <a:lnTo>
                    <a:pt x="252" y="1217"/>
                  </a:lnTo>
                  <a:lnTo>
                    <a:pt x="252" y="1221"/>
                  </a:lnTo>
                  <a:lnTo>
                    <a:pt x="247" y="1221"/>
                  </a:lnTo>
                  <a:lnTo>
                    <a:pt x="247" y="1221"/>
                  </a:lnTo>
                  <a:lnTo>
                    <a:pt x="243" y="1226"/>
                  </a:lnTo>
                  <a:lnTo>
                    <a:pt x="243" y="1230"/>
                  </a:lnTo>
                  <a:lnTo>
                    <a:pt x="247" y="1235"/>
                  </a:lnTo>
                  <a:lnTo>
                    <a:pt x="247" y="1249"/>
                  </a:lnTo>
                  <a:lnTo>
                    <a:pt x="247" y="1258"/>
                  </a:lnTo>
                  <a:lnTo>
                    <a:pt x="247" y="1267"/>
                  </a:lnTo>
                  <a:lnTo>
                    <a:pt x="247" y="1271"/>
                  </a:lnTo>
                  <a:lnTo>
                    <a:pt x="252" y="1276"/>
                  </a:lnTo>
                  <a:lnTo>
                    <a:pt x="243" y="1281"/>
                  </a:lnTo>
                  <a:lnTo>
                    <a:pt x="238" y="1281"/>
                  </a:lnTo>
                  <a:lnTo>
                    <a:pt x="238" y="1285"/>
                  </a:lnTo>
                  <a:lnTo>
                    <a:pt x="234" y="1285"/>
                  </a:lnTo>
                  <a:lnTo>
                    <a:pt x="224" y="1285"/>
                  </a:lnTo>
                  <a:lnTo>
                    <a:pt x="220" y="1290"/>
                  </a:lnTo>
                  <a:lnTo>
                    <a:pt x="220" y="1290"/>
                  </a:lnTo>
                  <a:lnTo>
                    <a:pt x="211" y="1299"/>
                  </a:lnTo>
                  <a:lnTo>
                    <a:pt x="206" y="1303"/>
                  </a:lnTo>
                  <a:lnTo>
                    <a:pt x="202" y="1313"/>
                  </a:lnTo>
                  <a:lnTo>
                    <a:pt x="197" y="1313"/>
                  </a:lnTo>
                  <a:lnTo>
                    <a:pt x="197" y="1313"/>
                  </a:lnTo>
                  <a:lnTo>
                    <a:pt x="197" y="1303"/>
                  </a:lnTo>
                  <a:lnTo>
                    <a:pt x="192" y="1299"/>
                  </a:lnTo>
                  <a:lnTo>
                    <a:pt x="188" y="1290"/>
                  </a:lnTo>
                  <a:lnTo>
                    <a:pt x="188" y="1276"/>
                  </a:lnTo>
                  <a:lnTo>
                    <a:pt x="183" y="1276"/>
                  </a:lnTo>
                  <a:lnTo>
                    <a:pt x="183" y="1276"/>
                  </a:lnTo>
                  <a:lnTo>
                    <a:pt x="183" y="1271"/>
                  </a:lnTo>
                  <a:lnTo>
                    <a:pt x="179" y="1258"/>
                  </a:lnTo>
                  <a:lnTo>
                    <a:pt x="179" y="1244"/>
                  </a:lnTo>
                  <a:lnTo>
                    <a:pt x="179" y="1239"/>
                  </a:lnTo>
                  <a:lnTo>
                    <a:pt x="179" y="1235"/>
                  </a:lnTo>
                  <a:lnTo>
                    <a:pt x="179" y="1230"/>
                  </a:lnTo>
                  <a:lnTo>
                    <a:pt x="179" y="1226"/>
                  </a:lnTo>
                  <a:lnTo>
                    <a:pt x="179" y="1217"/>
                  </a:lnTo>
                  <a:lnTo>
                    <a:pt x="179" y="1212"/>
                  </a:lnTo>
                  <a:lnTo>
                    <a:pt x="179" y="1203"/>
                  </a:lnTo>
                  <a:lnTo>
                    <a:pt x="174" y="1194"/>
                  </a:lnTo>
                  <a:lnTo>
                    <a:pt x="174" y="1189"/>
                  </a:lnTo>
                  <a:lnTo>
                    <a:pt x="170" y="1189"/>
                  </a:lnTo>
                  <a:lnTo>
                    <a:pt x="165" y="1185"/>
                  </a:lnTo>
                  <a:lnTo>
                    <a:pt x="165" y="1180"/>
                  </a:lnTo>
                  <a:lnTo>
                    <a:pt x="160" y="1180"/>
                  </a:lnTo>
                  <a:lnTo>
                    <a:pt x="160" y="1175"/>
                  </a:lnTo>
                  <a:lnTo>
                    <a:pt x="156" y="1175"/>
                  </a:lnTo>
                  <a:lnTo>
                    <a:pt x="156" y="1175"/>
                  </a:lnTo>
                  <a:lnTo>
                    <a:pt x="156" y="1171"/>
                  </a:lnTo>
                  <a:lnTo>
                    <a:pt x="151" y="1171"/>
                  </a:lnTo>
                  <a:lnTo>
                    <a:pt x="142" y="1166"/>
                  </a:lnTo>
                  <a:lnTo>
                    <a:pt x="138" y="1162"/>
                  </a:lnTo>
                  <a:lnTo>
                    <a:pt x="133" y="1153"/>
                  </a:lnTo>
                  <a:lnTo>
                    <a:pt x="133" y="1153"/>
                  </a:lnTo>
                  <a:lnTo>
                    <a:pt x="133" y="1148"/>
                  </a:lnTo>
                  <a:lnTo>
                    <a:pt x="128" y="1148"/>
                  </a:lnTo>
                  <a:lnTo>
                    <a:pt x="119" y="1139"/>
                  </a:lnTo>
                  <a:lnTo>
                    <a:pt x="119" y="1134"/>
                  </a:lnTo>
                  <a:lnTo>
                    <a:pt x="115" y="1134"/>
                  </a:lnTo>
                  <a:lnTo>
                    <a:pt x="115" y="1130"/>
                  </a:lnTo>
                  <a:lnTo>
                    <a:pt x="110" y="1130"/>
                  </a:lnTo>
                  <a:lnTo>
                    <a:pt x="110" y="1125"/>
                  </a:lnTo>
                  <a:lnTo>
                    <a:pt x="106" y="1125"/>
                  </a:lnTo>
                  <a:lnTo>
                    <a:pt x="101" y="1125"/>
                  </a:lnTo>
                  <a:lnTo>
                    <a:pt x="96" y="1125"/>
                  </a:lnTo>
                  <a:lnTo>
                    <a:pt x="92" y="1125"/>
                  </a:lnTo>
                  <a:lnTo>
                    <a:pt x="92" y="1130"/>
                  </a:lnTo>
                  <a:lnTo>
                    <a:pt x="87" y="1134"/>
                  </a:lnTo>
                  <a:lnTo>
                    <a:pt x="87" y="1139"/>
                  </a:lnTo>
                  <a:lnTo>
                    <a:pt x="87" y="1143"/>
                  </a:lnTo>
                  <a:lnTo>
                    <a:pt x="83" y="1148"/>
                  </a:lnTo>
                  <a:close/>
                </a:path>
              </a:pathLst>
            </a:custGeom>
            <a:solidFill>
              <a:schemeClr val="bg2"/>
            </a:solidFill>
            <a:ln w="9525" cap="flat" cmpd="sng" algn="ctr">
              <a:solidFill>
                <a:sysClr val="window" lastClr="FFFFFF">
                  <a:lumMod val="65000"/>
                </a:sysClr>
              </a:solidFill>
              <a:prstDash val="solid"/>
            </a:ln>
            <a:effectLst/>
          </p:spPr>
          <p:txBody>
            <a:bodyPr lIns="0" tIns="0" rIns="0" bIns="0" anchor="ctr"/>
            <a:lstStyle/>
            <a:p>
              <a:pPr marL="0" marR="0" lvl="0" indent="0" defTabSz="68584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000000"/>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000000"/>
                  </a:solidFill>
                  <a:effectLst/>
                  <a:uLnTx/>
                  <a:uFillTx/>
                  <a:latin typeface="Georgia" panose="02040502050405020303" pitchFamily="18" charset="0"/>
                  <a:cs typeface="Arial" panose="020B0604020202020204" pitchFamily="34" charset="0"/>
                  <a:sym typeface="Arial"/>
                </a:rPr>
                <a:t>Adamawa</a:t>
              </a:r>
            </a:p>
          </p:txBody>
        </p:sp>
        <p:sp>
          <p:nvSpPr>
            <p:cNvPr id="127" name="Freeform 45">
              <a:extLst>
                <a:ext uri="{FF2B5EF4-FFF2-40B4-BE49-F238E27FC236}">
                  <a16:creationId xmlns:a16="http://schemas.microsoft.com/office/drawing/2014/main" id="{FB1729A5-5437-492A-87BE-0C739875283C}"/>
                </a:ext>
              </a:extLst>
            </p:cNvPr>
            <p:cNvSpPr>
              <a:spLocks noEditPoints="1"/>
            </p:cNvSpPr>
            <p:nvPr>
              <p:custDataLst>
                <p:tags r:id="rId39"/>
              </p:custDataLst>
            </p:nvPr>
          </p:nvSpPr>
          <p:spPr bwMode="auto">
            <a:xfrm>
              <a:off x="1712200" y="4004935"/>
              <a:ext cx="299783" cy="402487"/>
            </a:xfrm>
            <a:custGeom>
              <a:avLst/>
              <a:gdLst/>
              <a:ahLst/>
              <a:cxnLst>
                <a:cxn ang="0">
                  <a:pos x="320" y="265"/>
                </a:cxn>
                <a:cxn ang="0">
                  <a:pos x="329" y="275"/>
                </a:cxn>
                <a:cxn ang="0">
                  <a:pos x="338" y="339"/>
                </a:cxn>
                <a:cxn ang="0">
                  <a:pos x="343" y="348"/>
                </a:cxn>
                <a:cxn ang="0">
                  <a:pos x="334" y="357"/>
                </a:cxn>
                <a:cxn ang="0">
                  <a:pos x="338" y="339"/>
                </a:cxn>
                <a:cxn ang="0">
                  <a:pos x="46" y="371"/>
                </a:cxn>
                <a:cxn ang="0">
                  <a:pos x="41" y="343"/>
                </a:cxn>
                <a:cxn ang="0">
                  <a:pos x="46" y="316"/>
                </a:cxn>
                <a:cxn ang="0">
                  <a:pos x="41" y="293"/>
                </a:cxn>
                <a:cxn ang="0">
                  <a:pos x="28" y="275"/>
                </a:cxn>
                <a:cxn ang="0">
                  <a:pos x="18" y="265"/>
                </a:cxn>
                <a:cxn ang="0">
                  <a:pos x="18" y="247"/>
                </a:cxn>
                <a:cxn ang="0">
                  <a:pos x="9" y="229"/>
                </a:cxn>
                <a:cxn ang="0">
                  <a:pos x="23" y="211"/>
                </a:cxn>
                <a:cxn ang="0">
                  <a:pos x="9" y="206"/>
                </a:cxn>
                <a:cxn ang="0">
                  <a:pos x="9" y="192"/>
                </a:cxn>
                <a:cxn ang="0">
                  <a:pos x="28" y="165"/>
                </a:cxn>
                <a:cxn ang="0">
                  <a:pos x="28" y="128"/>
                </a:cxn>
                <a:cxn ang="0">
                  <a:pos x="41" y="101"/>
                </a:cxn>
                <a:cxn ang="0">
                  <a:pos x="28" y="83"/>
                </a:cxn>
                <a:cxn ang="0">
                  <a:pos x="69" y="78"/>
                </a:cxn>
                <a:cxn ang="0">
                  <a:pos x="60" y="51"/>
                </a:cxn>
                <a:cxn ang="0">
                  <a:pos x="87" y="28"/>
                </a:cxn>
                <a:cxn ang="0">
                  <a:pos x="110" y="0"/>
                </a:cxn>
                <a:cxn ang="0">
                  <a:pos x="128" y="37"/>
                </a:cxn>
                <a:cxn ang="0">
                  <a:pos x="160" y="64"/>
                </a:cxn>
                <a:cxn ang="0">
                  <a:pos x="146" y="78"/>
                </a:cxn>
                <a:cxn ang="0">
                  <a:pos x="174" y="92"/>
                </a:cxn>
                <a:cxn ang="0">
                  <a:pos x="206" y="101"/>
                </a:cxn>
                <a:cxn ang="0">
                  <a:pos x="242" y="124"/>
                </a:cxn>
                <a:cxn ang="0">
                  <a:pos x="247" y="174"/>
                </a:cxn>
                <a:cxn ang="0">
                  <a:pos x="297" y="215"/>
                </a:cxn>
                <a:cxn ang="0">
                  <a:pos x="316" y="261"/>
                </a:cxn>
                <a:cxn ang="0">
                  <a:pos x="311" y="265"/>
                </a:cxn>
                <a:cxn ang="0">
                  <a:pos x="320" y="284"/>
                </a:cxn>
                <a:cxn ang="0">
                  <a:pos x="334" y="297"/>
                </a:cxn>
                <a:cxn ang="0">
                  <a:pos x="334" y="307"/>
                </a:cxn>
                <a:cxn ang="0">
                  <a:pos x="334" y="325"/>
                </a:cxn>
                <a:cxn ang="0">
                  <a:pos x="338" y="334"/>
                </a:cxn>
                <a:cxn ang="0">
                  <a:pos x="329" y="348"/>
                </a:cxn>
                <a:cxn ang="0">
                  <a:pos x="325" y="361"/>
                </a:cxn>
                <a:cxn ang="0">
                  <a:pos x="320" y="375"/>
                </a:cxn>
                <a:cxn ang="0">
                  <a:pos x="293" y="375"/>
                </a:cxn>
                <a:cxn ang="0">
                  <a:pos x="256" y="375"/>
                </a:cxn>
                <a:cxn ang="0">
                  <a:pos x="210" y="375"/>
                </a:cxn>
                <a:cxn ang="0">
                  <a:pos x="188" y="375"/>
                </a:cxn>
                <a:cxn ang="0">
                  <a:pos x="142" y="384"/>
                </a:cxn>
                <a:cxn ang="0">
                  <a:pos x="124" y="389"/>
                </a:cxn>
                <a:cxn ang="0">
                  <a:pos x="92" y="393"/>
                </a:cxn>
                <a:cxn ang="0">
                  <a:pos x="87" y="393"/>
                </a:cxn>
                <a:cxn ang="0">
                  <a:pos x="69" y="398"/>
                </a:cxn>
                <a:cxn ang="0">
                  <a:pos x="64" y="398"/>
                </a:cxn>
                <a:cxn ang="0">
                  <a:pos x="55" y="384"/>
                </a:cxn>
              </a:cxnLst>
              <a:rect l="0" t="0" r="r" b="b"/>
              <a:pathLst>
                <a:path w="343" h="398">
                  <a:moveTo>
                    <a:pt x="329" y="279"/>
                  </a:moveTo>
                  <a:lnTo>
                    <a:pt x="325" y="279"/>
                  </a:lnTo>
                  <a:lnTo>
                    <a:pt x="320" y="275"/>
                  </a:lnTo>
                  <a:lnTo>
                    <a:pt x="320" y="265"/>
                  </a:lnTo>
                  <a:lnTo>
                    <a:pt x="320" y="265"/>
                  </a:lnTo>
                  <a:lnTo>
                    <a:pt x="320" y="265"/>
                  </a:lnTo>
                  <a:lnTo>
                    <a:pt x="325" y="265"/>
                  </a:lnTo>
                  <a:lnTo>
                    <a:pt x="325" y="270"/>
                  </a:lnTo>
                  <a:lnTo>
                    <a:pt x="329" y="275"/>
                  </a:lnTo>
                  <a:lnTo>
                    <a:pt x="329" y="275"/>
                  </a:lnTo>
                  <a:lnTo>
                    <a:pt x="329" y="279"/>
                  </a:lnTo>
                  <a:lnTo>
                    <a:pt x="329" y="279"/>
                  </a:lnTo>
                  <a:lnTo>
                    <a:pt x="329" y="279"/>
                  </a:lnTo>
                  <a:close/>
                  <a:moveTo>
                    <a:pt x="338" y="339"/>
                  </a:moveTo>
                  <a:lnTo>
                    <a:pt x="338" y="339"/>
                  </a:lnTo>
                  <a:lnTo>
                    <a:pt x="338" y="339"/>
                  </a:lnTo>
                  <a:lnTo>
                    <a:pt x="343" y="339"/>
                  </a:lnTo>
                  <a:lnTo>
                    <a:pt x="343" y="343"/>
                  </a:lnTo>
                  <a:lnTo>
                    <a:pt x="343" y="348"/>
                  </a:lnTo>
                  <a:lnTo>
                    <a:pt x="343" y="348"/>
                  </a:lnTo>
                  <a:lnTo>
                    <a:pt x="343" y="352"/>
                  </a:lnTo>
                  <a:lnTo>
                    <a:pt x="343" y="357"/>
                  </a:lnTo>
                  <a:lnTo>
                    <a:pt x="338" y="357"/>
                  </a:lnTo>
                  <a:lnTo>
                    <a:pt x="334" y="357"/>
                  </a:lnTo>
                  <a:lnTo>
                    <a:pt x="334" y="357"/>
                  </a:lnTo>
                  <a:lnTo>
                    <a:pt x="329" y="348"/>
                  </a:lnTo>
                  <a:lnTo>
                    <a:pt x="329" y="348"/>
                  </a:lnTo>
                  <a:lnTo>
                    <a:pt x="334" y="348"/>
                  </a:lnTo>
                  <a:lnTo>
                    <a:pt x="338" y="343"/>
                  </a:lnTo>
                  <a:lnTo>
                    <a:pt x="338" y="339"/>
                  </a:lnTo>
                  <a:lnTo>
                    <a:pt x="338" y="339"/>
                  </a:lnTo>
                  <a:close/>
                  <a:moveTo>
                    <a:pt x="55" y="384"/>
                  </a:moveTo>
                  <a:lnTo>
                    <a:pt x="50" y="384"/>
                  </a:lnTo>
                  <a:lnTo>
                    <a:pt x="46" y="380"/>
                  </a:lnTo>
                  <a:lnTo>
                    <a:pt x="46" y="371"/>
                  </a:lnTo>
                  <a:lnTo>
                    <a:pt x="46" y="366"/>
                  </a:lnTo>
                  <a:lnTo>
                    <a:pt x="46" y="357"/>
                  </a:lnTo>
                  <a:lnTo>
                    <a:pt x="41" y="357"/>
                  </a:lnTo>
                  <a:lnTo>
                    <a:pt x="41" y="343"/>
                  </a:lnTo>
                  <a:lnTo>
                    <a:pt x="41" y="343"/>
                  </a:lnTo>
                  <a:lnTo>
                    <a:pt x="41" y="339"/>
                  </a:lnTo>
                  <a:lnTo>
                    <a:pt x="41" y="329"/>
                  </a:lnTo>
                  <a:lnTo>
                    <a:pt x="41" y="325"/>
                  </a:lnTo>
                  <a:lnTo>
                    <a:pt x="41" y="320"/>
                  </a:lnTo>
                  <a:lnTo>
                    <a:pt x="46" y="316"/>
                  </a:lnTo>
                  <a:lnTo>
                    <a:pt x="46" y="311"/>
                  </a:lnTo>
                  <a:lnTo>
                    <a:pt x="46" y="307"/>
                  </a:lnTo>
                  <a:lnTo>
                    <a:pt x="46" y="302"/>
                  </a:lnTo>
                  <a:lnTo>
                    <a:pt x="46" y="302"/>
                  </a:lnTo>
                  <a:lnTo>
                    <a:pt x="41" y="293"/>
                  </a:lnTo>
                  <a:lnTo>
                    <a:pt x="41" y="288"/>
                  </a:lnTo>
                  <a:lnTo>
                    <a:pt x="37" y="279"/>
                  </a:lnTo>
                  <a:lnTo>
                    <a:pt x="37" y="279"/>
                  </a:lnTo>
                  <a:lnTo>
                    <a:pt x="32" y="275"/>
                  </a:lnTo>
                  <a:lnTo>
                    <a:pt x="28" y="275"/>
                  </a:lnTo>
                  <a:lnTo>
                    <a:pt x="28" y="270"/>
                  </a:lnTo>
                  <a:lnTo>
                    <a:pt x="23" y="270"/>
                  </a:lnTo>
                  <a:lnTo>
                    <a:pt x="23" y="265"/>
                  </a:lnTo>
                  <a:lnTo>
                    <a:pt x="18" y="265"/>
                  </a:lnTo>
                  <a:lnTo>
                    <a:pt x="18" y="265"/>
                  </a:lnTo>
                  <a:lnTo>
                    <a:pt x="9" y="261"/>
                  </a:lnTo>
                  <a:lnTo>
                    <a:pt x="14" y="256"/>
                  </a:lnTo>
                  <a:lnTo>
                    <a:pt x="18" y="256"/>
                  </a:lnTo>
                  <a:lnTo>
                    <a:pt x="18" y="252"/>
                  </a:lnTo>
                  <a:lnTo>
                    <a:pt x="18" y="247"/>
                  </a:lnTo>
                  <a:lnTo>
                    <a:pt x="18" y="243"/>
                  </a:lnTo>
                  <a:lnTo>
                    <a:pt x="18" y="238"/>
                  </a:lnTo>
                  <a:lnTo>
                    <a:pt x="14" y="233"/>
                  </a:lnTo>
                  <a:lnTo>
                    <a:pt x="5" y="229"/>
                  </a:lnTo>
                  <a:lnTo>
                    <a:pt x="9" y="229"/>
                  </a:lnTo>
                  <a:lnTo>
                    <a:pt x="9" y="224"/>
                  </a:lnTo>
                  <a:lnTo>
                    <a:pt x="14" y="224"/>
                  </a:lnTo>
                  <a:lnTo>
                    <a:pt x="18" y="220"/>
                  </a:lnTo>
                  <a:lnTo>
                    <a:pt x="18" y="211"/>
                  </a:lnTo>
                  <a:lnTo>
                    <a:pt x="23" y="211"/>
                  </a:lnTo>
                  <a:lnTo>
                    <a:pt x="28" y="206"/>
                  </a:lnTo>
                  <a:lnTo>
                    <a:pt x="28" y="206"/>
                  </a:lnTo>
                  <a:lnTo>
                    <a:pt x="23" y="201"/>
                  </a:lnTo>
                  <a:lnTo>
                    <a:pt x="18" y="206"/>
                  </a:lnTo>
                  <a:lnTo>
                    <a:pt x="9" y="206"/>
                  </a:lnTo>
                  <a:lnTo>
                    <a:pt x="5" y="206"/>
                  </a:lnTo>
                  <a:lnTo>
                    <a:pt x="0" y="201"/>
                  </a:lnTo>
                  <a:lnTo>
                    <a:pt x="5" y="201"/>
                  </a:lnTo>
                  <a:lnTo>
                    <a:pt x="5" y="197"/>
                  </a:lnTo>
                  <a:lnTo>
                    <a:pt x="9" y="192"/>
                  </a:lnTo>
                  <a:lnTo>
                    <a:pt x="14" y="192"/>
                  </a:lnTo>
                  <a:lnTo>
                    <a:pt x="18" y="188"/>
                  </a:lnTo>
                  <a:lnTo>
                    <a:pt x="18" y="183"/>
                  </a:lnTo>
                  <a:lnTo>
                    <a:pt x="23" y="174"/>
                  </a:lnTo>
                  <a:lnTo>
                    <a:pt x="28" y="165"/>
                  </a:lnTo>
                  <a:lnTo>
                    <a:pt x="32" y="151"/>
                  </a:lnTo>
                  <a:lnTo>
                    <a:pt x="28" y="147"/>
                  </a:lnTo>
                  <a:lnTo>
                    <a:pt x="28" y="142"/>
                  </a:lnTo>
                  <a:lnTo>
                    <a:pt x="28" y="137"/>
                  </a:lnTo>
                  <a:lnTo>
                    <a:pt x="28" y="128"/>
                  </a:lnTo>
                  <a:lnTo>
                    <a:pt x="28" y="119"/>
                  </a:lnTo>
                  <a:lnTo>
                    <a:pt x="28" y="115"/>
                  </a:lnTo>
                  <a:lnTo>
                    <a:pt x="32" y="101"/>
                  </a:lnTo>
                  <a:lnTo>
                    <a:pt x="37" y="101"/>
                  </a:lnTo>
                  <a:lnTo>
                    <a:pt x="41" y="101"/>
                  </a:lnTo>
                  <a:lnTo>
                    <a:pt x="41" y="101"/>
                  </a:lnTo>
                  <a:lnTo>
                    <a:pt x="37" y="96"/>
                  </a:lnTo>
                  <a:lnTo>
                    <a:pt x="32" y="92"/>
                  </a:lnTo>
                  <a:lnTo>
                    <a:pt x="28" y="87"/>
                  </a:lnTo>
                  <a:lnTo>
                    <a:pt x="28" y="83"/>
                  </a:lnTo>
                  <a:lnTo>
                    <a:pt x="32" y="83"/>
                  </a:lnTo>
                  <a:lnTo>
                    <a:pt x="32" y="83"/>
                  </a:lnTo>
                  <a:lnTo>
                    <a:pt x="41" y="83"/>
                  </a:lnTo>
                  <a:lnTo>
                    <a:pt x="60" y="78"/>
                  </a:lnTo>
                  <a:lnTo>
                    <a:pt x="69" y="78"/>
                  </a:lnTo>
                  <a:lnTo>
                    <a:pt x="73" y="73"/>
                  </a:lnTo>
                  <a:lnTo>
                    <a:pt x="73" y="69"/>
                  </a:lnTo>
                  <a:lnTo>
                    <a:pt x="69" y="60"/>
                  </a:lnTo>
                  <a:lnTo>
                    <a:pt x="60" y="60"/>
                  </a:lnTo>
                  <a:lnTo>
                    <a:pt x="60" y="51"/>
                  </a:lnTo>
                  <a:lnTo>
                    <a:pt x="64" y="41"/>
                  </a:lnTo>
                  <a:lnTo>
                    <a:pt x="69" y="37"/>
                  </a:lnTo>
                  <a:lnTo>
                    <a:pt x="73" y="37"/>
                  </a:lnTo>
                  <a:lnTo>
                    <a:pt x="82" y="37"/>
                  </a:lnTo>
                  <a:lnTo>
                    <a:pt x="87" y="28"/>
                  </a:lnTo>
                  <a:lnTo>
                    <a:pt x="96" y="23"/>
                  </a:lnTo>
                  <a:lnTo>
                    <a:pt x="96" y="14"/>
                  </a:lnTo>
                  <a:lnTo>
                    <a:pt x="96" y="9"/>
                  </a:lnTo>
                  <a:lnTo>
                    <a:pt x="101" y="0"/>
                  </a:lnTo>
                  <a:lnTo>
                    <a:pt x="110" y="0"/>
                  </a:lnTo>
                  <a:lnTo>
                    <a:pt x="114" y="5"/>
                  </a:lnTo>
                  <a:lnTo>
                    <a:pt x="119" y="9"/>
                  </a:lnTo>
                  <a:lnTo>
                    <a:pt x="124" y="19"/>
                  </a:lnTo>
                  <a:lnTo>
                    <a:pt x="128" y="28"/>
                  </a:lnTo>
                  <a:lnTo>
                    <a:pt x="128" y="37"/>
                  </a:lnTo>
                  <a:lnTo>
                    <a:pt x="142" y="46"/>
                  </a:lnTo>
                  <a:lnTo>
                    <a:pt x="146" y="55"/>
                  </a:lnTo>
                  <a:lnTo>
                    <a:pt x="151" y="60"/>
                  </a:lnTo>
                  <a:lnTo>
                    <a:pt x="156" y="60"/>
                  </a:lnTo>
                  <a:lnTo>
                    <a:pt x="160" y="64"/>
                  </a:lnTo>
                  <a:lnTo>
                    <a:pt x="160" y="73"/>
                  </a:lnTo>
                  <a:lnTo>
                    <a:pt x="156" y="73"/>
                  </a:lnTo>
                  <a:lnTo>
                    <a:pt x="151" y="73"/>
                  </a:lnTo>
                  <a:lnTo>
                    <a:pt x="146" y="73"/>
                  </a:lnTo>
                  <a:lnTo>
                    <a:pt x="146" y="78"/>
                  </a:lnTo>
                  <a:lnTo>
                    <a:pt x="146" y="83"/>
                  </a:lnTo>
                  <a:lnTo>
                    <a:pt x="151" y="83"/>
                  </a:lnTo>
                  <a:lnTo>
                    <a:pt x="156" y="83"/>
                  </a:lnTo>
                  <a:lnTo>
                    <a:pt x="165" y="87"/>
                  </a:lnTo>
                  <a:lnTo>
                    <a:pt x="174" y="92"/>
                  </a:lnTo>
                  <a:lnTo>
                    <a:pt x="174" y="96"/>
                  </a:lnTo>
                  <a:lnTo>
                    <a:pt x="183" y="101"/>
                  </a:lnTo>
                  <a:lnTo>
                    <a:pt x="188" y="101"/>
                  </a:lnTo>
                  <a:lnTo>
                    <a:pt x="197" y="101"/>
                  </a:lnTo>
                  <a:lnTo>
                    <a:pt x="206" y="101"/>
                  </a:lnTo>
                  <a:lnTo>
                    <a:pt x="215" y="101"/>
                  </a:lnTo>
                  <a:lnTo>
                    <a:pt x="229" y="101"/>
                  </a:lnTo>
                  <a:lnTo>
                    <a:pt x="238" y="105"/>
                  </a:lnTo>
                  <a:lnTo>
                    <a:pt x="242" y="119"/>
                  </a:lnTo>
                  <a:lnTo>
                    <a:pt x="242" y="124"/>
                  </a:lnTo>
                  <a:lnTo>
                    <a:pt x="238" y="137"/>
                  </a:lnTo>
                  <a:lnTo>
                    <a:pt x="238" y="142"/>
                  </a:lnTo>
                  <a:lnTo>
                    <a:pt x="238" y="147"/>
                  </a:lnTo>
                  <a:lnTo>
                    <a:pt x="238" y="160"/>
                  </a:lnTo>
                  <a:lnTo>
                    <a:pt x="247" y="174"/>
                  </a:lnTo>
                  <a:lnTo>
                    <a:pt x="261" y="192"/>
                  </a:lnTo>
                  <a:lnTo>
                    <a:pt x="270" y="206"/>
                  </a:lnTo>
                  <a:lnTo>
                    <a:pt x="274" y="206"/>
                  </a:lnTo>
                  <a:lnTo>
                    <a:pt x="284" y="211"/>
                  </a:lnTo>
                  <a:lnTo>
                    <a:pt x="297" y="215"/>
                  </a:lnTo>
                  <a:lnTo>
                    <a:pt x="297" y="220"/>
                  </a:lnTo>
                  <a:lnTo>
                    <a:pt x="316" y="243"/>
                  </a:lnTo>
                  <a:lnTo>
                    <a:pt x="320" y="256"/>
                  </a:lnTo>
                  <a:lnTo>
                    <a:pt x="316" y="261"/>
                  </a:lnTo>
                  <a:lnTo>
                    <a:pt x="316" y="261"/>
                  </a:lnTo>
                  <a:lnTo>
                    <a:pt x="311" y="261"/>
                  </a:lnTo>
                  <a:lnTo>
                    <a:pt x="316" y="265"/>
                  </a:lnTo>
                  <a:lnTo>
                    <a:pt x="316" y="265"/>
                  </a:lnTo>
                  <a:lnTo>
                    <a:pt x="311" y="270"/>
                  </a:lnTo>
                  <a:lnTo>
                    <a:pt x="311" y="265"/>
                  </a:lnTo>
                  <a:lnTo>
                    <a:pt x="306" y="270"/>
                  </a:lnTo>
                  <a:lnTo>
                    <a:pt x="311" y="275"/>
                  </a:lnTo>
                  <a:lnTo>
                    <a:pt x="316" y="279"/>
                  </a:lnTo>
                  <a:lnTo>
                    <a:pt x="316" y="279"/>
                  </a:lnTo>
                  <a:lnTo>
                    <a:pt x="320" y="284"/>
                  </a:lnTo>
                  <a:lnTo>
                    <a:pt x="320" y="284"/>
                  </a:lnTo>
                  <a:lnTo>
                    <a:pt x="329" y="288"/>
                  </a:lnTo>
                  <a:lnTo>
                    <a:pt x="334" y="293"/>
                  </a:lnTo>
                  <a:lnTo>
                    <a:pt x="334" y="297"/>
                  </a:lnTo>
                  <a:lnTo>
                    <a:pt x="334" y="297"/>
                  </a:lnTo>
                  <a:lnTo>
                    <a:pt x="334" y="302"/>
                  </a:lnTo>
                  <a:lnTo>
                    <a:pt x="334" y="307"/>
                  </a:lnTo>
                  <a:lnTo>
                    <a:pt x="329" y="307"/>
                  </a:lnTo>
                  <a:lnTo>
                    <a:pt x="334" y="307"/>
                  </a:lnTo>
                  <a:lnTo>
                    <a:pt x="334" y="307"/>
                  </a:lnTo>
                  <a:lnTo>
                    <a:pt x="329" y="307"/>
                  </a:lnTo>
                  <a:lnTo>
                    <a:pt x="334" y="307"/>
                  </a:lnTo>
                  <a:lnTo>
                    <a:pt x="334" y="307"/>
                  </a:lnTo>
                  <a:lnTo>
                    <a:pt x="338" y="311"/>
                  </a:lnTo>
                  <a:lnTo>
                    <a:pt x="334" y="325"/>
                  </a:lnTo>
                  <a:lnTo>
                    <a:pt x="334" y="329"/>
                  </a:lnTo>
                  <a:lnTo>
                    <a:pt x="334" y="329"/>
                  </a:lnTo>
                  <a:lnTo>
                    <a:pt x="334" y="329"/>
                  </a:lnTo>
                  <a:lnTo>
                    <a:pt x="334" y="334"/>
                  </a:lnTo>
                  <a:lnTo>
                    <a:pt x="338" y="334"/>
                  </a:lnTo>
                  <a:lnTo>
                    <a:pt x="338" y="339"/>
                  </a:lnTo>
                  <a:lnTo>
                    <a:pt x="334" y="343"/>
                  </a:lnTo>
                  <a:lnTo>
                    <a:pt x="334" y="348"/>
                  </a:lnTo>
                  <a:lnTo>
                    <a:pt x="334" y="348"/>
                  </a:lnTo>
                  <a:lnTo>
                    <a:pt x="329" y="348"/>
                  </a:lnTo>
                  <a:lnTo>
                    <a:pt x="329" y="348"/>
                  </a:lnTo>
                  <a:lnTo>
                    <a:pt x="329" y="352"/>
                  </a:lnTo>
                  <a:lnTo>
                    <a:pt x="329" y="357"/>
                  </a:lnTo>
                  <a:lnTo>
                    <a:pt x="325" y="361"/>
                  </a:lnTo>
                  <a:lnTo>
                    <a:pt x="325" y="361"/>
                  </a:lnTo>
                  <a:lnTo>
                    <a:pt x="325" y="361"/>
                  </a:lnTo>
                  <a:lnTo>
                    <a:pt x="325" y="361"/>
                  </a:lnTo>
                  <a:lnTo>
                    <a:pt x="320" y="371"/>
                  </a:lnTo>
                  <a:lnTo>
                    <a:pt x="320" y="375"/>
                  </a:lnTo>
                  <a:lnTo>
                    <a:pt x="320" y="375"/>
                  </a:lnTo>
                  <a:lnTo>
                    <a:pt x="320" y="375"/>
                  </a:lnTo>
                  <a:lnTo>
                    <a:pt x="316" y="375"/>
                  </a:lnTo>
                  <a:lnTo>
                    <a:pt x="306" y="375"/>
                  </a:lnTo>
                  <a:lnTo>
                    <a:pt x="302" y="375"/>
                  </a:lnTo>
                  <a:lnTo>
                    <a:pt x="293" y="375"/>
                  </a:lnTo>
                  <a:lnTo>
                    <a:pt x="293" y="375"/>
                  </a:lnTo>
                  <a:lnTo>
                    <a:pt x="288" y="375"/>
                  </a:lnTo>
                  <a:lnTo>
                    <a:pt x="270" y="375"/>
                  </a:lnTo>
                  <a:lnTo>
                    <a:pt x="261" y="375"/>
                  </a:lnTo>
                  <a:lnTo>
                    <a:pt x="256" y="375"/>
                  </a:lnTo>
                  <a:lnTo>
                    <a:pt x="229" y="375"/>
                  </a:lnTo>
                  <a:lnTo>
                    <a:pt x="220" y="375"/>
                  </a:lnTo>
                  <a:lnTo>
                    <a:pt x="215" y="375"/>
                  </a:lnTo>
                  <a:lnTo>
                    <a:pt x="210" y="375"/>
                  </a:lnTo>
                  <a:lnTo>
                    <a:pt x="210" y="375"/>
                  </a:lnTo>
                  <a:lnTo>
                    <a:pt x="210" y="375"/>
                  </a:lnTo>
                  <a:lnTo>
                    <a:pt x="206" y="375"/>
                  </a:lnTo>
                  <a:lnTo>
                    <a:pt x="201" y="375"/>
                  </a:lnTo>
                  <a:lnTo>
                    <a:pt x="192" y="375"/>
                  </a:lnTo>
                  <a:lnTo>
                    <a:pt x="188" y="375"/>
                  </a:lnTo>
                  <a:lnTo>
                    <a:pt x="188" y="375"/>
                  </a:lnTo>
                  <a:lnTo>
                    <a:pt x="188" y="380"/>
                  </a:lnTo>
                  <a:lnTo>
                    <a:pt x="174" y="380"/>
                  </a:lnTo>
                  <a:lnTo>
                    <a:pt x="169" y="380"/>
                  </a:lnTo>
                  <a:lnTo>
                    <a:pt x="142" y="384"/>
                  </a:lnTo>
                  <a:lnTo>
                    <a:pt x="137" y="384"/>
                  </a:lnTo>
                  <a:lnTo>
                    <a:pt x="133" y="384"/>
                  </a:lnTo>
                  <a:lnTo>
                    <a:pt x="128" y="384"/>
                  </a:lnTo>
                  <a:lnTo>
                    <a:pt x="128" y="384"/>
                  </a:lnTo>
                  <a:lnTo>
                    <a:pt x="124" y="389"/>
                  </a:lnTo>
                  <a:lnTo>
                    <a:pt x="105" y="389"/>
                  </a:lnTo>
                  <a:lnTo>
                    <a:pt x="101" y="389"/>
                  </a:lnTo>
                  <a:lnTo>
                    <a:pt x="96" y="389"/>
                  </a:lnTo>
                  <a:lnTo>
                    <a:pt x="92" y="393"/>
                  </a:lnTo>
                  <a:lnTo>
                    <a:pt x="92" y="393"/>
                  </a:lnTo>
                  <a:lnTo>
                    <a:pt x="87" y="393"/>
                  </a:lnTo>
                  <a:lnTo>
                    <a:pt x="87" y="389"/>
                  </a:lnTo>
                  <a:lnTo>
                    <a:pt x="87" y="389"/>
                  </a:lnTo>
                  <a:lnTo>
                    <a:pt x="87" y="393"/>
                  </a:lnTo>
                  <a:lnTo>
                    <a:pt x="87" y="393"/>
                  </a:lnTo>
                  <a:lnTo>
                    <a:pt x="82" y="393"/>
                  </a:lnTo>
                  <a:lnTo>
                    <a:pt x="73" y="398"/>
                  </a:lnTo>
                  <a:lnTo>
                    <a:pt x="73" y="398"/>
                  </a:lnTo>
                  <a:lnTo>
                    <a:pt x="69" y="398"/>
                  </a:lnTo>
                  <a:lnTo>
                    <a:pt x="69" y="398"/>
                  </a:lnTo>
                  <a:lnTo>
                    <a:pt x="64" y="398"/>
                  </a:lnTo>
                  <a:lnTo>
                    <a:pt x="64" y="398"/>
                  </a:lnTo>
                  <a:lnTo>
                    <a:pt x="64" y="398"/>
                  </a:lnTo>
                  <a:lnTo>
                    <a:pt x="64" y="398"/>
                  </a:lnTo>
                  <a:lnTo>
                    <a:pt x="64" y="398"/>
                  </a:lnTo>
                  <a:lnTo>
                    <a:pt x="64" y="393"/>
                  </a:lnTo>
                  <a:lnTo>
                    <a:pt x="60" y="393"/>
                  </a:lnTo>
                  <a:lnTo>
                    <a:pt x="60" y="389"/>
                  </a:lnTo>
                  <a:lnTo>
                    <a:pt x="55" y="389"/>
                  </a:lnTo>
                  <a:lnTo>
                    <a:pt x="55" y="384"/>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Akwa Ibom</a:t>
              </a:r>
            </a:p>
          </p:txBody>
        </p:sp>
        <p:sp>
          <p:nvSpPr>
            <p:cNvPr id="128" name="Freeform 47">
              <a:extLst>
                <a:ext uri="{FF2B5EF4-FFF2-40B4-BE49-F238E27FC236}">
                  <a16:creationId xmlns:a16="http://schemas.microsoft.com/office/drawing/2014/main" id="{D08A2B5B-FBB1-40FB-9F7A-54D17D88C7EE}"/>
                </a:ext>
              </a:extLst>
            </p:cNvPr>
            <p:cNvSpPr>
              <a:spLocks/>
            </p:cNvSpPr>
            <p:nvPr>
              <p:custDataLst>
                <p:tags r:id="rId40"/>
              </p:custDataLst>
            </p:nvPr>
          </p:nvSpPr>
          <p:spPr bwMode="auto">
            <a:xfrm>
              <a:off x="2150563" y="1337537"/>
              <a:ext cx="746631" cy="1170328"/>
            </a:xfrm>
            <a:custGeom>
              <a:avLst/>
              <a:gdLst/>
              <a:ahLst/>
              <a:cxnLst>
                <a:cxn ang="0">
                  <a:pos x="599" y="517"/>
                </a:cxn>
                <a:cxn ang="0">
                  <a:pos x="549" y="494"/>
                </a:cxn>
                <a:cxn ang="0">
                  <a:pos x="448" y="467"/>
                </a:cxn>
                <a:cxn ang="0">
                  <a:pos x="416" y="416"/>
                </a:cxn>
                <a:cxn ang="0">
                  <a:pos x="393" y="389"/>
                </a:cxn>
                <a:cxn ang="0">
                  <a:pos x="402" y="334"/>
                </a:cxn>
                <a:cxn ang="0">
                  <a:pos x="375" y="298"/>
                </a:cxn>
                <a:cxn ang="0">
                  <a:pos x="329" y="284"/>
                </a:cxn>
                <a:cxn ang="0">
                  <a:pos x="370" y="252"/>
                </a:cxn>
                <a:cxn ang="0">
                  <a:pos x="439" y="229"/>
                </a:cxn>
                <a:cxn ang="0">
                  <a:pos x="498" y="206"/>
                </a:cxn>
                <a:cxn ang="0">
                  <a:pos x="530" y="138"/>
                </a:cxn>
                <a:cxn ang="0">
                  <a:pos x="558" y="46"/>
                </a:cxn>
                <a:cxn ang="0">
                  <a:pos x="631" y="32"/>
                </a:cxn>
                <a:cxn ang="0">
                  <a:pos x="677" y="14"/>
                </a:cxn>
                <a:cxn ang="0">
                  <a:pos x="722" y="19"/>
                </a:cxn>
                <a:cxn ang="0">
                  <a:pos x="745" y="106"/>
                </a:cxn>
                <a:cxn ang="0">
                  <a:pos x="768" y="183"/>
                </a:cxn>
                <a:cxn ang="0">
                  <a:pos x="777" y="256"/>
                </a:cxn>
                <a:cxn ang="0">
                  <a:pos x="800" y="302"/>
                </a:cxn>
                <a:cxn ang="0">
                  <a:pos x="818" y="398"/>
                </a:cxn>
                <a:cxn ang="0">
                  <a:pos x="795" y="439"/>
                </a:cxn>
                <a:cxn ang="0">
                  <a:pos x="846" y="467"/>
                </a:cxn>
                <a:cxn ang="0">
                  <a:pos x="786" y="549"/>
                </a:cxn>
                <a:cxn ang="0">
                  <a:pos x="699" y="608"/>
                </a:cxn>
                <a:cxn ang="0">
                  <a:pos x="681" y="659"/>
                </a:cxn>
                <a:cxn ang="0">
                  <a:pos x="672" y="736"/>
                </a:cxn>
                <a:cxn ang="0">
                  <a:pos x="777" y="810"/>
                </a:cxn>
                <a:cxn ang="0">
                  <a:pos x="745" y="919"/>
                </a:cxn>
                <a:cxn ang="0">
                  <a:pos x="832" y="1038"/>
                </a:cxn>
                <a:cxn ang="0">
                  <a:pos x="791" y="1125"/>
                </a:cxn>
                <a:cxn ang="0">
                  <a:pos x="745" y="1148"/>
                </a:cxn>
                <a:cxn ang="0">
                  <a:pos x="658" y="1125"/>
                </a:cxn>
                <a:cxn ang="0">
                  <a:pos x="603" y="1093"/>
                </a:cxn>
                <a:cxn ang="0">
                  <a:pos x="526" y="1061"/>
                </a:cxn>
                <a:cxn ang="0">
                  <a:pos x="462" y="1034"/>
                </a:cxn>
                <a:cxn ang="0">
                  <a:pos x="416" y="1052"/>
                </a:cxn>
                <a:cxn ang="0">
                  <a:pos x="434" y="1084"/>
                </a:cxn>
                <a:cxn ang="0">
                  <a:pos x="379" y="1120"/>
                </a:cxn>
                <a:cxn ang="0">
                  <a:pos x="251" y="1125"/>
                </a:cxn>
                <a:cxn ang="0">
                  <a:pos x="210" y="1088"/>
                </a:cxn>
                <a:cxn ang="0">
                  <a:pos x="169" y="1066"/>
                </a:cxn>
                <a:cxn ang="0">
                  <a:pos x="183" y="1002"/>
                </a:cxn>
                <a:cxn ang="0">
                  <a:pos x="155" y="951"/>
                </a:cxn>
                <a:cxn ang="0">
                  <a:pos x="91" y="947"/>
                </a:cxn>
                <a:cxn ang="0">
                  <a:pos x="82" y="874"/>
                </a:cxn>
                <a:cxn ang="0">
                  <a:pos x="55" y="828"/>
                </a:cxn>
                <a:cxn ang="0">
                  <a:pos x="0" y="796"/>
                </a:cxn>
                <a:cxn ang="0">
                  <a:pos x="18" y="736"/>
                </a:cxn>
                <a:cxn ang="0">
                  <a:pos x="37" y="682"/>
                </a:cxn>
                <a:cxn ang="0">
                  <a:pos x="9" y="627"/>
                </a:cxn>
                <a:cxn ang="0">
                  <a:pos x="23" y="549"/>
                </a:cxn>
                <a:cxn ang="0">
                  <a:pos x="64" y="526"/>
                </a:cxn>
                <a:cxn ang="0">
                  <a:pos x="105" y="480"/>
                </a:cxn>
                <a:cxn ang="0">
                  <a:pos x="142" y="458"/>
                </a:cxn>
                <a:cxn ang="0">
                  <a:pos x="187" y="444"/>
                </a:cxn>
                <a:cxn ang="0">
                  <a:pos x="242" y="458"/>
                </a:cxn>
                <a:cxn ang="0">
                  <a:pos x="306" y="458"/>
                </a:cxn>
                <a:cxn ang="0">
                  <a:pos x="343" y="490"/>
                </a:cxn>
                <a:cxn ang="0">
                  <a:pos x="402" y="485"/>
                </a:cxn>
                <a:cxn ang="0">
                  <a:pos x="439" y="567"/>
                </a:cxn>
                <a:cxn ang="0">
                  <a:pos x="517" y="590"/>
                </a:cxn>
                <a:cxn ang="0">
                  <a:pos x="526" y="581"/>
                </a:cxn>
              </a:cxnLst>
              <a:rect l="0" t="0" r="r" b="b"/>
              <a:pathLst>
                <a:path w="855" h="1157">
                  <a:moveTo>
                    <a:pt x="553" y="544"/>
                  </a:moveTo>
                  <a:lnTo>
                    <a:pt x="567" y="544"/>
                  </a:lnTo>
                  <a:lnTo>
                    <a:pt x="571" y="544"/>
                  </a:lnTo>
                  <a:lnTo>
                    <a:pt x="576" y="540"/>
                  </a:lnTo>
                  <a:lnTo>
                    <a:pt x="581" y="540"/>
                  </a:lnTo>
                  <a:lnTo>
                    <a:pt x="585" y="535"/>
                  </a:lnTo>
                  <a:lnTo>
                    <a:pt x="590" y="531"/>
                  </a:lnTo>
                  <a:lnTo>
                    <a:pt x="594" y="526"/>
                  </a:lnTo>
                  <a:lnTo>
                    <a:pt x="594" y="526"/>
                  </a:lnTo>
                  <a:lnTo>
                    <a:pt x="594" y="526"/>
                  </a:lnTo>
                  <a:lnTo>
                    <a:pt x="594" y="522"/>
                  </a:lnTo>
                  <a:lnTo>
                    <a:pt x="599" y="522"/>
                  </a:lnTo>
                  <a:lnTo>
                    <a:pt x="599" y="517"/>
                  </a:lnTo>
                  <a:lnTo>
                    <a:pt x="599" y="512"/>
                  </a:lnTo>
                  <a:lnTo>
                    <a:pt x="603" y="512"/>
                  </a:lnTo>
                  <a:lnTo>
                    <a:pt x="603" y="508"/>
                  </a:lnTo>
                  <a:lnTo>
                    <a:pt x="599" y="503"/>
                  </a:lnTo>
                  <a:lnTo>
                    <a:pt x="594" y="503"/>
                  </a:lnTo>
                  <a:lnTo>
                    <a:pt x="594" y="503"/>
                  </a:lnTo>
                  <a:lnTo>
                    <a:pt x="585" y="503"/>
                  </a:lnTo>
                  <a:lnTo>
                    <a:pt x="581" y="503"/>
                  </a:lnTo>
                  <a:lnTo>
                    <a:pt x="576" y="499"/>
                  </a:lnTo>
                  <a:lnTo>
                    <a:pt x="571" y="499"/>
                  </a:lnTo>
                  <a:lnTo>
                    <a:pt x="567" y="499"/>
                  </a:lnTo>
                  <a:lnTo>
                    <a:pt x="553" y="494"/>
                  </a:lnTo>
                  <a:lnTo>
                    <a:pt x="549" y="494"/>
                  </a:lnTo>
                  <a:lnTo>
                    <a:pt x="539" y="490"/>
                  </a:lnTo>
                  <a:lnTo>
                    <a:pt x="530" y="490"/>
                  </a:lnTo>
                  <a:lnTo>
                    <a:pt x="521" y="485"/>
                  </a:lnTo>
                  <a:lnTo>
                    <a:pt x="507" y="480"/>
                  </a:lnTo>
                  <a:lnTo>
                    <a:pt x="503" y="480"/>
                  </a:lnTo>
                  <a:lnTo>
                    <a:pt x="494" y="480"/>
                  </a:lnTo>
                  <a:lnTo>
                    <a:pt x="485" y="480"/>
                  </a:lnTo>
                  <a:lnTo>
                    <a:pt x="485" y="480"/>
                  </a:lnTo>
                  <a:lnTo>
                    <a:pt x="471" y="480"/>
                  </a:lnTo>
                  <a:lnTo>
                    <a:pt x="466" y="480"/>
                  </a:lnTo>
                  <a:lnTo>
                    <a:pt x="457" y="476"/>
                  </a:lnTo>
                  <a:lnTo>
                    <a:pt x="453" y="471"/>
                  </a:lnTo>
                  <a:lnTo>
                    <a:pt x="448" y="467"/>
                  </a:lnTo>
                  <a:lnTo>
                    <a:pt x="448" y="462"/>
                  </a:lnTo>
                  <a:lnTo>
                    <a:pt x="443" y="458"/>
                  </a:lnTo>
                  <a:lnTo>
                    <a:pt x="439" y="458"/>
                  </a:lnTo>
                  <a:lnTo>
                    <a:pt x="439" y="453"/>
                  </a:lnTo>
                  <a:lnTo>
                    <a:pt x="439" y="448"/>
                  </a:lnTo>
                  <a:lnTo>
                    <a:pt x="439" y="444"/>
                  </a:lnTo>
                  <a:lnTo>
                    <a:pt x="434" y="444"/>
                  </a:lnTo>
                  <a:lnTo>
                    <a:pt x="434" y="439"/>
                  </a:lnTo>
                  <a:lnTo>
                    <a:pt x="434" y="439"/>
                  </a:lnTo>
                  <a:lnTo>
                    <a:pt x="430" y="439"/>
                  </a:lnTo>
                  <a:lnTo>
                    <a:pt x="430" y="435"/>
                  </a:lnTo>
                  <a:lnTo>
                    <a:pt x="421" y="416"/>
                  </a:lnTo>
                  <a:lnTo>
                    <a:pt x="416" y="416"/>
                  </a:lnTo>
                  <a:lnTo>
                    <a:pt x="416" y="416"/>
                  </a:lnTo>
                  <a:lnTo>
                    <a:pt x="416" y="412"/>
                  </a:lnTo>
                  <a:lnTo>
                    <a:pt x="416" y="407"/>
                  </a:lnTo>
                  <a:lnTo>
                    <a:pt x="411" y="407"/>
                  </a:lnTo>
                  <a:lnTo>
                    <a:pt x="407" y="407"/>
                  </a:lnTo>
                  <a:lnTo>
                    <a:pt x="398" y="407"/>
                  </a:lnTo>
                  <a:lnTo>
                    <a:pt x="398" y="403"/>
                  </a:lnTo>
                  <a:lnTo>
                    <a:pt x="393" y="403"/>
                  </a:lnTo>
                  <a:lnTo>
                    <a:pt x="393" y="398"/>
                  </a:lnTo>
                  <a:lnTo>
                    <a:pt x="393" y="398"/>
                  </a:lnTo>
                  <a:lnTo>
                    <a:pt x="393" y="394"/>
                  </a:lnTo>
                  <a:lnTo>
                    <a:pt x="393" y="394"/>
                  </a:lnTo>
                  <a:lnTo>
                    <a:pt x="393" y="389"/>
                  </a:lnTo>
                  <a:lnTo>
                    <a:pt x="393" y="384"/>
                  </a:lnTo>
                  <a:lnTo>
                    <a:pt x="393" y="380"/>
                  </a:lnTo>
                  <a:lnTo>
                    <a:pt x="393" y="380"/>
                  </a:lnTo>
                  <a:lnTo>
                    <a:pt x="393" y="375"/>
                  </a:lnTo>
                  <a:lnTo>
                    <a:pt x="393" y="371"/>
                  </a:lnTo>
                  <a:lnTo>
                    <a:pt x="398" y="371"/>
                  </a:lnTo>
                  <a:lnTo>
                    <a:pt x="398" y="371"/>
                  </a:lnTo>
                  <a:lnTo>
                    <a:pt x="398" y="366"/>
                  </a:lnTo>
                  <a:lnTo>
                    <a:pt x="402" y="362"/>
                  </a:lnTo>
                  <a:lnTo>
                    <a:pt x="402" y="352"/>
                  </a:lnTo>
                  <a:lnTo>
                    <a:pt x="402" y="348"/>
                  </a:lnTo>
                  <a:lnTo>
                    <a:pt x="407" y="339"/>
                  </a:lnTo>
                  <a:lnTo>
                    <a:pt x="402" y="334"/>
                  </a:lnTo>
                  <a:lnTo>
                    <a:pt x="402" y="330"/>
                  </a:lnTo>
                  <a:lnTo>
                    <a:pt x="402" y="330"/>
                  </a:lnTo>
                  <a:lnTo>
                    <a:pt x="402" y="325"/>
                  </a:lnTo>
                  <a:lnTo>
                    <a:pt x="398" y="320"/>
                  </a:lnTo>
                  <a:lnTo>
                    <a:pt x="398" y="316"/>
                  </a:lnTo>
                  <a:lnTo>
                    <a:pt x="393" y="311"/>
                  </a:lnTo>
                  <a:lnTo>
                    <a:pt x="393" y="307"/>
                  </a:lnTo>
                  <a:lnTo>
                    <a:pt x="393" y="307"/>
                  </a:lnTo>
                  <a:lnTo>
                    <a:pt x="389" y="302"/>
                  </a:lnTo>
                  <a:lnTo>
                    <a:pt x="384" y="298"/>
                  </a:lnTo>
                  <a:lnTo>
                    <a:pt x="379" y="298"/>
                  </a:lnTo>
                  <a:lnTo>
                    <a:pt x="375" y="298"/>
                  </a:lnTo>
                  <a:lnTo>
                    <a:pt x="375" y="298"/>
                  </a:lnTo>
                  <a:lnTo>
                    <a:pt x="370" y="302"/>
                  </a:lnTo>
                  <a:lnTo>
                    <a:pt x="366" y="302"/>
                  </a:lnTo>
                  <a:lnTo>
                    <a:pt x="361" y="302"/>
                  </a:lnTo>
                  <a:lnTo>
                    <a:pt x="357" y="302"/>
                  </a:lnTo>
                  <a:lnTo>
                    <a:pt x="352" y="307"/>
                  </a:lnTo>
                  <a:lnTo>
                    <a:pt x="347" y="307"/>
                  </a:lnTo>
                  <a:lnTo>
                    <a:pt x="343" y="307"/>
                  </a:lnTo>
                  <a:lnTo>
                    <a:pt x="338" y="307"/>
                  </a:lnTo>
                  <a:lnTo>
                    <a:pt x="334" y="307"/>
                  </a:lnTo>
                  <a:lnTo>
                    <a:pt x="334" y="302"/>
                  </a:lnTo>
                  <a:lnTo>
                    <a:pt x="329" y="298"/>
                  </a:lnTo>
                  <a:lnTo>
                    <a:pt x="329" y="293"/>
                  </a:lnTo>
                  <a:lnTo>
                    <a:pt x="329" y="284"/>
                  </a:lnTo>
                  <a:lnTo>
                    <a:pt x="334" y="284"/>
                  </a:lnTo>
                  <a:lnTo>
                    <a:pt x="334" y="284"/>
                  </a:lnTo>
                  <a:lnTo>
                    <a:pt x="338" y="284"/>
                  </a:lnTo>
                  <a:lnTo>
                    <a:pt x="343" y="279"/>
                  </a:lnTo>
                  <a:lnTo>
                    <a:pt x="347" y="275"/>
                  </a:lnTo>
                  <a:lnTo>
                    <a:pt x="352" y="275"/>
                  </a:lnTo>
                  <a:lnTo>
                    <a:pt x="352" y="270"/>
                  </a:lnTo>
                  <a:lnTo>
                    <a:pt x="352" y="266"/>
                  </a:lnTo>
                  <a:lnTo>
                    <a:pt x="352" y="261"/>
                  </a:lnTo>
                  <a:lnTo>
                    <a:pt x="357" y="261"/>
                  </a:lnTo>
                  <a:lnTo>
                    <a:pt x="361" y="261"/>
                  </a:lnTo>
                  <a:lnTo>
                    <a:pt x="366" y="256"/>
                  </a:lnTo>
                  <a:lnTo>
                    <a:pt x="370" y="252"/>
                  </a:lnTo>
                  <a:lnTo>
                    <a:pt x="375" y="252"/>
                  </a:lnTo>
                  <a:lnTo>
                    <a:pt x="375" y="252"/>
                  </a:lnTo>
                  <a:lnTo>
                    <a:pt x="384" y="247"/>
                  </a:lnTo>
                  <a:lnTo>
                    <a:pt x="389" y="247"/>
                  </a:lnTo>
                  <a:lnTo>
                    <a:pt x="393" y="247"/>
                  </a:lnTo>
                  <a:lnTo>
                    <a:pt x="398" y="247"/>
                  </a:lnTo>
                  <a:lnTo>
                    <a:pt x="402" y="243"/>
                  </a:lnTo>
                  <a:lnTo>
                    <a:pt x="407" y="243"/>
                  </a:lnTo>
                  <a:lnTo>
                    <a:pt x="411" y="238"/>
                  </a:lnTo>
                  <a:lnTo>
                    <a:pt x="416" y="238"/>
                  </a:lnTo>
                  <a:lnTo>
                    <a:pt x="430" y="234"/>
                  </a:lnTo>
                  <a:lnTo>
                    <a:pt x="439" y="229"/>
                  </a:lnTo>
                  <a:lnTo>
                    <a:pt x="439" y="229"/>
                  </a:lnTo>
                  <a:lnTo>
                    <a:pt x="443" y="224"/>
                  </a:lnTo>
                  <a:lnTo>
                    <a:pt x="448" y="224"/>
                  </a:lnTo>
                  <a:lnTo>
                    <a:pt x="453" y="220"/>
                  </a:lnTo>
                  <a:lnTo>
                    <a:pt x="457" y="220"/>
                  </a:lnTo>
                  <a:lnTo>
                    <a:pt x="462" y="220"/>
                  </a:lnTo>
                  <a:lnTo>
                    <a:pt x="462" y="220"/>
                  </a:lnTo>
                  <a:lnTo>
                    <a:pt x="466" y="215"/>
                  </a:lnTo>
                  <a:lnTo>
                    <a:pt x="471" y="215"/>
                  </a:lnTo>
                  <a:lnTo>
                    <a:pt x="475" y="211"/>
                  </a:lnTo>
                  <a:lnTo>
                    <a:pt x="480" y="211"/>
                  </a:lnTo>
                  <a:lnTo>
                    <a:pt x="485" y="211"/>
                  </a:lnTo>
                  <a:lnTo>
                    <a:pt x="489" y="206"/>
                  </a:lnTo>
                  <a:lnTo>
                    <a:pt x="498" y="206"/>
                  </a:lnTo>
                  <a:lnTo>
                    <a:pt x="503" y="202"/>
                  </a:lnTo>
                  <a:lnTo>
                    <a:pt x="503" y="202"/>
                  </a:lnTo>
                  <a:lnTo>
                    <a:pt x="507" y="202"/>
                  </a:lnTo>
                  <a:lnTo>
                    <a:pt x="507" y="197"/>
                  </a:lnTo>
                  <a:lnTo>
                    <a:pt x="512" y="197"/>
                  </a:lnTo>
                  <a:lnTo>
                    <a:pt x="517" y="192"/>
                  </a:lnTo>
                  <a:lnTo>
                    <a:pt x="521" y="188"/>
                  </a:lnTo>
                  <a:lnTo>
                    <a:pt x="526" y="179"/>
                  </a:lnTo>
                  <a:lnTo>
                    <a:pt x="526" y="174"/>
                  </a:lnTo>
                  <a:lnTo>
                    <a:pt x="526" y="174"/>
                  </a:lnTo>
                  <a:lnTo>
                    <a:pt x="526" y="170"/>
                  </a:lnTo>
                  <a:lnTo>
                    <a:pt x="530" y="160"/>
                  </a:lnTo>
                  <a:lnTo>
                    <a:pt x="530" y="138"/>
                  </a:lnTo>
                  <a:lnTo>
                    <a:pt x="530" y="110"/>
                  </a:lnTo>
                  <a:lnTo>
                    <a:pt x="535" y="106"/>
                  </a:lnTo>
                  <a:lnTo>
                    <a:pt x="535" y="92"/>
                  </a:lnTo>
                  <a:lnTo>
                    <a:pt x="539" y="83"/>
                  </a:lnTo>
                  <a:lnTo>
                    <a:pt x="544" y="74"/>
                  </a:lnTo>
                  <a:lnTo>
                    <a:pt x="544" y="69"/>
                  </a:lnTo>
                  <a:lnTo>
                    <a:pt x="549" y="64"/>
                  </a:lnTo>
                  <a:lnTo>
                    <a:pt x="549" y="64"/>
                  </a:lnTo>
                  <a:lnTo>
                    <a:pt x="549" y="60"/>
                  </a:lnTo>
                  <a:lnTo>
                    <a:pt x="549" y="55"/>
                  </a:lnTo>
                  <a:lnTo>
                    <a:pt x="553" y="51"/>
                  </a:lnTo>
                  <a:lnTo>
                    <a:pt x="558" y="51"/>
                  </a:lnTo>
                  <a:lnTo>
                    <a:pt x="558" y="46"/>
                  </a:lnTo>
                  <a:lnTo>
                    <a:pt x="562" y="46"/>
                  </a:lnTo>
                  <a:lnTo>
                    <a:pt x="567" y="42"/>
                  </a:lnTo>
                  <a:lnTo>
                    <a:pt x="567" y="42"/>
                  </a:lnTo>
                  <a:lnTo>
                    <a:pt x="571" y="42"/>
                  </a:lnTo>
                  <a:lnTo>
                    <a:pt x="576" y="37"/>
                  </a:lnTo>
                  <a:lnTo>
                    <a:pt x="585" y="37"/>
                  </a:lnTo>
                  <a:lnTo>
                    <a:pt x="594" y="32"/>
                  </a:lnTo>
                  <a:lnTo>
                    <a:pt x="603" y="32"/>
                  </a:lnTo>
                  <a:lnTo>
                    <a:pt x="608" y="32"/>
                  </a:lnTo>
                  <a:lnTo>
                    <a:pt x="617" y="28"/>
                  </a:lnTo>
                  <a:lnTo>
                    <a:pt x="622" y="28"/>
                  </a:lnTo>
                  <a:lnTo>
                    <a:pt x="626" y="28"/>
                  </a:lnTo>
                  <a:lnTo>
                    <a:pt x="631" y="32"/>
                  </a:lnTo>
                  <a:lnTo>
                    <a:pt x="635" y="37"/>
                  </a:lnTo>
                  <a:lnTo>
                    <a:pt x="635" y="37"/>
                  </a:lnTo>
                  <a:lnTo>
                    <a:pt x="640" y="37"/>
                  </a:lnTo>
                  <a:lnTo>
                    <a:pt x="645" y="37"/>
                  </a:lnTo>
                  <a:lnTo>
                    <a:pt x="645" y="32"/>
                  </a:lnTo>
                  <a:lnTo>
                    <a:pt x="649" y="32"/>
                  </a:lnTo>
                  <a:lnTo>
                    <a:pt x="649" y="28"/>
                  </a:lnTo>
                  <a:lnTo>
                    <a:pt x="654" y="28"/>
                  </a:lnTo>
                  <a:lnTo>
                    <a:pt x="654" y="23"/>
                  </a:lnTo>
                  <a:lnTo>
                    <a:pt x="658" y="23"/>
                  </a:lnTo>
                  <a:lnTo>
                    <a:pt x="658" y="23"/>
                  </a:lnTo>
                  <a:lnTo>
                    <a:pt x="667" y="19"/>
                  </a:lnTo>
                  <a:lnTo>
                    <a:pt x="677" y="14"/>
                  </a:lnTo>
                  <a:lnTo>
                    <a:pt x="681" y="10"/>
                  </a:lnTo>
                  <a:lnTo>
                    <a:pt x="681" y="10"/>
                  </a:lnTo>
                  <a:lnTo>
                    <a:pt x="681" y="5"/>
                  </a:lnTo>
                  <a:lnTo>
                    <a:pt x="686" y="5"/>
                  </a:lnTo>
                  <a:lnTo>
                    <a:pt x="690" y="0"/>
                  </a:lnTo>
                  <a:lnTo>
                    <a:pt x="690" y="0"/>
                  </a:lnTo>
                  <a:lnTo>
                    <a:pt x="704" y="0"/>
                  </a:lnTo>
                  <a:lnTo>
                    <a:pt x="704" y="5"/>
                  </a:lnTo>
                  <a:lnTo>
                    <a:pt x="709" y="10"/>
                  </a:lnTo>
                  <a:lnTo>
                    <a:pt x="713" y="10"/>
                  </a:lnTo>
                  <a:lnTo>
                    <a:pt x="713" y="14"/>
                  </a:lnTo>
                  <a:lnTo>
                    <a:pt x="718" y="14"/>
                  </a:lnTo>
                  <a:lnTo>
                    <a:pt x="722" y="19"/>
                  </a:lnTo>
                  <a:lnTo>
                    <a:pt x="722" y="23"/>
                  </a:lnTo>
                  <a:lnTo>
                    <a:pt x="736" y="32"/>
                  </a:lnTo>
                  <a:lnTo>
                    <a:pt x="736" y="37"/>
                  </a:lnTo>
                  <a:lnTo>
                    <a:pt x="736" y="42"/>
                  </a:lnTo>
                  <a:lnTo>
                    <a:pt x="741" y="46"/>
                  </a:lnTo>
                  <a:lnTo>
                    <a:pt x="745" y="51"/>
                  </a:lnTo>
                  <a:lnTo>
                    <a:pt x="745" y="55"/>
                  </a:lnTo>
                  <a:lnTo>
                    <a:pt x="745" y="64"/>
                  </a:lnTo>
                  <a:lnTo>
                    <a:pt x="745" y="64"/>
                  </a:lnTo>
                  <a:lnTo>
                    <a:pt x="745" y="78"/>
                  </a:lnTo>
                  <a:lnTo>
                    <a:pt x="745" y="87"/>
                  </a:lnTo>
                  <a:lnTo>
                    <a:pt x="745" y="101"/>
                  </a:lnTo>
                  <a:lnTo>
                    <a:pt x="745" y="106"/>
                  </a:lnTo>
                  <a:lnTo>
                    <a:pt x="745" y="110"/>
                  </a:lnTo>
                  <a:lnTo>
                    <a:pt x="745" y="119"/>
                  </a:lnTo>
                  <a:lnTo>
                    <a:pt x="745" y="128"/>
                  </a:lnTo>
                  <a:lnTo>
                    <a:pt x="750" y="133"/>
                  </a:lnTo>
                  <a:lnTo>
                    <a:pt x="750" y="138"/>
                  </a:lnTo>
                  <a:lnTo>
                    <a:pt x="754" y="142"/>
                  </a:lnTo>
                  <a:lnTo>
                    <a:pt x="754" y="147"/>
                  </a:lnTo>
                  <a:lnTo>
                    <a:pt x="759" y="156"/>
                  </a:lnTo>
                  <a:lnTo>
                    <a:pt x="763" y="160"/>
                  </a:lnTo>
                  <a:lnTo>
                    <a:pt x="763" y="165"/>
                  </a:lnTo>
                  <a:lnTo>
                    <a:pt x="768" y="170"/>
                  </a:lnTo>
                  <a:lnTo>
                    <a:pt x="768" y="174"/>
                  </a:lnTo>
                  <a:lnTo>
                    <a:pt x="768" y="183"/>
                  </a:lnTo>
                  <a:lnTo>
                    <a:pt x="768" y="192"/>
                  </a:lnTo>
                  <a:lnTo>
                    <a:pt x="768" y="202"/>
                  </a:lnTo>
                  <a:lnTo>
                    <a:pt x="768" y="206"/>
                  </a:lnTo>
                  <a:lnTo>
                    <a:pt x="768" y="215"/>
                  </a:lnTo>
                  <a:lnTo>
                    <a:pt x="768" y="220"/>
                  </a:lnTo>
                  <a:lnTo>
                    <a:pt x="768" y="224"/>
                  </a:lnTo>
                  <a:lnTo>
                    <a:pt x="768" y="229"/>
                  </a:lnTo>
                  <a:lnTo>
                    <a:pt x="773" y="234"/>
                  </a:lnTo>
                  <a:lnTo>
                    <a:pt x="773" y="238"/>
                  </a:lnTo>
                  <a:lnTo>
                    <a:pt x="777" y="238"/>
                  </a:lnTo>
                  <a:lnTo>
                    <a:pt x="777" y="238"/>
                  </a:lnTo>
                  <a:lnTo>
                    <a:pt x="777" y="243"/>
                  </a:lnTo>
                  <a:lnTo>
                    <a:pt x="777" y="256"/>
                  </a:lnTo>
                  <a:lnTo>
                    <a:pt x="777" y="261"/>
                  </a:lnTo>
                  <a:lnTo>
                    <a:pt x="777" y="261"/>
                  </a:lnTo>
                  <a:lnTo>
                    <a:pt x="777" y="266"/>
                  </a:lnTo>
                  <a:lnTo>
                    <a:pt x="782" y="270"/>
                  </a:lnTo>
                  <a:lnTo>
                    <a:pt x="782" y="275"/>
                  </a:lnTo>
                  <a:lnTo>
                    <a:pt x="791" y="284"/>
                  </a:lnTo>
                  <a:lnTo>
                    <a:pt x="791" y="284"/>
                  </a:lnTo>
                  <a:lnTo>
                    <a:pt x="791" y="288"/>
                  </a:lnTo>
                  <a:lnTo>
                    <a:pt x="791" y="288"/>
                  </a:lnTo>
                  <a:lnTo>
                    <a:pt x="791" y="293"/>
                  </a:lnTo>
                  <a:lnTo>
                    <a:pt x="795" y="298"/>
                  </a:lnTo>
                  <a:lnTo>
                    <a:pt x="795" y="302"/>
                  </a:lnTo>
                  <a:lnTo>
                    <a:pt x="800" y="302"/>
                  </a:lnTo>
                  <a:lnTo>
                    <a:pt x="800" y="307"/>
                  </a:lnTo>
                  <a:lnTo>
                    <a:pt x="805" y="311"/>
                  </a:lnTo>
                  <a:lnTo>
                    <a:pt x="805" y="320"/>
                  </a:lnTo>
                  <a:lnTo>
                    <a:pt x="809" y="330"/>
                  </a:lnTo>
                  <a:lnTo>
                    <a:pt x="814" y="348"/>
                  </a:lnTo>
                  <a:lnTo>
                    <a:pt x="814" y="357"/>
                  </a:lnTo>
                  <a:lnTo>
                    <a:pt x="814" y="366"/>
                  </a:lnTo>
                  <a:lnTo>
                    <a:pt x="818" y="371"/>
                  </a:lnTo>
                  <a:lnTo>
                    <a:pt x="818" y="380"/>
                  </a:lnTo>
                  <a:lnTo>
                    <a:pt x="818" y="389"/>
                  </a:lnTo>
                  <a:lnTo>
                    <a:pt x="818" y="394"/>
                  </a:lnTo>
                  <a:lnTo>
                    <a:pt x="818" y="394"/>
                  </a:lnTo>
                  <a:lnTo>
                    <a:pt x="818" y="398"/>
                  </a:lnTo>
                  <a:lnTo>
                    <a:pt x="818" y="403"/>
                  </a:lnTo>
                  <a:lnTo>
                    <a:pt x="818" y="407"/>
                  </a:lnTo>
                  <a:lnTo>
                    <a:pt x="818" y="412"/>
                  </a:lnTo>
                  <a:lnTo>
                    <a:pt x="814" y="416"/>
                  </a:lnTo>
                  <a:lnTo>
                    <a:pt x="814" y="416"/>
                  </a:lnTo>
                  <a:lnTo>
                    <a:pt x="814" y="421"/>
                  </a:lnTo>
                  <a:lnTo>
                    <a:pt x="809" y="426"/>
                  </a:lnTo>
                  <a:lnTo>
                    <a:pt x="809" y="430"/>
                  </a:lnTo>
                  <a:lnTo>
                    <a:pt x="805" y="430"/>
                  </a:lnTo>
                  <a:lnTo>
                    <a:pt x="805" y="435"/>
                  </a:lnTo>
                  <a:lnTo>
                    <a:pt x="800" y="439"/>
                  </a:lnTo>
                  <a:lnTo>
                    <a:pt x="800" y="439"/>
                  </a:lnTo>
                  <a:lnTo>
                    <a:pt x="795" y="439"/>
                  </a:lnTo>
                  <a:lnTo>
                    <a:pt x="795" y="444"/>
                  </a:lnTo>
                  <a:lnTo>
                    <a:pt x="795" y="448"/>
                  </a:lnTo>
                  <a:lnTo>
                    <a:pt x="800" y="453"/>
                  </a:lnTo>
                  <a:lnTo>
                    <a:pt x="800" y="458"/>
                  </a:lnTo>
                  <a:lnTo>
                    <a:pt x="805" y="458"/>
                  </a:lnTo>
                  <a:lnTo>
                    <a:pt x="809" y="462"/>
                  </a:lnTo>
                  <a:lnTo>
                    <a:pt x="814" y="462"/>
                  </a:lnTo>
                  <a:lnTo>
                    <a:pt x="814" y="467"/>
                  </a:lnTo>
                  <a:lnTo>
                    <a:pt x="818" y="467"/>
                  </a:lnTo>
                  <a:lnTo>
                    <a:pt x="827" y="467"/>
                  </a:lnTo>
                  <a:lnTo>
                    <a:pt x="832" y="467"/>
                  </a:lnTo>
                  <a:lnTo>
                    <a:pt x="832" y="467"/>
                  </a:lnTo>
                  <a:lnTo>
                    <a:pt x="846" y="467"/>
                  </a:lnTo>
                  <a:lnTo>
                    <a:pt x="855" y="467"/>
                  </a:lnTo>
                  <a:lnTo>
                    <a:pt x="855" y="471"/>
                  </a:lnTo>
                  <a:lnTo>
                    <a:pt x="850" y="476"/>
                  </a:lnTo>
                  <a:lnTo>
                    <a:pt x="850" y="480"/>
                  </a:lnTo>
                  <a:lnTo>
                    <a:pt x="841" y="490"/>
                  </a:lnTo>
                  <a:lnTo>
                    <a:pt x="837" y="503"/>
                  </a:lnTo>
                  <a:lnTo>
                    <a:pt x="832" y="508"/>
                  </a:lnTo>
                  <a:lnTo>
                    <a:pt x="823" y="517"/>
                  </a:lnTo>
                  <a:lnTo>
                    <a:pt x="814" y="526"/>
                  </a:lnTo>
                  <a:lnTo>
                    <a:pt x="805" y="531"/>
                  </a:lnTo>
                  <a:lnTo>
                    <a:pt x="800" y="540"/>
                  </a:lnTo>
                  <a:lnTo>
                    <a:pt x="791" y="549"/>
                  </a:lnTo>
                  <a:lnTo>
                    <a:pt x="786" y="549"/>
                  </a:lnTo>
                  <a:lnTo>
                    <a:pt x="777" y="549"/>
                  </a:lnTo>
                  <a:lnTo>
                    <a:pt x="768" y="544"/>
                  </a:lnTo>
                  <a:lnTo>
                    <a:pt x="763" y="535"/>
                  </a:lnTo>
                  <a:lnTo>
                    <a:pt x="750" y="540"/>
                  </a:lnTo>
                  <a:lnTo>
                    <a:pt x="741" y="544"/>
                  </a:lnTo>
                  <a:lnTo>
                    <a:pt x="736" y="549"/>
                  </a:lnTo>
                  <a:lnTo>
                    <a:pt x="731" y="558"/>
                  </a:lnTo>
                  <a:lnTo>
                    <a:pt x="722" y="567"/>
                  </a:lnTo>
                  <a:lnTo>
                    <a:pt x="718" y="572"/>
                  </a:lnTo>
                  <a:lnTo>
                    <a:pt x="704" y="581"/>
                  </a:lnTo>
                  <a:lnTo>
                    <a:pt x="695" y="590"/>
                  </a:lnTo>
                  <a:lnTo>
                    <a:pt x="699" y="595"/>
                  </a:lnTo>
                  <a:lnTo>
                    <a:pt x="699" y="608"/>
                  </a:lnTo>
                  <a:lnTo>
                    <a:pt x="704" y="613"/>
                  </a:lnTo>
                  <a:lnTo>
                    <a:pt x="709" y="618"/>
                  </a:lnTo>
                  <a:lnTo>
                    <a:pt x="713" y="627"/>
                  </a:lnTo>
                  <a:lnTo>
                    <a:pt x="713" y="636"/>
                  </a:lnTo>
                  <a:lnTo>
                    <a:pt x="704" y="636"/>
                  </a:lnTo>
                  <a:lnTo>
                    <a:pt x="699" y="627"/>
                  </a:lnTo>
                  <a:lnTo>
                    <a:pt x="695" y="622"/>
                  </a:lnTo>
                  <a:lnTo>
                    <a:pt x="686" y="622"/>
                  </a:lnTo>
                  <a:lnTo>
                    <a:pt x="681" y="622"/>
                  </a:lnTo>
                  <a:lnTo>
                    <a:pt x="681" y="631"/>
                  </a:lnTo>
                  <a:lnTo>
                    <a:pt x="681" y="636"/>
                  </a:lnTo>
                  <a:lnTo>
                    <a:pt x="681" y="645"/>
                  </a:lnTo>
                  <a:lnTo>
                    <a:pt x="681" y="659"/>
                  </a:lnTo>
                  <a:lnTo>
                    <a:pt x="677" y="668"/>
                  </a:lnTo>
                  <a:lnTo>
                    <a:pt x="672" y="672"/>
                  </a:lnTo>
                  <a:lnTo>
                    <a:pt x="672" y="677"/>
                  </a:lnTo>
                  <a:lnTo>
                    <a:pt x="667" y="677"/>
                  </a:lnTo>
                  <a:lnTo>
                    <a:pt x="658" y="686"/>
                  </a:lnTo>
                  <a:lnTo>
                    <a:pt x="658" y="695"/>
                  </a:lnTo>
                  <a:lnTo>
                    <a:pt x="658" y="700"/>
                  </a:lnTo>
                  <a:lnTo>
                    <a:pt x="654" y="704"/>
                  </a:lnTo>
                  <a:lnTo>
                    <a:pt x="654" y="714"/>
                  </a:lnTo>
                  <a:lnTo>
                    <a:pt x="654" y="718"/>
                  </a:lnTo>
                  <a:lnTo>
                    <a:pt x="654" y="723"/>
                  </a:lnTo>
                  <a:lnTo>
                    <a:pt x="658" y="723"/>
                  </a:lnTo>
                  <a:lnTo>
                    <a:pt x="672" y="736"/>
                  </a:lnTo>
                  <a:lnTo>
                    <a:pt x="672" y="746"/>
                  </a:lnTo>
                  <a:lnTo>
                    <a:pt x="681" y="755"/>
                  </a:lnTo>
                  <a:lnTo>
                    <a:pt x="681" y="759"/>
                  </a:lnTo>
                  <a:lnTo>
                    <a:pt x="681" y="768"/>
                  </a:lnTo>
                  <a:lnTo>
                    <a:pt x="686" y="768"/>
                  </a:lnTo>
                  <a:lnTo>
                    <a:pt x="695" y="773"/>
                  </a:lnTo>
                  <a:lnTo>
                    <a:pt x="709" y="773"/>
                  </a:lnTo>
                  <a:lnTo>
                    <a:pt x="722" y="773"/>
                  </a:lnTo>
                  <a:lnTo>
                    <a:pt x="731" y="782"/>
                  </a:lnTo>
                  <a:lnTo>
                    <a:pt x="754" y="787"/>
                  </a:lnTo>
                  <a:lnTo>
                    <a:pt x="768" y="791"/>
                  </a:lnTo>
                  <a:lnTo>
                    <a:pt x="777" y="800"/>
                  </a:lnTo>
                  <a:lnTo>
                    <a:pt x="777" y="810"/>
                  </a:lnTo>
                  <a:lnTo>
                    <a:pt x="777" y="810"/>
                  </a:lnTo>
                  <a:lnTo>
                    <a:pt x="777" y="828"/>
                  </a:lnTo>
                  <a:lnTo>
                    <a:pt x="777" y="837"/>
                  </a:lnTo>
                  <a:lnTo>
                    <a:pt x="777" y="851"/>
                  </a:lnTo>
                  <a:lnTo>
                    <a:pt x="782" y="860"/>
                  </a:lnTo>
                  <a:lnTo>
                    <a:pt x="791" y="869"/>
                  </a:lnTo>
                  <a:lnTo>
                    <a:pt x="782" y="878"/>
                  </a:lnTo>
                  <a:lnTo>
                    <a:pt x="777" y="887"/>
                  </a:lnTo>
                  <a:lnTo>
                    <a:pt x="773" y="896"/>
                  </a:lnTo>
                  <a:lnTo>
                    <a:pt x="773" y="906"/>
                  </a:lnTo>
                  <a:lnTo>
                    <a:pt x="768" y="910"/>
                  </a:lnTo>
                  <a:lnTo>
                    <a:pt x="754" y="915"/>
                  </a:lnTo>
                  <a:lnTo>
                    <a:pt x="745" y="919"/>
                  </a:lnTo>
                  <a:lnTo>
                    <a:pt x="736" y="919"/>
                  </a:lnTo>
                  <a:lnTo>
                    <a:pt x="731" y="919"/>
                  </a:lnTo>
                  <a:lnTo>
                    <a:pt x="722" y="928"/>
                  </a:lnTo>
                  <a:lnTo>
                    <a:pt x="727" y="942"/>
                  </a:lnTo>
                  <a:lnTo>
                    <a:pt x="745" y="947"/>
                  </a:lnTo>
                  <a:lnTo>
                    <a:pt x="763" y="960"/>
                  </a:lnTo>
                  <a:lnTo>
                    <a:pt x="777" y="970"/>
                  </a:lnTo>
                  <a:lnTo>
                    <a:pt x="800" y="983"/>
                  </a:lnTo>
                  <a:lnTo>
                    <a:pt x="818" y="997"/>
                  </a:lnTo>
                  <a:lnTo>
                    <a:pt x="832" y="1011"/>
                  </a:lnTo>
                  <a:lnTo>
                    <a:pt x="837" y="1020"/>
                  </a:lnTo>
                  <a:lnTo>
                    <a:pt x="832" y="1029"/>
                  </a:lnTo>
                  <a:lnTo>
                    <a:pt x="832" y="1038"/>
                  </a:lnTo>
                  <a:lnTo>
                    <a:pt x="832" y="1052"/>
                  </a:lnTo>
                  <a:lnTo>
                    <a:pt x="832" y="1075"/>
                  </a:lnTo>
                  <a:lnTo>
                    <a:pt x="837" y="1079"/>
                  </a:lnTo>
                  <a:lnTo>
                    <a:pt x="841" y="1116"/>
                  </a:lnTo>
                  <a:lnTo>
                    <a:pt x="832" y="1116"/>
                  </a:lnTo>
                  <a:lnTo>
                    <a:pt x="823" y="1116"/>
                  </a:lnTo>
                  <a:lnTo>
                    <a:pt x="818" y="1116"/>
                  </a:lnTo>
                  <a:lnTo>
                    <a:pt x="814" y="1116"/>
                  </a:lnTo>
                  <a:lnTo>
                    <a:pt x="809" y="1116"/>
                  </a:lnTo>
                  <a:lnTo>
                    <a:pt x="805" y="1120"/>
                  </a:lnTo>
                  <a:lnTo>
                    <a:pt x="800" y="1120"/>
                  </a:lnTo>
                  <a:lnTo>
                    <a:pt x="791" y="1125"/>
                  </a:lnTo>
                  <a:lnTo>
                    <a:pt x="791" y="1125"/>
                  </a:lnTo>
                  <a:lnTo>
                    <a:pt x="786" y="1130"/>
                  </a:lnTo>
                  <a:lnTo>
                    <a:pt x="782" y="1130"/>
                  </a:lnTo>
                  <a:lnTo>
                    <a:pt x="782" y="1134"/>
                  </a:lnTo>
                  <a:lnTo>
                    <a:pt x="777" y="1134"/>
                  </a:lnTo>
                  <a:lnTo>
                    <a:pt x="773" y="1134"/>
                  </a:lnTo>
                  <a:lnTo>
                    <a:pt x="768" y="1139"/>
                  </a:lnTo>
                  <a:lnTo>
                    <a:pt x="768" y="1139"/>
                  </a:lnTo>
                  <a:lnTo>
                    <a:pt x="763" y="1139"/>
                  </a:lnTo>
                  <a:lnTo>
                    <a:pt x="763" y="1143"/>
                  </a:lnTo>
                  <a:lnTo>
                    <a:pt x="759" y="1143"/>
                  </a:lnTo>
                  <a:lnTo>
                    <a:pt x="754" y="1143"/>
                  </a:lnTo>
                  <a:lnTo>
                    <a:pt x="750" y="1148"/>
                  </a:lnTo>
                  <a:lnTo>
                    <a:pt x="745" y="1148"/>
                  </a:lnTo>
                  <a:lnTo>
                    <a:pt x="741" y="1152"/>
                  </a:lnTo>
                  <a:lnTo>
                    <a:pt x="727" y="1152"/>
                  </a:lnTo>
                  <a:lnTo>
                    <a:pt x="722" y="1152"/>
                  </a:lnTo>
                  <a:lnTo>
                    <a:pt x="718" y="1152"/>
                  </a:lnTo>
                  <a:lnTo>
                    <a:pt x="713" y="1152"/>
                  </a:lnTo>
                  <a:lnTo>
                    <a:pt x="695" y="1157"/>
                  </a:lnTo>
                  <a:lnTo>
                    <a:pt x="690" y="1152"/>
                  </a:lnTo>
                  <a:lnTo>
                    <a:pt x="681" y="1148"/>
                  </a:lnTo>
                  <a:lnTo>
                    <a:pt x="681" y="1148"/>
                  </a:lnTo>
                  <a:lnTo>
                    <a:pt x="681" y="1143"/>
                  </a:lnTo>
                  <a:lnTo>
                    <a:pt x="677" y="1139"/>
                  </a:lnTo>
                  <a:lnTo>
                    <a:pt x="663" y="1134"/>
                  </a:lnTo>
                  <a:lnTo>
                    <a:pt x="658" y="1125"/>
                  </a:lnTo>
                  <a:lnTo>
                    <a:pt x="649" y="1120"/>
                  </a:lnTo>
                  <a:lnTo>
                    <a:pt x="645" y="1116"/>
                  </a:lnTo>
                  <a:lnTo>
                    <a:pt x="640" y="1116"/>
                  </a:lnTo>
                  <a:lnTo>
                    <a:pt x="635" y="1116"/>
                  </a:lnTo>
                  <a:lnTo>
                    <a:pt x="635" y="1116"/>
                  </a:lnTo>
                  <a:lnTo>
                    <a:pt x="631" y="1111"/>
                  </a:lnTo>
                  <a:lnTo>
                    <a:pt x="626" y="1107"/>
                  </a:lnTo>
                  <a:lnTo>
                    <a:pt x="622" y="1107"/>
                  </a:lnTo>
                  <a:lnTo>
                    <a:pt x="617" y="1102"/>
                  </a:lnTo>
                  <a:lnTo>
                    <a:pt x="613" y="1098"/>
                  </a:lnTo>
                  <a:lnTo>
                    <a:pt x="613" y="1098"/>
                  </a:lnTo>
                  <a:lnTo>
                    <a:pt x="608" y="1098"/>
                  </a:lnTo>
                  <a:lnTo>
                    <a:pt x="603" y="1093"/>
                  </a:lnTo>
                  <a:lnTo>
                    <a:pt x="599" y="1093"/>
                  </a:lnTo>
                  <a:lnTo>
                    <a:pt x="594" y="1088"/>
                  </a:lnTo>
                  <a:lnTo>
                    <a:pt x="585" y="1088"/>
                  </a:lnTo>
                  <a:lnTo>
                    <a:pt x="581" y="1084"/>
                  </a:lnTo>
                  <a:lnTo>
                    <a:pt x="571" y="1079"/>
                  </a:lnTo>
                  <a:lnTo>
                    <a:pt x="553" y="1079"/>
                  </a:lnTo>
                  <a:lnTo>
                    <a:pt x="549" y="1075"/>
                  </a:lnTo>
                  <a:lnTo>
                    <a:pt x="544" y="1075"/>
                  </a:lnTo>
                  <a:lnTo>
                    <a:pt x="539" y="1075"/>
                  </a:lnTo>
                  <a:lnTo>
                    <a:pt x="535" y="1070"/>
                  </a:lnTo>
                  <a:lnTo>
                    <a:pt x="530" y="1066"/>
                  </a:lnTo>
                  <a:lnTo>
                    <a:pt x="530" y="1061"/>
                  </a:lnTo>
                  <a:lnTo>
                    <a:pt x="526" y="1061"/>
                  </a:lnTo>
                  <a:lnTo>
                    <a:pt x="526" y="1056"/>
                  </a:lnTo>
                  <a:lnTo>
                    <a:pt x="521" y="1056"/>
                  </a:lnTo>
                  <a:lnTo>
                    <a:pt x="517" y="1052"/>
                  </a:lnTo>
                  <a:lnTo>
                    <a:pt x="512" y="1052"/>
                  </a:lnTo>
                  <a:lnTo>
                    <a:pt x="507" y="1052"/>
                  </a:lnTo>
                  <a:lnTo>
                    <a:pt x="503" y="1047"/>
                  </a:lnTo>
                  <a:lnTo>
                    <a:pt x="494" y="1043"/>
                  </a:lnTo>
                  <a:lnTo>
                    <a:pt x="480" y="1043"/>
                  </a:lnTo>
                  <a:lnTo>
                    <a:pt x="475" y="1043"/>
                  </a:lnTo>
                  <a:lnTo>
                    <a:pt x="475" y="1038"/>
                  </a:lnTo>
                  <a:lnTo>
                    <a:pt x="471" y="1038"/>
                  </a:lnTo>
                  <a:lnTo>
                    <a:pt x="466" y="1038"/>
                  </a:lnTo>
                  <a:lnTo>
                    <a:pt x="462" y="1034"/>
                  </a:lnTo>
                  <a:lnTo>
                    <a:pt x="462" y="1034"/>
                  </a:lnTo>
                  <a:lnTo>
                    <a:pt x="448" y="1029"/>
                  </a:lnTo>
                  <a:lnTo>
                    <a:pt x="448" y="1029"/>
                  </a:lnTo>
                  <a:lnTo>
                    <a:pt x="443" y="1029"/>
                  </a:lnTo>
                  <a:lnTo>
                    <a:pt x="439" y="1029"/>
                  </a:lnTo>
                  <a:lnTo>
                    <a:pt x="430" y="1029"/>
                  </a:lnTo>
                  <a:lnTo>
                    <a:pt x="425" y="1029"/>
                  </a:lnTo>
                  <a:lnTo>
                    <a:pt x="421" y="1029"/>
                  </a:lnTo>
                  <a:lnTo>
                    <a:pt x="416" y="1034"/>
                  </a:lnTo>
                  <a:lnTo>
                    <a:pt x="416" y="1038"/>
                  </a:lnTo>
                  <a:lnTo>
                    <a:pt x="416" y="1043"/>
                  </a:lnTo>
                  <a:lnTo>
                    <a:pt x="416" y="1047"/>
                  </a:lnTo>
                  <a:lnTo>
                    <a:pt x="416" y="1052"/>
                  </a:lnTo>
                  <a:lnTo>
                    <a:pt x="421" y="1052"/>
                  </a:lnTo>
                  <a:lnTo>
                    <a:pt x="421" y="1052"/>
                  </a:lnTo>
                  <a:lnTo>
                    <a:pt x="425" y="1052"/>
                  </a:lnTo>
                  <a:lnTo>
                    <a:pt x="425" y="1056"/>
                  </a:lnTo>
                  <a:lnTo>
                    <a:pt x="430" y="1056"/>
                  </a:lnTo>
                  <a:lnTo>
                    <a:pt x="430" y="1061"/>
                  </a:lnTo>
                  <a:lnTo>
                    <a:pt x="434" y="1061"/>
                  </a:lnTo>
                  <a:lnTo>
                    <a:pt x="434" y="1066"/>
                  </a:lnTo>
                  <a:lnTo>
                    <a:pt x="439" y="1070"/>
                  </a:lnTo>
                  <a:lnTo>
                    <a:pt x="439" y="1075"/>
                  </a:lnTo>
                  <a:lnTo>
                    <a:pt x="439" y="1075"/>
                  </a:lnTo>
                  <a:lnTo>
                    <a:pt x="439" y="1079"/>
                  </a:lnTo>
                  <a:lnTo>
                    <a:pt x="434" y="1084"/>
                  </a:lnTo>
                  <a:lnTo>
                    <a:pt x="430" y="1084"/>
                  </a:lnTo>
                  <a:lnTo>
                    <a:pt x="416" y="1088"/>
                  </a:lnTo>
                  <a:lnTo>
                    <a:pt x="411" y="1088"/>
                  </a:lnTo>
                  <a:lnTo>
                    <a:pt x="402" y="1093"/>
                  </a:lnTo>
                  <a:lnTo>
                    <a:pt x="398" y="1098"/>
                  </a:lnTo>
                  <a:lnTo>
                    <a:pt x="393" y="1098"/>
                  </a:lnTo>
                  <a:lnTo>
                    <a:pt x="393" y="1102"/>
                  </a:lnTo>
                  <a:lnTo>
                    <a:pt x="393" y="1111"/>
                  </a:lnTo>
                  <a:lnTo>
                    <a:pt x="393" y="1116"/>
                  </a:lnTo>
                  <a:lnTo>
                    <a:pt x="389" y="1116"/>
                  </a:lnTo>
                  <a:lnTo>
                    <a:pt x="389" y="1116"/>
                  </a:lnTo>
                  <a:lnTo>
                    <a:pt x="384" y="1120"/>
                  </a:lnTo>
                  <a:lnTo>
                    <a:pt x="379" y="1120"/>
                  </a:lnTo>
                  <a:lnTo>
                    <a:pt x="379" y="1125"/>
                  </a:lnTo>
                  <a:lnTo>
                    <a:pt x="375" y="1125"/>
                  </a:lnTo>
                  <a:lnTo>
                    <a:pt x="366" y="1130"/>
                  </a:lnTo>
                  <a:lnTo>
                    <a:pt x="361" y="1130"/>
                  </a:lnTo>
                  <a:lnTo>
                    <a:pt x="347" y="1134"/>
                  </a:lnTo>
                  <a:lnTo>
                    <a:pt x="329" y="1134"/>
                  </a:lnTo>
                  <a:lnTo>
                    <a:pt x="329" y="1134"/>
                  </a:lnTo>
                  <a:lnTo>
                    <a:pt x="306" y="1134"/>
                  </a:lnTo>
                  <a:lnTo>
                    <a:pt x="302" y="1134"/>
                  </a:lnTo>
                  <a:lnTo>
                    <a:pt x="288" y="1134"/>
                  </a:lnTo>
                  <a:lnTo>
                    <a:pt x="283" y="1134"/>
                  </a:lnTo>
                  <a:lnTo>
                    <a:pt x="283" y="1134"/>
                  </a:lnTo>
                  <a:lnTo>
                    <a:pt x="251" y="1125"/>
                  </a:lnTo>
                  <a:lnTo>
                    <a:pt x="242" y="1120"/>
                  </a:lnTo>
                  <a:lnTo>
                    <a:pt x="238" y="1116"/>
                  </a:lnTo>
                  <a:lnTo>
                    <a:pt x="233" y="1116"/>
                  </a:lnTo>
                  <a:lnTo>
                    <a:pt x="229" y="1116"/>
                  </a:lnTo>
                  <a:lnTo>
                    <a:pt x="224" y="1116"/>
                  </a:lnTo>
                  <a:lnTo>
                    <a:pt x="224" y="1111"/>
                  </a:lnTo>
                  <a:lnTo>
                    <a:pt x="219" y="1111"/>
                  </a:lnTo>
                  <a:lnTo>
                    <a:pt x="219" y="1107"/>
                  </a:lnTo>
                  <a:lnTo>
                    <a:pt x="219" y="1102"/>
                  </a:lnTo>
                  <a:lnTo>
                    <a:pt x="215" y="1098"/>
                  </a:lnTo>
                  <a:lnTo>
                    <a:pt x="210" y="1098"/>
                  </a:lnTo>
                  <a:lnTo>
                    <a:pt x="210" y="1093"/>
                  </a:lnTo>
                  <a:lnTo>
                    <a:pt x="210" y="1088"/>
                  </a:lnTo>
                  <a:lnTo>
                    <a:pt x="210" y="1088"/>
                  </a:lnTo>
                  <a:lnTo>
                    <a:pt x="206" y="1084"/>
                  </a:lnTo>
                  <a:lnTo>
                    <a:pt x="201" y="1075"/>
                  </a:lnTo>
                  <a:lnTo>
                    <a:pt x="197" y="1075"/>
                  </a:lnTo>
                  <a:lnTo>
                    <a:pt x="197" y="1075"/>
                  </a:lnTo>
                  <a:lnTo>
                    <a:pt x="192" y="1075"/>
                  </a:lnTo>
                  <a:lnTo>
                    <a:pt x="192" y="1070"/>
                  </a:lnTo>
                  <a:lnTo>
                    <a:pt x="187" y="1070"/>
                  </a:lnTo>
                  <a:lnTo>
                    <a:pt x="183" y="1070"/>
                  </a:lnTo>
                  <a:lnTo>
                    <a:pt x="178" y="1070"/>
                  </a:lnTo>
                  <a:lnTo>
                    <a:pt x="174" y="1070"/>
                  </a:lnTo>
                  <a:lnTo>
                    <a:pt x="174" y="1070"/>
                  </a:lnTo>
                  <a:lnTo>
                    <a:pt x="169" y="1066"/>
                  </a:lnTo>
                  <a:lnTo>
                    <a:pt x="169" y="1061"/>
                  </a:lnTo>
                  <a:lnTo>
                    <a:pt x="165" y="1052"/>
                  </a:lnTo>
                  <a:lnTo>
                    <a:pt x="165" y="1052"/>
                  </a:lnTo>
                  <a:lnTo>
                    <a:pt x="165" y="1047"/>
                  </a:lnTo>
                  <a:lnTo>
                    <a:pt x="169" y="1034"/>
                  </a:lnTo>
                  <a:lnTo>
                    <a:pt x="174" y="1029"/>
                  </a:lnTo>
                  <a:lnTo>
                    <a:pt x="174" y="1029"/>
                  </a:lnTo>
                  <a:lnTo>
                    <a:pt x="174" y="1029"/>
                  </a:lnTo>
                  <a:lnTo>
                    <a:pt x="174" y="1024"/>
                  </a:lnTo>
                  <a:lnTo>
                    <a:pt x="178" y="1020"/>
                  </a:lnTo>
                  <a:lnTo>
                    <a:pt x="178" y="1015"/>
                  </a:lnTo>
                  <a:lnTo>
                    <a:pt x="183" y="1006"/>
                  </a:lnTo>
                  <a:lnTo>
                    <a:pt x="183" y="1002"/>
                  </a:lnTo>
                  <a:lnTo>
                    <a:pt x="183" y="997"/>
                  </a:lnTo>
                  <a:lnTo>
                    <a:pt x="183" y="992"/>
                  </a:lnTo>
                  <a:lnTo>
                    <a:pt x="183" y="988"/>
                  </a:lnTo>
                  <a:lnTo>
                    <a:pt x="178" y="988"/>
                  </a:lnTo>
                  <a:lnTo>
                    <a:pt x="178" y="988"/>
                  </a:lnTo>
                  <a:lnTo>
                    <a:pt x="178" y="983"/>
                  </a:lnTo>
                  <a:lnTo>
                    <a:pt x="174" y="979"/>
                  </a:lnTo>
                  <a:lnTo>
                    <a:pt x="174" y="970"/>
                  </a:lnTo>
                  <a:lnTo>
                    <a:pt x="174" y="965"/>
                  </a:lnTo>
                  <a:lnTo>
                    <a:pt x="169" y="965"/>
                  </a:lnTo>
                  <a:lnTo>
                    <a:pt x="160" y="956"/>
                  </a:lnTo>
                  <a:lnTo>
                    <a:pt x="155" y="951"/>
                  </a:lnTo>
                  <a:lnTo>
                    <a:pt x="155" y="951"/>
                  </a:lnTo>
                  <a:lnTo>
                    <a:pt x="142" y="947"/>
                  </a:lnTo>
                  <a:lnTo>
                    <a:pt x="133" y="947"/>
                  </a:lnTo>
                  <a:lnTo>
                    <a:pt x="128" y="947"/>
                  </a:lnTo>
                  <a:lnTo>
                    <a:pt x="123" y="951"/>
                  </a:lnTo>
                  <a:lnTo>
                    <a:pt x="119" y="956"/>
                  </a:lnTo>
                  <a:lnTo>
                    <a:pt x="110" y="960"/>
                  </a:lnTo>
                  <a:lnTo>
                    <a:pt x="105" y="965"/>
                  </a:lnTo>
                  <a:lnTo>
                    <a:pt x="101" y="965"/>
                  </a:lnTo>
                  <a:lnTo>
                    <a:pt x="96" y="965"/>
                  </a:lnTo>
                  <a:lnTo>
                    <a:pt x="96" y="965"/>
                  </a:lnTo>
                  <a:lnTo>
                    <a:pt x="91" y="960"/>
                  </a:lnTo>
                  <a:lnTo>
                    <a:pt x="91" y="951"/>
                  </a:lnTo>
                  <a:lnTo>
                    <a:pt x="91" y="947"/>
                  </a:lnTo>
                  <a:lnTo>
                    <a:pt x="91" y="933"/>
                  </a:lnTo>
                  <a:lnTo>
                    <a:pt x="91" y="919"/>
                  </a:lnTo>
                  <a:lnTo>
                    <a:pt x="91" y="915"/>
                  </a:lnTo>
                  <a:lnTo>
                    <a:pt x="91" y="910"/>
                  </a:lnTo>
                  <a:lnTo>
                    <a:pt x="91" y="901"/>
                  </a:lnTo>
                  <a:lnTo>
                    <a:pt x="91" y="896"/>
                  </a:lnTo>
                  <a:lnTo>
                    <a:pt x="91" y="896"/>
                  </a:lnTo>
                  <a:lnTo>
                    <a:pt x="87" y="892"/>
                  </a:lnTo>
                  <a:lnTo>
                    <a:pt x="87" y="887"/>
                  </a:lnTo>
                  <a:lnTo>
                    <a:pt x="87" y="883"/>
                  </a:lnTo>
                  <a:lnTo>
                    <a:pt x="87" y="878"/>
                  </a:lnTo>
                  <a:lnTo>
                    <a:pt x="87" y="878"/>
                  </a:lnTo>
                  <a:lnTo>
                    <a:pt x="82" y="874"/>
                  </a:lnTo>
                  <a:lnTo>
                    <a:pt x="82" y="869"/>
                  </a:lnTo>
                  <a:lnTo>
                    <a:pt x="82" y="864"/>
                  </a:lnTo>
                  <a:lnTo>
                    <a:pt x="82" y="860"/>
                  </a:lnTo>
                  <a:lnTo>
                    <a:pt x="82" y="855"/>
                  </a:lnTo>
                  <a:lnTo>
                    <a:pt x="82" y="846"/>
                  </a:lnTo>
                  <a:lnTo>
                    <a:pt x="82" y="842"/>
                  </a:lnTo>
                  <a:lnTo>
                    <a:pt x="78" y="837"/>
                  </a:lnTo>
                  <a:lnTo>
                    <a:pt x="73" y="832"/>
                  </a:lnTo>
                  <a:lnTo>
                    <a:pt x="73" y="832"/>
                  </a:lnTo>
                  <a:lnTo>
                    <a:pt x="69" y="832"/>
                  </a:lnTo>
                  <a:lnTo>
                    <a:pt x="64" y="828"/>
                  </a:lnTo>
                  <a:lnTo>
                    <a:pt x="59" y="828"/>
                  </a:lnTo>
                  <a:lnTo>
                    <a:pt x="55" y="828"/>
                  </a:lnTo>
                  <a:lnTo>
                    <a:pt x="50" y="828"/>
                  </a:lnTo>
                  <a:lnTo>
                    <a:pt x="46" y="828"/>
                  </a:lnTo>
                  <a:lnTo>
                    <a:pt x="46" y="828"/>
                  </a:lnTo>
                  <a:lnTo>
                    <a:pt x="32" y="823"/>
                  </a:lnTo>
                  <a:lnTo>
                    <a:pt x="27" y="819"/>
                  </a:lnTo>
                  <a:lnTo>
                    <a:pt x="23" y="814"/>
                  </a:lnTo>
                  <a:lnTo>
                    <a:pt x="23" y="814"/>
                  </a:lnTo>
                  <a:lnTo>
                    <a:pt x="18" y="814"/>
                  </a:lnTo>
                  <a:lnTo>
                    <a:pt x="14" y="814"/>
                  </a:lnTo>
                  <a:lnTo>
                    <a:pt x="14" y="810"/>
                  </a:lnTo>
                  <a:lnTo>
                    <a:pt x="9" y="810"/>
                  </a:lnTo>
                  <a:lnTo>
                    <a:pt x="5" y="810"/>
                  </a:lnTo>
                  <a:lnTo>
                    <a:pt x="0" y="796"/>
                  </a:lnTo>
                  <a:lnTo>
                    <a:pt x="0" y="791"/>
                  </a:lnTo>
                  <a:lnTo>
                    <a:pt x="0" y="787"/>
                  </a:lnTo>
                  <a:lnTo>
                    <a:pt x="0" y="773"/>
                  </a:lnTo>
                  <a:lnTo>
                    <a:pt x="0" y="768"/>
                  </a:lnTo>
                  <a:lnTo>
                    <a:pt x="0" y="764"/>
                  </a:lnTo>
                  <a:lnTo>
                    <a:pt x="0" y="759"/>
                  </a:lnTo>
                  <a:lnTo>
                    <a:pt x="0" y="755"/>
                  </a:lnTo>
                  <a:lnTo>
                    <a:pt x="5" y="755"/>
                  </a:lnTo>
                  <a:lnTo>
                    <a:pt x="5" y="750"/>
                  </a:lnTo>
                  <a:lnTo>
                    <a:pt x="9" y="746"/>
                  </a:lnTo>
                  <a:lnTo>
                    <a:pt x="14" y="746"/>
                  </a:lnTo>
                  <a:lnTo>
                    <a:pt x="14" y="741"/>
                  </a:lnTo>
                  <a:lnTo>
                    <a:pt x="18" y="736"/>
                  </a:lnTo>
                  <a:lnTo>
                    <a:pt x="18" y="732"/>
                  </a:lnTo>
                  <a:lnTo>
                    <a:pt x="23" y="727"/>
                  </a:lnTo>
                  <a:lnTo>
                    <a:pt x="23" y="723"/>
                  </a:lnTo>
                  <a:lnTo>
                    <a:pt x="27" y="723"/>
                  </a:lnTo>
                  <a:lnTo>
                    <a:pt x="27" y="718"/>
                  </a:lnTo>
                  <a:lnTo>
                    <a:pt x="32" y="718"/>
                  </a:lnTo>
                  <a:lnTo>
                    <a:pt x="32" y="714"/>
                  </a:lnTo>
                  <a:lnTo>
                    <a:pt x="37" y="709"/>
                  </a:lnTo>
                  <a:lnTo>
                    <a:pt x="37" y="700"/>
                  </a:lnTo>
                  <a:lnTo>
                    <a:pt x="37" y="700"/>
                  </a:lnTo>
                  <a:lnTo>
                    <a:pt x="37" y="695"/>
                  </a:lnTo>
                  <a:lnTo>
                    <a:pt x="37" y="691"/>
                  </a:lnTo>
                  <a:lnTo>
                    <a:pt x="37" y="682"/>
                  </a:lnTo>
                  <a:lnTo>
                    <a:pt x="37" y="677"/>
                  </a:lnTo>
                  <a:lnTo>
                    <a:pt x="37" y="668"/>
                  </a:lnTo>
                  <a:lnTo>
                    <a:pt x="32" y="663"/>
                  </a:lnTo>
                  <a:lnTo>
                    <a:pt x="27" y="663"/>
                  </a:lnTo>
                  <a:lnTo>
                    <a:pt x="27" y="659"/>
                  </a:lnTo>
                  <a:lnTo>
                    <a:pt x="23" y="659"/>
                  </a:lnTo>
                  <a:lnTo>
                    <a:pt x="23" y="654"/>
                  </a:lnTo>
                  <a:lnTo>
                    <a:pt x="23" y="650"/>
                  </a:lnTo>
                  <a:lnTo>
                    <a:pt x="18" y="645"/>
                  </a:lnTo>
                  <a:lnTo>
                    <a:pt x="14" y="640"/>
                  </a:lnTo>
                  <a:lnTo>
                    <a:pt x="14" y="636"/>
                  </a:lnTo>
                  <a:lnTo>
                    <a:pt x="14" y="636"/>
                  </a:lnTo>
                  <a:lnTo>
                    <a:pt x="9" y="627"/>
                  </a:lnTo>
                  <a:lnTo>
                    <a:pt x="9" y="622"/>
                  </a:lnTo>
                  <a:lnTo>
                    <a:pt x="9" y="618"/>
                  </a:lnTo>
                  <a:lnTo>
                    <a:pt x="9" y="604"/>
                  </a:lnTo>
                  <a:lnTo>
                    <a:pt x="14" y="590"/>
                  </a:lnTo>
                  <a:lnTo>
                    <a:pt x="14" y="586"/>
                  </a:lnTo>
                  <a:lnTo>
                    <a:pt x="14" y="567"/>
                  </a:lnTo>
                  <a:lnTo>
                    <a:pt x="14" y="567"/>
                  </a:lnTo>
                  <a:lnTo>
                    <a:pt x="14" y="563"/>
                  </a:lnTo>
                  <a:lnTo>
                    <a:pt x="14" y="558"/>
                  </a:lnTo>
                  <a:lnTo>
                    <a:pt x="18" y="558"/>
                  </a:lnTo>
                  <a:lnTo>
                    <a:pt x="18" y="554"/>
                  </a:lnTo>
                  <a:lnTo>
                    <a:pt x="18" y="549"/>
                  </a:lnTo>
                  <a:lnTo>
                    <a:pt x="23" y="549"/>
                  </a:lnTo>
                  <a:lnTo>
                    <a:pt x="23" y="549"/>
                  </a:lnTo>
                  <a:lnTo>
                    <a:pt x="23" y="549"/>
                  </a:lnTo>
                  <a:lnTo>
                    <a:pt x="23" y="544"/>
                  </a:lnTo>
                  <a:lnTo>
                    <a:pt x="27" y="544"/>
                  </a:lnTo>
                  <a:lnTo>
                    <a:pt x="32" y="544"/>
                  </a:lnTo>
                  <a:lnTo>
                    <a:pt x="37" y="544"/>
                  </a:lnTo>
                  <a:lnTo>
                    <a:pt x="46" y="540"/>
                  </a:lnTo>
                  <a:lnTo>
                    <a:pt x="50" y="540"/>
                  </a:lnTo>
                  <a:lnTo>
                    <a:pt x="55" y="535"/>
                  </a:lnTo>
                  <a:lnTo>
                    <a:pt x="59" y="535"/>
                  </a:lnTo>
                  <a:lnTo>
                    <a:pt x="59" y="531"/>
                  </a:lnTo>
                  <a:lnTo>
                    <a:pt x="64" y="526"/>
                  </a:lnTo>
                  <a:lnTo>
                    <a:pt x="64" y="526"/>
                  </a:lnTo>
                  <a:lnTo>
                    <a:pt x="69" y="522"/>
                  </a:lnTo>
                  <a:lnTo>
                    <a:pt x="69" y="517"/>
                  </a:lnTo>
                  <a:lnTo>
                    <a:pt x="69" y="512"/>
                  </a:lnTo>
                  <a:lnTo>
                    <a:pt x="73" y="512"/>
                  </a:lnTo>
                  <a:lnTo>
                    <a:pt x="73" y="508"/>
                  </a:lnTo>
                  <a:lnTo>
                    <a:pt x="78" y="503"/>
                  </a:lnTo>
                  <a:lnTo>
                    <a:pt x="82" y="503"/>
                  </a:lnTo>
                  <a:lnTo>
                    <a:pt x="82" y="499"/>
                  </a:lnTo>
                  <a:lnTo>
                    <a:pt x="91" y="485"/>
                  </a:lnTo>
                  <a:lnTo>
                    <a:pt x="96" y="485"/>
                  </a:lnTo>
                  <a:lnTo>
                    <a:pt x="96" y="480"/>
                  </a:lnTo>
                  <a:lnTo>
                    <a:pt x="101" y="480"/>
                  </a:lnTo>
                  <a:lnTo>
                    <a:pt x="105" y="480"/>
                  </a:lnTo>
                  <a:lnTo>
                    <a:pt x="105" y="476"/>
                  </a:lnTo>
                  <a:lnTo>
                    <a:pt x="110" y="476"/>
                  </a:lnTo>
                  <a:lnTo>
                    <a:pt x="110" y="471"/>
                  </a:lnTo>
                  <a:lnTo>
                    <a:pt x="110" y="471"/>
                  </a:lnTo>
                  <a:lnTo>
                    <a:pt x="110" y="467"/>
                  </a:lnTo>
                  <a:lnTo>
                    <a:pt x="114" y="467"/>
                  </a:lnTo>
                  <a:lnTo>
                    <a:pt x="114" y="462"/>
                  </a:lnTo>
                  <a:lnTo>
                    <a:pt x="119" y="462"/>
                  </a:lnTo>
                  <a:lnTo>
                    <a:pt x="128" y="458"/>
                  </a:lnTo>
                  <a:lnTo>
                    <a:pt x="133" y="458"/>
                  </a:lnTo>
                  <a:lnTo>
                    <a:pt x="133" y="458"/>
                  </a:lnTo>
                  <a:lnTo>
                    <a:pt x="137" y="458"/>
                  </a:lnTo>
                  <a:lnTo>
                    <a:pt x="142" y="458"/>
                  </a:lnTo>
                  <a:lnTo>
                    <a:pt x="146" y="458"/>
                  </a:lnTo>
                  <a:lnTo>
                    <a:pt x="151" y="458"/>
                  </a:lnTo>
                  <a:lnTo>
                    <a:pt x="155" y="458"/>
                  </a:lnTo>
                  <a:lnTo>
                    <a:pt x="160" y="458"/>
                  </a:lnTo>
                  <a:lnTo>
                    <a:pt x="160" y="458"/>
                  </a:lnTo>
                  <a:lnTo>
                    <a:pt x="160" y="458"/>
                  </a:lnTo>
                  <a:lnTo>
                    <a:pt x="165" y="458"/>
                  </a:lnTo>
                  <a:lnTo>
                    <a:pt x="165" y="453"/>
                  </a:lnTo>
                  <a:lnTo>
                    <a:pt x="169" y="453"/>
                  </a:lnTo>
                  <a:lnTo>
                    <a:pt x="174" y="448"/>
                  </a:lnTo>
                  <a:lnTo>
                    <a:pt x="174" y="448"/>
                  </a:lnTo>
                  <a:lnTo>
                    <a:pt x="178" y="444"/>
                  </a:lnTo>
                  <a:lnTo>
                    <a:pt x="187" y="444"/>
                  </a:lnTo>
                  <a:lnTo>
                    <a:pt x="192" y="444"/>
                  </a:lnTo>
                  <a:lnTo>
                    <a:pt x="197" y="448"/>
                  </a:lnTo>
                  <a:lnTo>
                    <a:pt x="197" y="448"/>
                  </a:lnTo>
                  <a:lnTo>
                    <a:pt x="201" y="444"/>
                  </a:lnTo>
                  <a:lnTo>
                    <a:pt x="206" y="444"/>
                  </a:lnTo>
                  <a:lnTo>
                    <a:pt x="210" y="444"/>
                  </a:lnTo>
                  <a:lnTo>
                    <a:pt x="219" y="444"/>
                  </a:lnTo>
                  <a:lnTo>
                    <a:pt x="219" y="448"/>
                  </a:lnTo>
                  <a:lnTo>
                    <a:pt x="229" y="448"/>
                  </a:lnTo>
                  <a:lnTo>
                    <a:pt x="233" y="453"/>
                  </a:lnTo>
                  <a:lnTo>
                    <a:pt x="238" y="453"/>
                  </a:lnTo>
                  <a:lnTo>
                    <a:pt x="242" y="458"/>
                  </a:lnTo>
                  <a:lnTo>
                    <a:pt x="242" y="458"/>
                  </a:lnTo>
                  <a:lnTo>
                    <a:pt x="247" y="458"/>
                  </a:lnTo>
                  <a:lnTo>
                    <a:pt x="251" y="458"/>
                  </a:lnTo>
                  <a:lnTo>
                    <a:pt x="251" y="462"/>
                  </a:lnTo>
                  <a:lnTo>
                    <a:pt x="256" y="462"/>
                  </a:lnTo>
                  <a:lnTo>
                    <a:pt x="261" y="462"/>
                  </a:lnTo>
                  <a:lnTo>
                    <a:pt x="265" y="467"/>
                  </a:lnTo>
                  <a:lnTo>
                    <a:pt x="270" y="467"/>
                  </a:lnTo>
                  <a:lnTo>
                    <a:pt x="283" y="462"/>
                  </a:lnTo>
                  <a:lnTo>
                    <a:pt x="283" y="458"/>
                  </a:lnTo>
                  <a:lnTo>
                    <a:pt x="293" y="458"/>
                  </a:lnTo>
                  <a:lnTo>
                    <a:pt x="297" y="458"/>
                  </a:lnTo>
                  <a:lnTo>
                    <a:pt x="302" y="458"/>
                  </a:lnTo>
                  <a:lnTo>
                    <a:pt x="306" y="458"/>
                  </a:lnTo>
                  <a:lnTo>
                    <a:pt x="306" y="462"/>
                  </a:lnTo>
                  <a:lnTo>
                    <a:pt x="311" y="467"/>
                  </a:lnTo>
                  <a:lnTo>
                    <a:pt x="311" y="471"/>
                  </a:lnTo>
                  <a:lnTo>
                    <a:pt x="311" y="476"/>
                  </a:lnTo>
                  <a:lnTo>
                    <a:pt x="315" y="480"/>
                  </a:lnTo>
                  <a:lnTo>
                    <a:pt x="315" y="480"/>
                  </a:lnTo>
                  <a:lnTo>
                    <a:pt x="320" y="480"/>
                  </a:lnTo>
                  <a:lnTo>
                    <a:pt x="320" y="485"/>
                  </a:lnTo>
                  <a:lnTo>
                    <a:pt x="325" y="485"/>
                  </a:lnTo>
                  <a:lnTo>
                    <a:pt x="329" y="490"/>
                  </a:lnTo>
                  <a:lnTo>
                    <a:pt x="329" y="490"/>
                  </a:lnTo>
                  <a:lnTo>
                    <a:pt x="338" y="490"/>
                  </a:lnTo>
                  <a:lnTo>
                    <a:pt x="343" y="490"/>
                  </a:lnTo>
                  <a:lnTo>
                    <a:pt x="347" y="490"/>
                  </a:lnTo>
                  <a:lnTo>
                    <a:pt x="352" y="490"/>
                  </a:lnTo>
                  <a:lnTo>
                    <a:pt x="357" y="485"/>
                  </a:lnTo>
                  <a:lnTo>
                    <a:pt x="366" y="485"/>
                  </a:lnTo>
                  <a:lnTo>
                    <a:pt x="370" y="480"/>
                  </a:lnTo>
                  <a:lnTo>
                    <a:pt x="375" y="480"/>
                  </a:lnTo>
                  <a:lnTo>
                    <a:pt x="384" y="480"/>
                  </a:lnTo>
                  <a:lnTo>
                    <a:pt x="389" y="480"/>
                  </a:lnTo>
                  <a:lnTo>
                    <a:pt x="393" y="480"/>
                  </a:lnTo>
                  <a:lnTo>
                    <a:pt x="393" y="480"/>
                  </a:lnTo>
                  <a:lnTo>
                    <a:pt x="398" y="480"/>
                  </a:lnTo>
                  <a:lnTo>
                    <a:pt x="402" y="480"/>
                  </a:lnTo>
                  <a:lnTo>
                    <a:pt x="402" y="485"/>
                  </a:lnTo>
                  <a:lnTo>
                    <a:pt x="407" y="485"/>
                  </a:lnTo>
                  <a:lnTo>
                    <a:pt x="411" y="494"/>
                  </a:lnTo>
                  <a:lnTo>
                    <a:pt x="416" y="494"/>
                  </a:lnTo>
                  <a:lnTo>
                    <a:pt x="416" y="499"/>
                  </a:lnTo>
                  <a:lnTo>
                    <a:pt x="416" y="503"/>
                  </a:lnTo>
                  <a:lnTo>
                    <a:pt x="421" y="512"/>
                  </a:lnTo>
                  <a:lnTo>
                    <a:pt x="425" y="522"/>
                  </a:lnTo>
                  <a:lnTo>
                    <a:pt x="425" y="526"/>
                  </a:lnTo>
                  <a:lnTo>
                    <a:pt x="425" y="526"/>
                  </a:lnTo>
                  <a:lnTo>
                    <a:pt x="430" y="540"/>
                  </a:lnTo>
                  <a:lnTo>
                    <a:pt x="434" y="558"/>
                  </a:lnTo>
                  <a:lnTo>
                    <a:pt x="434" y="563"/>
                  </a:lnTo>
                  <a:lnTo>
                    <a:pt x="439" y="567"/>
                  </a:lnTo>
                  <a:lnTo>
                    <a:pt x="439" y="572"/>
                  </a:lnTo>
                  <a:lnTo>
                    <a:pt x="439" y="576"/>
                  </a:lnTo>
                  <a:lnTo>
                    <a:pt x="439" y="581"/>
                  </a:lnTo>
                  <a:lnTo>
                    <a:pt x="439" y="586"/>
                  </a:lnTo>
                  <a:lnTo>
                    <a:pt x="443" y="586"/>
                  </a:lnTo>
                  <a:lnTo>
                    <a:pt x="448" y="590"/>
                  </a:lnTo>
                  <a:lnTo>
                    <a:pt x="453" y="590"/>
                  </a:lnTo>
                  <a:lnTo>
                    <a:pt x="457" y="586"/>
                  </a:lnTo>
                  <a:lnTo>
                    <a:pt x="462" y="586"/>
                  </a:lnTo>
                  <a:lnTo>
                    <a:pt x="485" y="590"/>
                  </a:lnTo>
                  <a:lnTo>
                    <a:pt x="503" y="590"/>
                  </a:lnTo>
                  <a:lnTo>
                    <a:pt x="507" y="590"/>
                  </a:lnTo>
                  <a:lnTo>
                    <a:pt x="517" y="590"/>
                  </a:lnTo>
                  <a:lnTo>
                    <a:pt x="517" y="595"/>
                  </a:lnTo>
                  <a:lnTo>
                    <a:pt x="521" y="595"/>
                  </a:lnTo>
                  <a:lnTo>
                    <a:pt x="526" y="595"/>
                  </a:lnTo>
                  <a:lnTo>
                    <a:pt x="526" y="599"/>
                  </a:lnTo>
                  <a:lnTo>
                    <a:pt x="530" y="599"/>
                  </a:lnTo>
                  <a:lnTo>
                    <a:pt x="535" y="599"/>
                  </a:lnTo>
                  <a:lnTo>
                    <a:pt x="539" y="599"/>
                  </a:lnTo>
                  <a:lnTo>
                    <a:pt x="539" y="595"/>
                  </a:lnTo>
                  <a:lnTo>
                    <a:pt x="535" y="590"/>
                  </a:lnTo>
                  <a:lnTo>
                    <a:pt x="530" y="590"/>
                  </a:lnTo>
                  <a:lnTo>
                    <a:pt x="526" y="586"/>
                  </a:lnTo>
                  <a:lnTo>
                    <a:pt x="526" y="581"/>
                  </a:lnTo>
                  <a:lnTo>
                    <a:pt x="526" y="581"/>
                  </a:lnTo>
                  <a:lnTo>
                    <a:pt x="526" y="576"/>
                  </a:lnTo>
                  <a:lnTo>
                    <a:pt x="526" y="567"/>
                  </a:lnTo>
                  <a:lnTo>
                    <a:pt x="526" y="563"/>
                  </a:lnTo>
                  <a:lnTo>
                    <a:pt x="526" y="558"/>
                  </a:lnTo>
                  <a:lnTo>
                    <a:pt x="526" y="554"/>
                  </a:lnTo>
                  <a:lnTo>
                    <a:pt x="535" y="549"/>
                  </a:lnTo>
                  <a:lnTo>
                    <a:pt x="539" y="549"/>
                  </a:lnTo>
                  <a:lnTo>
                    <a:pt x="549" y="549"/>
                  </a:lnTo>
                  <a:lnTo>
                    <a:pt x="549" y="544"/>
                  </a:lnTo>
                  <a:lnTo>
                    <a:pt x="553" y="544"/>
                  </a:lnTo>
                  <a:close/>
                </a:path>
              </a:pathLst>
            </a:custGeom>
            <a:blipFill>
              <a:blip r:embed="rId77"/>
              <a:tile tx="0" ty="0" sx="100000" sy="100000" flip="none" algn="tl"/>
            </a:blip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Bauchi</a:t>
              </a:r>
            </a:p>
          </p:txBody>
        </p:sp>
        <p:sp>
          <p:nvSpPr>
            <p:cNvPr id="129" name="Freeform 48">
              <a:extLst>
                <a:ext uri="{FF2B5EF4-FFF2-40B4-BE49-F238E27FC236}">
                  <a16:creationId xmlns:a16="http://schemas.microsoft.com/office/drawing/2014/main" id="{C64F259B-34D4-4479-B331-CC2768D43060}"/>
                </a:ext>
              </a:extLst>
            </p:cNvPr>
            <p:cNvSpPr>
              <a:spLocks/>
            </p:cNvSpPr>
            <p:nvPr>
              <p:custDataLst>
                <p:tags r:id="rId41"/>
              </p:custDataLst>
            </p:nvPr>
          </p:nvSpPr>
          <p:spPr bwMode="auto">
            <a:xfrm>
              <a:off x="1029204" y="4065828"/>
              <a:ext cx="403009" cy="420308"/>
            </a:xfrm>
            <a:custGeom>
              <a:avLst/>
              <a:gdLst/>
              <a:ahLst/>
              <a:cxnLst>
                <a:cxn ang="0">
                  <a:pos x="430" y="306"/>
                </a:cxn>
                <a:cxn ang="0">
                  <a:pos x="430" y="329"/>
                </a:cxn>
                <a:cxn ang="0">
                  <a:pos x="416" y="352"/>
                </a:cxn>
                <a:cxn ang="0">
                  <a:pos x="412" y="388"/>
                </a:cxn>
                <a:cxn ang="0">
                  <a:pos x="412" y="402"/>
                </a:cxn>
                <a:cxn ang="0">
                  <a:pos x="403" y="393"/>
                </a:cxn>
                <a:cxn ang="0">
                  <a:pos x="389" y="393"/>
                </a:cxn>
                <a:cxn ang="0">
                  <a:pos x="348" y="407"/>
                </a:cxn>
                <a:cxn ang="0">
                  <a:pos x="325" y="407"/>
                </a:cxn>
                <a:cxn ang="0">
                  <a:pos x="284" y="416"/>
                </a:cxn>
                <a:cxn ang="0">
                  <a:pos x="270" y="411"/>
                </a:cxn>
                <a:cxn ang="0">
                  <a:pos x="247" y="407"/>
                </a:cxn>
                <a:cxn ang="0">
                  <a:pos x="224" y="393"/>
                </a:cxn>
                <a:cxn ang="0">
                  <a:pos x="183" y="365"/>
                </a:cxn>
                <a:cxn ang="0">
                  <a:pos x="174" y="356"/>
                </a:cxn>
                <a:cxn ang="0">
                  <a:pos x="147" y="338"/>
                </a:cxn>
                <a:cxn ang="0">
                  <a:pos x="133" y="320"/>
                </a:cxn>
                <a:cxn ang="0">
                  <a:pos x="124" y="315"/>
                </a:cxn>
                <a:cxn ang="0">
                  <a:pos x="92" y="279"/>
                </a:cxn>
                <a:cxn ang="0">
                  <a:pos x="64" y="237"/>
                </a:cxn>
                <a:cxn ang="0">
                  <a:pos x="51" y="215"/>
                </a:cxn>
                <a:cxn ang="0">
                  <a:pos x="37" y="178"/>
                </a:cxn>
                <a:cxn ang="0">
                  <a:pos x="28" y="164"/>
                </a:cxn>
                <a:cxn ang="0">
                  <a:pos x="19" y="132"/>
                </a:cxn>
                <a:cxn ang="0">
                  <a:pos x="0" y="91"/>
                </a:cxn>
                <a:cxn ang="0">
                  <a:pos x="19" y="87"/>
                </a:cxn>
                <a:cxn ang="0">
                  <a:pos x="37" y="100"/>
                </a:cxn>
                <a:cxn ang="0">
                  <a:pos x="64" y="114"/>
                </a:cxn>
                <a:cxn ang="0">
                  <a:pos x="101" y="128"/>
                </a:cxn>
                <a:cxn ang="0">
                  <a:pos x="124" y="141"/>
                </a:cxn>
                <a:cxn ang="0">
                  <a:pos x="147" y="132"/>
                </a:cxn>
                <a:cxn ang="0">
                  <a:pos x="179" y="114"/>
                </a:cxn>
                <a:cxn ang="0">
                  <a:pos x="202" y="105"/>
                </a:cxn>
                <a:cxn ang="0">
                  <a:pos x="211" y="87"/>
                </a:cxn>
                <a:cxn ang="0">
                  <a:pos x="229" y="87"/>
                </a:cxn>
                <a:cxn ang="0">
                  <a:pos x="252" y="105"/>
                </a:cxn>
                <a:cxn ang="0">
                  <a:pos x="275" y="87"/>
                </a:cxn>
                <a:cxn ang="0">
                  <a:pos x="298" y="87"/>
                </a:cxn>
                <a:cxn ang="0">
                  <a:pos x="311" y="64"/>
                </a:cxn>
                <a:cxn ang="0">
                  <a:pos x="334" y="55"/>
                </a:cxn>
                <a:cxn ang="0">
                  <a:pos x="371" y="32"/>
                </a:cxn>
                <a:cxn ang="0">
                  <a:pos x="407" y="23"/>
                </a:cxn>
                <a:cxn ang="0">
                  <a:pos x="426" y="0"/>
                </a:cxn>
                <a:cxn ang="0">
                  <a:pos x="448" y="0"/>
                </a:cxn>
                <a:cxn ang="0">
                  <a:pos x="439" y="23"/>
                </a:cxn>
                <a:cxn ang="0">
                  <a:pos x="453" y="55"/>
                </a:cxn>
                <a:cxn ang="0">
                  <a:pos x="430" y="82"/>
                </a:cxn>
                <a:cxn ang="0">
                  <a:pos x="407" y="91"/>
                </a:cxn>
                <a:cxn ang="0">
                  <a:pos x="384" y="137"/>
                </a:cxn>
                <a:cxn ang="0">
                  <a:pos x="394" y="160"/>
                </a:cxn>
                <a:cxn ang="0">
                  <a:pos x="384" y="178"/>
                </a:cxn>
                <a:cxn ang="0">
                  <a:pos x="380" y="219"/>
                </a:cxn>
                <a:cxn ang="0">
                  <a:pos x="394" y="242"/>
                </a:cxn>
                <a:cxn ang="0">
                  <a:pos x="426" y="242"/>
                </a:cxn>
                <a:cxn ang="0">
                  <a:pos x="453" y="251"/>
                </a:cxn>
                <a:cxn ang="0">
                  <a:pos x="421" y="279"/>
                </a:cxn>
              </a:cxnLst>
              <a:rect l="0" t="0" r="r" b="b"/>
              <a:pathLst>
                <a:path w="462" h="416">
                  <a:moveTo>
                    <a:pt x="416" y="283"/>
                  </a:moveTo>
                  <a:lnTo>
                    <a:pt x="421" y="288"/>
                  </a:lnTo>
                  <a:lnTo>
                    <a:pt x="426" y="297"/>
                  </a:lnTo>
                  <a:lnTo>
                    <a:pt x="430" y="306"/>
                  </a:lnTo>
                  <a:lnTo>
                    <a:pt x="430" y="306"/>
                  </a:lnTo>
                  <a:lnTo>
                    <a:pt x="430" y="311"/>
                  </a:lnTo>
                  <a:lnTo>
                    <a:pt x="435" y="315"/>
                  </a:lnTo>
                  <a:lnTo>
                    <a:pt x="430" y="324"/>
                  </a:lnTo>
                  <a:lnTo>
                    <a:pt x="430" y="329"/>
                  </a:lnTo>
                  <a:lnTo>
                    <a:pt x="430" y="329"/>
                  </a:lnTo>
                  <a:lnTo>
                    <a:pt x="430" y="338"/>
                  </a:lnTo>
                  <a:lnTo>
                    <a:pt x="421" y="343"/>
                  </a:lnTo>
                  <a:lnTo>
                    <a:pt x="421" y="343"/>
                  </a:lnTo>
                  <a:lnTo>
                    <a:pt x="416" y="347"/>
                  </a:lnTo>
                  <a:lnTo>
                    <a:pt x="416" y="352"/>
                  </a:lnTo>
                  <a:lnTo>
                    <a:pt x="416" y="356"/>
                  </a:lnTo>
                  <a:lnTo>
                    <a:pt x="412" y="370"/>
                  </a:lnTo>
                  <a:lnTo>
                    <a:pt x="407" y="375"/>
                  </a:lnTo>
                  <a:lnTo>
                    <a:pt x="407" y="384"/>
                  </a:lnTo>
                  <a:lnTo>
                    <a:pt x="412" y="388"/>
                  </a:lnTo>
                  <a:lnTo>
                    <a:pt x="412" y="393"/>
                  </a:lnTo>
                  <a:lnTo>
                    <a:pt x="421" y="393"/>
                  </a:lnTo>
                  <a:lnTo>
                    <a:pt x="426" y="397"/>
                  </a:lnTo>
                  <a:lnTo>
                    <a:pt x="416" y="402"/>
                  </a:lnTo>
                  <a:lnTo>
                    <a:pt x="412" y="402"/>
                  </a:lnTo>
                  <a:lnTo>
                    <a:pt x="412" y="402"/>
                  </a:lnTo>
                  <a:lnTo>
                    <a:pt x="407" y="397"/>
                  </a:lnTo>
                  <a:lnTo>
                    <a:pt x="403" y="397"/>
                  </a:lnTo>
                  <a:lnTo>
                    <a:pt x="403" y="393"/>
                  </a:lnTo>
                  <a:lnTo>
                    <a:pt x="403" y="393"/>
                  </a:lnTo>
                  <a:lnTo>
                    <a:pt x="403" y="388"/>
                  </a:lnTo>
                  <a:lnTo>
                    <a:pt x="398" y="393"/>
                  </a:lnTo>
                  <a:lnTo>
                    <a:pt x="394" y="393"/>
                  </a:lnTo>
                  <a:lnTo>
                    <a:pt x="394" y="393"/>
                  </a:lnTo>
                  <a:lnTo>
                    <a:pt x="389" y="393"/>
                  </a:lnTo>
                  <a:lnTo>
                    <a:pt x="398" y="402"/>
                  </a:lnTo>
                  <a:lnTo>
                    <a:pt x="394" y="402"/>
                  </a:lnTo>
                  <a:lnTo>
                    <a:pt x="366" y="407"/>
                  </a:lnTo>
                  <a:lnTo>
                    <a:pt x="352" y="407"/>
                  </a:lnTo>
                  <a:lnTo>
                    <a:pt x="348" y="407"/>
                  </a:lnTo>
                  <a:lnTo>
                    <a:pt x="334" y="407"/>
                  </a:lnTo>
                  <a:lnTo>
                    <a:pt x="330" y="407"/>
                  </a:lnTo>
                  <a:lnTo>
                    <a:pt x="330" y="407"/>
                  </a:lnTo>
                  <a:lnTo>
                    <a:pt x="330" y="407"/>
                  </a:lnTo>
                  <a:lnTo>
                    <a:pt x="325" y="407"/>
                  </a:lnTo>
                  <a:lnTo>
                    <a:pt x="320" y="411"/>
                  </a:lnTo>
                  <a:lnTo>
                    <a:pt x="320" y="411"/>
                  </a:lnTo>
                  <a:lnTo>
                    <a:pt x="302" y="411"/>
                  </a:lnTo>
                  <a:lnTo>
                    <a:pt x="293" y="416"/>
                  </a:lnTo>
                  <a:lnTo>
                    <a:pt x="284" y="416"/>
                  </a:lnTo>
                  <a:lnTo>
                    <a:pt x="279" y="416"/>
                  </a:lnTo>
                  <a:lnTo>
                    <a:pt x="275" y="416"/>
                  </a:lnTo>
                  <a:lnTo>
                    <a:pt x="270" y="416"/>
                  </a:lnTo>
                  <a:lnTo>
                    <a:pt x="270" y="416"/>
                  </a:lnTo>
                  <a:lnTo>
                    <a:pt x="270" y="411"/>
                  </a:lnTo>
                  <a:lnTo>
                    <a:pt x="261" y="407"/>
                  </a:lnTo>
                  <a:lnTo>
                    <a:pt x="261" y="407"/>
                  </a:lnTo>
                  <a:lnTo>
                    <a:pt x="256" y="407"/>
                  </a:lnTo>
                  <a:lnTo>
                    <a:pt x="252" y="407"/>
                  </a:lnTo>
                  <a:lnTo>
                    <a:pt x="247" y="407"/>
                  </a:lnTo>
                  <a:lnTo>
                    <a:pt x="238" y="402"/>
                  </a:lnTo>
                  <a:lnTo>
                    <a:pt x="238" y="402"/>
                  </a:lnTo>
                  <a:lnTo>
                    <a:pt x="234" y="402"/>
                  </a:lnTo>
                  <a:lnTo>
                    <a:pt x="234" y="402"/>
                  </a:lnTo>
                  <a:lnTo>
                    <a:pt x="224" y="393"/>
                  </a:lnTo>
                  <a:lnTo>
                    <a:pt x="224" y="393"/>
                  </a:lnTo>
                  <a:lnTo>
                    <a:pt x="220" y="393"/>
                  </a:lnTo>
                  <a:lnTo>
                    <a:pt x="192" y="375"/>
                  </a:lnTo>
                  <a:lnTo>
                    <a:pt x="183" y="370"/>
                  </a:lnTo>
                  <a:lnTo>
                    <a:pt x="183" y="365"/>
                  </a:lnTo>
                  <a:lnTo>
                    <a:pt x="183" y="365"/>
                  </a:lnTo>
                  <a:lnTo>
                    <a:pt x="183" y="365"/>
                  </a:lnTo>
                  <a:lnTo>
                    <a:pt x="179" y="365"/>
                  </a:lnTo>
                  <a:lnTo>
                    <a:pt x="174" y="361"/>
                  </a:lnTo>
                  <a:lnTo>
                    <a:pt x="174" y="356"/>
                  </a:lnTo>
                  <a:lnTo>
                    <a:pt x="170" y="356"/>
                  </a:lnTo>
                  <a:lnTo>
                    <a:pt x="165" y="352"/>
                  </a:lnTo>
                  <a:lnTo>
                    <a:pt x="156" y="347"/>
                  </a:lnTo>
                  <a:lnTo>
                    <a:pt x="151" y="343"/>
                  </a:lnTo>
                  <a:lnTo>
                    <a:pt x="147" y="338"/>
                  </a:lnTo>
                  <a:lnTo>
                    <a:pt x="147" y="338"/>
                  </a:lnTo>
                  <a:lnTo>
                    <a:pt x="142" y="329"/>
                  </a:lnTo>
                  <a:lnTo>
                    <a:pt x="138" y="329"/>
                  </a:lnTo>
                  <a:lnTo>
                    <a:pt x="138" y="324"/>
                  </a:lnTo>
                  <a:lnTo>
                    <a:pt x="133" y="320"/>
                  </a:lnTo>
                  <a:lnTo>
                    <a:pt x="128" y="320"/>
                  </a:lnTo>
                  <a:lnTo>
                    <a:pt x="128" y="315"/>
                  </a:lnTo>
                  <a:lnTo>
                    <a:pt x="124" y="315"/>
                  </a:lnTo>
                  <a:lnTo>
                    <a:pt x="124" y="315"/>
                  </a:lnTo>
                  <a:lnTo>
                    <a:pt x="124" y="315"/>
                  </a:lnTo>
                  <a:lnTo>
                    <a:pt x="119" y="315"/>
                  </a:lnTo>
                  <a:lnTo>
                    <a:pt x="115" y="311"/>
                  </a:lnTo>
                  <a:lnTo>
                    <a:pt x="106" y="297"/>
                  </a:lnTo>
                  <a:lnTo>
                    <a:pt x="96" y="288"/>
                  </a:lnTo>
                  <a:lnTo>
                    <a:pt x="92" y="279"/>
                  </a:lnTo>
                  <a:lnTo>
                    <a:pt x="83" y="269"/>
                  </a:lnTo>
                  <a:lnTo>
                    <a:pt x="74" y="256"/>
                  </a:lnTo>
                  <a:lnTo>
                    <a:pt x="69" y="247"/>
                  </a:lnTo>
                  <a:lnTo>
                    <a:pt x="64" y="242"/>
                  </a:lnTo>
                  <a:lnTo>
                    <a:pt x="64" y="237"/>
                  </a:lnTo>
                  <a:lnTo>
                    <a:pt x="64" y="237"/>
                  </a:lnTo>
                  <a:lnTo>
                    <a:pt x="60" y="228"/>
                  </a:lnTo>
                  <a:lnTo>
                    <a:pt x="55" y="228"/>
                  </a:lnTo>
                  <a:lnTo>
                    <a:pt x="55" y="224"/>
                  </a:lnTo>
                  <a:lnTo>
                    <a:pt x="51" y="215"/>
                  </a:lnTo>
                  <a:lnTo>
                    <a:pt x="42" y="201"/>
                  </a:lnTo>
                  <a:lnTo>
                    <a:pt x="32" y="187"/>
                  </a:lnTo>
                  <a:lnTo>
                    <a:pt x="32" y="183"/>
                  </a:lnTo>
                  <a:lnTo>
                    <a:pt x="32" y="183"/>
                  </a:lnTo>
                  <a:lnTo>
                    <a:pt x="37" y="178"/>
                  </a:lnTo>
                  <a:lnTo>
                    <a:pt x="37" y="178"/>
                  </a:lnTo>
                  <a:lnTo>
                    <a:pt x="32" y="178"/>
                  </a:lnTo>
                  <a:lnTo>
                    <a:pt x="32" y="173"/>
                  </a:lnTo>
                  <a:lnTo>
                    <a:pt x="32" y="169"/>
                  </a:lnTo>
                  <a:lnTo>
                    <a:pt x="28" y="164"/>
                  </a:lnTo>
                  <a:lnTo>
                    <a:pt x="28" y="164"/>
                  </a:lnTo>
                  <a:lnTo>
                    <a:pt x="28" y="160"/>
                  </a:lnTo>
                  <a:lnTo>
                    <a:pt x="28" y="155"/>
                  </a:lnTo>
                  <a:lnTo>
                    <a:pt x="23" y="141"/>
                  </a:lnTo>
                  <a:lnTo>
                    <a:pt x="19" y="132"/>
                  </a:lnTo>
                  <a:lnTo>
                    <a:pt x="19" y="132"/>
                  </a:lnTo>
                  <a:lnTo>
                    <a:pt x="19" y="128"/>
                  </a:lnTo>
                  <a:lnTo>
                    <a:pt x="14" y="119"/>
                  </a:lnTo>
                  <a:lnTo>
                    <a:pt x="0" y="96"/>
                  </a:lnTo>
                  <a:lnTo>
                    <a:pt x="0" y="91"/>
                  </a:lnTo>
                  <a:lnTo>
                    <a:pt x="0" y="91"/>
                  </a:lnTo>
                  <a:lnTo>
                    <a:pt x="0" y="91"/>
                  </a:lnTo>
                  <a:lnTo>
                    <a:pt x="0" y="91"/>
                  </a:lnTo>
                  <a:lnTo>
                    <a:pt x="14" y="87"/>
                  </a:lnTo>
                  <a:lnTo>
                    <a:pt x="19" y="87"/>
                  </a:lnTo>
                  <a:lnTo>
                    <a:pt x="23" y="87"/>
                  </a:lnTo>
                  <a:lnTo>
                    <a:pt x="28" y="91"/>
                  </a:lnTo>
                  <a:lnTo>
                    <a:pt x="32" y="91"/>
                  </a:lnTo>
                  <a:lnTo>
                    <a:pt x="37" y="96"/>
                  </a:lnTo>
                  <a:lnTo>
                    <a:pt x="37" y="100"/>
                  </a:lnTo>
                  <a:lnTo>
                    <a:pt x="55" y="109"/>
                  </a:lnTo>
                  <a:lnTo>
                    <a:pt x="55" y="109"/>
                  </a:lnTo>
                  <a:lnTo>
                    <a:pt x="55" y="114"/>
                  </a:lnTo>
                  <a:lnTo>
                    <a:pt x="60" y="114"/>
                  </a:lnTo>
                  <a:lnTo>
                    <a:pt x="64" y="114"/>
                  </a:lnTo>
                  <a:lnTo>
                    <a:pt x="74" y="119"/>
                  </a:lnTo>
                  <a:lnTo>
                    <a:pt x="78" y="123"/>
                  </a:lnTo>
                  <a:lnTo>
                    <a:pt x="83" y="123"/>
                  </a:lnTo>
                  <a:lnTo>
                    <a:pt x="92" y="128"/>
                  </a:lnTo>
                  <a:lnTo>
                    <a:pt x="101" y="128"/>
                  </a:lnTo>
                  <a:lnTo>
                    <a:pt x="106" y="132"/>
                  </a:lnTo>
                  <a:lnTo>
                    <a:pt x="110" y="132"/>
                  </a:lnTo>
                  <a:lnTo>
                    <a:pt x="115" y="137"/>
                  </a:lnTo>
                  <a:lnTo>
                    <a:pt x="119" y="141"/>
                  </a:lnTo>
                  <a:lnTo>
                    <a:pt x="124" y="141"/>
                  </a:lnTo>
                  <a:lnTo>
                    <a:pt x="124" y="141"/>
                  </a:lnTo>
                  <a:lnTo>
                    <a:pt x="128" y="141"/>
                  </a:lnTo>
                  <a:lnTo>
                    <a:pt x="133" y="137"/>
                  </a:lnTo>
                  <a:lnTo>
                    <a:pt x="138" y="132"/>
                  </a:lnTo>
                  <a:lnTo>
                    <a:pt x="147" y="132"/>
                  </a:lnTo>
                  <a:lnTo>
                    <a:pt x="160" y="128"/>
                  </a:lnTo>
                  <a:lnTo>
                    <a:pt x="165" y="123"/>
                  </a:lnTo>
                  <a:lnTo>
                    <a:pt x="170" y="123"/>
                  </a:lnTo>
                  <a:lnTo>
                    <a:pt x="174" y="119"/>
                  </a:lnTo>
                  <a:lnTo>
                    <a:pt x="179" y="114"/>
                  </a:lnTo>
                  <a:lnTo>
                    <a:pt x="183" y="109"/>
                  </a:lnTo>
                  <a:lnTo>
                    <a:pt x="188" y="109"/>
                  </a:lnTo>
                  <a:lnTo>
                    <a:pt x="188" y="109"/>
                  </a:lnTo>
                  <a:lnTo>
                    <a:pt x="188" y="109"/>
                  </a:lnTo>
                  <a:lnTo>
                    <a:pt x="202" y="105"/>
                  </a:lnTo>
                  <a:lnTo>
                    <a:pt x="202" y="100"/>
                  </a:lnTo>
                  <a:lnTo>
                    <a:pt x="206" y="100"/>
                  </a:lnTo>
                  <a:lnTo>
                    <a:pt x="206" y="96"/>
                  </a:lnTo>
                  <a:lnTo>
                    <a:pt x="211" y="87"/>
                  </a:lnTo>
                  <a:lnTo>
                    <a:pt x="211" y="87"/>
                  </a:lnTo>
                  <a:lnTo>
                    <a:pt x="211" y="87"/>
                  </a:lnTo>
                  <a:lnTo>
                    <a:pt x="215" y="82"/>
                  </a:lnTo>
                  <a:lnTo>
                    <a:pt x="220" y="82"/>
                  </a:lnTo>
                  <a:lnTo>
                    <a:pt x="224" y="87"/>
                  </a:lnTo>
                  <a:lnTo>
                    <a:pt x="229" y="87"/>
                  </a:lnTo>
                  <a:lnTo>
                    <a:pt x="234" y="91"/>
                  </a:lnTo>
                  <a:lnTo>
                    <a:pt x="234" y="96"/>
                  </a:lnTo>
                  <a:lnTo>
                    <a:pt x="243" y="105"/>
                  </a:lnTo>
                  <a:lnTo>
                    <a:pt x="247" y="105"/>
                  </a:lnTo>
                  <a:lnTo>
                    <a:pt x="252" y="105"/>
                  </a:lnTo>
                  <a:lnTo>
                    <a:pt x="256" y="100"/>
                  </a:lnTo>
                  <a:lnTo>
                    <a:pt x="256" y="100"/>
                  </a:lnTo>
                  <a:lnTo>
                    <a:pt x="261" y="91"/>
                  </a:lnTo>
                  <a:lnTo>
                    <a:pt x="266" y="87"/>
                  </a:lnTo>
                  <a:lnTo>
                    <a:pt x="275" y="87"/>
                  </a:lnTo>
                  <a:lnTo>
                    <a:pt x="275" y="87"/>
                  </a:lnTo>
                  <a:lnTo>
                    <a:pt x="284" y="87"/>
                  </a:lnTo>
                  <a:lnTo>
                    <a:pt x="288" y="87"/>
                  </a:lnTo>
                  <a:lnTo>
                    <a:pt x="293" y="87"/>
                  </a:lnTo>
                  <a:lnTo>
                    <a:pt x="298" y="87"/>
                  </a:lnTo>
                  <a:lnTo>
                    <a:pt x="298" y="87"/>
                  </a:lnTo>
                  <a:lnTo>
                    <a:pt x="307" y="82"/>
                  </a:lnTo>
                  <a:lnTo>
                    <a:pt x="311" y="73"/>
                  </a:lnTo>
                  <a:lnTo>
                    <a:pt x="311" y="64"/>
                  </a:lnTo>
                  <a:lnTo>
                    <a:pt x="311" y="64"/>
                  </a:lnTo>
                  <a:lnTo>
                    <a:pt x="311" y="55"/>
                  </a:lnTo>
                  <a:lnTo>
                    <a:pt x="316" y="50"/>
                  </a:lnTo>
                  <a:lnTo>
                    <a:pt x="320" y="50"/>
                  </a:lnTo>
                  <a:lnTo>
                    <a:pt x="330" y="50"/>
                  </a:lnTo>
                  <a:lnTo>
                    <a:pt x="334" y="55"/>
                  </a:lnTo>
                  <a:lnTo>
                    <a:pt x="339" y="50"/>
                  </a:lnTo>
                  <a:lnTo>
                    <a:pt x="343" y="41"/>
                  </a:lnTo>
                  <a:lnTo>
                    <a:pt x="348" y="36"/>
                  </a:lnTo>
                  <a:lnTo>
                    <a:pt x="357" y="32"/>
                  </a:lnTo>
                  <a:lnTo>
                    <a:pt x="371" y="32"/>
                  </a:lnTo>
                  <a:lnTo>
                    <a:pt x="380" y="32"/>
                  </a:lnTo>
                  <a:lnTo>
                    <a:pt x="384" y="32"/>
                  </a:lnTo>
                  <a:lnTo>
                    <a:pt x="394" y="32"/>
                  </a:lnTo>
                  <a:lnTo>
                    <a:pt x="407" y="27"/>
                  </a:lnTo>
                  <a:lnTo>
                    <a:pt x="407" y="23"/>
                  </a:lnTo>
                  <a:lnTo>
                    <a:pt x="412" y="23"/>
                  </a:lnTo>
                  <a:lnTo>
                    <a:pt x="426" y="18"/>
                  </a:lnTo>
                  <a:lnTo>
                    <a:pt x="430" y="13"/>
                  </a:lnTo>
                  <a:lnTo>
                    <a:pt x="430" y="4"/>
                  </a:lnTo>
                  <a:lnTo>
                    <a:pt x="426" y="0"/>
                  </a:lnTo>
                  <a:lnTo>
                    <a:pt x="426" y="0"/>
                  </a:lnTo>
                  <a:lnTo>
                    <a:pt x="430" y="0"/>
                  </a:lnTo>
                  <a:lnTo>
                    <a:pt x="430" y="0"/>
                  </a:lnTo>
                  <a:lnTo>
                    <a:pt x="439" y="0"/>
                  </a:lnTo>
                  <a:lnTo>
                    <a:pt x="448" y="0"/>
                  </a:lnTo>
                  <a:lnTo>
                    <a:pt x="453" y="0"/>
                  </a:lnTo>
                  <a:lnTo>
                    <a:pt x="453" y="4"/>
                  </a:lnTo>
                  <a:lnTo>
                    <a:pt x="448" y="9"/>
                  </a:lnTo>
                  <a:lnTo>
                    <a:pt x="444" y="18"/>
                  </a:lnTo>
                  <a:lnTo>
                    <a:pt x="439" y="23"/>
                  </a:lnTo>
                  <a:lnTo>
                    <a:pt x="435" y="27"/>
                  </a:lnTo>
                  <a:lnTo>
                    <a:pt x="439" y="36"/>
                  </a:lnTo>
                  <a:lnTo>
                    <a:pt x="444" y="41"/>
                  </a:lnTo>
                  <a:lnTo>
                    <a:pt x="444" y="50"/>
                  </a:lnTo>
                  <a:lnTo>
                    <a:pt x="453" y="55"/>
                  </a:lnTo>
                  <a:lnTo>
                    <a:pt x="448" y="64"/>
                  </a:lnTo>
                  <a:lnTo>
                    <a:pt x="448" y="64"/>
                  </a:lnTo>
                  <a:lnTo>
                    <a:pt x="444" y="73"/>
                  </a:lnTo>
                  <a:lnTo>
                    <a:pt x="444" y="77"/>
                  </a:lnTo>
                  <a:lnTo>
                    <a:pt x="430" y="82"/>
                  </a:lnTo>
                  <a:lnTo>
                    <a:pt x="426" y="77"/>
                  </a:lnTo>
                  <a:lnTo>
                    <a:pt x="416" y="77"/>
                  </a:lnTo>
                  <a:lnTo>
                    <a:pt x="416" y="82"/>
                  </a:lnTo>
                  <a:lnTo>
                    <a:pt x="412" y="87"/>
                  </a:lnTo>
                  <a:lnTo>
                    <a:pt x="407" y="91"/>
                  </a:lnTo>
                  <a:lnTo>
                    <a:pt x="407" y="105"/>
                  </a:lnTo>
                  <a:lnTo>
                    <a:pt x="398" y="114"/>
                  </a:lnTo>
                  <a:lnTo>
                    <a:pt x="394" y="128"/>
                  </a:lnTo>
                  <a:lnTo>
                    <a:pt x="389" y="132"/>
                  </a:lnTo>
                  <a:lnTo>
                    <a:pt x="384" y="137"/>
                  </a:lnTo>
                  <a:lnTo>
                    <a:pt x="384" y="146"/>
                  </a:lnTo>
                  <a:lnTo>
                    <a:pt x="384" y="151"/>
                  </a:lnTo>
                  <a:lnTo>
                    <a:pt x="389" y="155"/>
                  </a:lnTo>
                  <a:lnTo>
                    <a:pt x="389" y="160"/>
                  </a:lnTo>
                  <a:lnTo>
                    <a:pt x="394" y="160"/>
                  </a:lnTo>
                  <a:lnTo>
                    <a:pt x="398" y="160"/>
                  </a:lnTo>
                  <a:lnTo>
                    <a:pt x="398" y="164"/>
                  </a:lnTo>
                  <a:lnTo>
                    <a:pt x="394" y="169"/>
                  </a:lnTo>
                  <a:lnTo>
                    <a:pt x="394" y="173"/>
                  </a:lnTo>
                  <a:lnTo>
                    <a:pt x="384" y="178"/>
                  </a:lnTo>
                  <a:lnTo>
                    <a:pt x="384" y="187"/>
                  </a:lnTo>
                  <a:lnTo>
                    <a:pt x="375" y="196"/>
                  </a:lnTo>
                  <a:lnTo>
                    <a:pt x="371" y="201"/>
                  </a:lnTo>
                  <a:lnTo>
                    <a:pt x="371" y="215"/>
                  </a:lnTo>
                  <a:lnTo>
                    <a:pt x="380" y="219"/>
                  </a:lnTo>
                  <a:lnTo>
                    <a:pt x="384" y="228"/>
                  </a:lnTo>
                  <a:lnTo>
                    <a:pt x="394" y="228"/>
                  </a:lnTo>
                  <a:lnTo>
                    <a:pt x="398" y="233"/>
                  </a:lnTo>
                  <a:lnTo>
                    <a:pt x="394" y="237"/>
                  </a:lnTo>
                  <a:lnTo>
                    <a:pt x="394" y="242"/>
                  </a:lnTo>
                  <a:lnTo>
                    <a:pt x="398" y="242"/>
                  </a:lnTo>
                  <a:lnTo>
                    <a:pt x="403" y="247"/>
                  </a:lnTo>
                  <a:lnTo>
                    <a:pt x="403" y="251"/>
                  </a:lnTo>
                  <a:lnTo>
                    <a:pt x="412" y="247"/>
                  </a:lnTo>
                  <a:lnTo>
                    <a:pt x="426" y="242"/>
                  </a:lnTo>
                  <a:lnTo>
                    <a:pt x="435" y="242"/>
                  </a:lnTo>
                  <a:lnTo>
                    <a:pt x="448" y="242"/>
                  </a:lnTo>
                  <a:lnTo>
                    <a:pt x="458" y="242"/>
                  </a:lnTo>
                  <a:lnTo>
                    <a:pt x="462" y="247"/>
                  </a:lnTo>
                  <a:lnTo>
                    <a:pt x="453" y="251"/>
                  </a:lnTo>
                  <a:lnTo>
                    <a:pt x="444" y="260"/>
                  </a:lnTo>
                  <a:lnTo>
                    <a:pt x="439" y="260"/>
                  </a:lnTo>
                  <a:lnTo>
                    <a:pt x="430" y="269"/>
                  </a:lnTo>
                  <a:lnTo>
                    <a:pt x="426" y="274"/>
                  </a:lnTo>
                  <a:lnTo>
                    <a:pt x="421" y="279"/>
                  </a:lnTo>
                  <a:lnTo>
                    <a:pt x="416" y="283"/>
                  </a:lnTo>
                  <a:lnTo>
                    <a:pt x="416" y="283"/>
                  </a:lnTo>
                  <a:close/>
                </a:path>
              </a:pathLst>
            </a:custGeom>
            <a:solidFill>
              <a:sysClr val="window" lastClr="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Baye-</a:t>
              </a: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lsa</a:t>
              </a:r>
            </a:p>
          </p:txBody>
        </p:sp>
        <p:sp>
          <p:nvSpPr>
            <p:cNvPr id="130" name="Freeform 49">
              <a:extLst>
                <a:ext uri="{FF2B5EF4-FFF2-40B4-BE49-F238E27FC236}">
                  <a16:creationId xmlns:a16="http://schemas.microsoft.com/office/drawing/2014/main" id="{4D60081B-EADF-48B1-A4D3-4DEF2F6EB389}"/>
                </a:ext>
              </a:extLst>
            </p:cNvPr>
            <p:cNvSpPr>
              <a:spLocks/>
            </p:cNvSpPr>
            <p:nvPr>
              <p:custDataLst>
                <p:tags r:id="rId42"/>
              </p:custDataLst>
            </p:nvPr>
          </p:nvSpPr>
          <p:spPr bwMode="auto">
            <a:xfrm>
              <a:off x="1747553" y="3006889"/>
              <a:ext cx="790467" cy="651998"/>
            </a:xfrm>
            <a:custGeom>
              <a:avLst/>
              <a:gdLst/>
              <a:ahLst/>
              <a:cxnLst>
                <a:cxn ang="0">
                  <a:pos x="627" y="110"/>
                </a:cxn>
                <a:cxn ang="0">
                  <a:pos x="617" y="151"/>
                </a:cxn>
                <a:cxn ang="0">
                  <a:pos x="659" y="132"/>
                </a:cxn>
                <a:cxn ang="0">
                  <a:pos x="745" y="110"/>
                </a:cxn>
                <a:cxn ang="0">
                  <a:pos x="791" y="123"/>
                </a:cxn>
                <a:cxn ang="0">
                  <a:pos x="823" y="151"/>
                </a:cxn>
                <a:cxn ang="0">
                  <a:pos x="878" y="206"/>
                </a:cxn>
                <a:cxn ang="0">
                  <a:pos x="901" y="242"/>
                </a:cxn>
                <a:cxn ang="0">
                  <a:pos x="901" y="315"/>
                </a:cxn>
                <a:cxn ang="0">
                  <a:pos x="873" y="388"/>
                </a:cxn>
                <a:cxn ang="0">
                  <a:pos x="837" y="430"/>
                </a:cxn>
                <a:cxn ang="0">
                  <a:pos x="819" y="471"/>
                </a:cxn>
                <a:cxn ang="0">
                  <a:pos x="819" y="539"/>
                </a:cxn>
                <a:cxn ang="0">
                  <a:pos x="805" y="617"/>
                </a:cxn>
                <a:cxn ang="0">
                  <a:pos x="782" y="612"/>
                </a:cxn>
                <a:cxn ang="0">
                  <a:pos x="773" y="631"/>
                </a:cxn>
                <a:cxn ang="0">
                  <a:pos x="736" y="617"/>
                </a:cxn>
                <a:cxn ang="0">
                  <a:pos x="700" y="576"/>
                </a:cxn>
                <a:cxn ang="0">
                  <a:pos x="649" y="553"/>
                </a:cxn>
                <a:cxn ang="0">
                  <a:pos x="599" y="571"/>
                </a:cxn>
                <a:cxn ang="0">
                  <a:pos x="567" y="548"/>
                </a:cxn>
                <a:cxn ang="0">
                  <a:pos x="563" y="516"/>
                </a:cxn>
                <a:cxn ang="0">
                  <a:pos x="526" y="498"/>
                </a:cxn>
                <a:cxn ang="0">
                  <a:pos x="439" y="480"/>
                </a:cxn>
                <a:cxn ang="0">
                  <a:pos x="403" y="494"/>
                </a:cxn>
                <a:cxn ang="0">
                  <a:pos x="421" y="507"/>
                </a:cxn>
                <a:cxn ang="0">
                  <a:pos x="398" y="544"/>
                </a:cxn>
                <a:cxn ang="0">
                  <a:pos x="343" y="548"/>
                </a:cxn>
                <a:cxn ang="0">
                  <a:pos x="307" y="567"/>
                </a:cxn>
                <a:cxn ang="0">
                  <a:pos x="284" y="530"/>
                </a:cxn>
                <a:cxn ang="0">
                  <a:pos x="233" y="539"/>
                </a:cxn>
                <a:cxn ang="0">
                  <a:pos x="179" y="562"/>
                </a:cxn>
                <a:cxn ang="0">
                  <a:pos x="160" y="617"/>
                </a:cxn>
                <a:cxn ang="0">
                  <a:pos x="128" y="594"/>
                </a:cxn>
                <a:cxn ang="0">
                  <a:pos x="128" y="558"/>
                </a:cxn>
                <a:cxn ang="0">
                  <a:pos x="133" y="521"/>
                </a:cxn>
                <a:cxn ang="0">
                  <a:pos x="110" y="480"/>
                </a:cxn>
                <a:cxn ang="0">
                  <a:pos x="69" y="494"/>
                </a:cxn>
                <a:cxn ang="0">
                  <a:pos x="28" y="466"/>
                </a:cxn>
                <a:cxn ang="0">
                  <a:pos x="0" y="425"/>
                </a:cxn>
                <a:cxn ang="0">
                  <a:pos x="23" y="398"/>
                </a:cxn>
                <a:cxn ang="0">
                  <a:pos x="64" y="370"/>
                </a:cxn>
                <a:cxn ang="0">
                  <a:pos x="92" y="352"/>
                </a:cxn>
                <a:cxn ang="0">
                  <a:pos x="110" y="315"/>
                </a:cxn>
                <a:cxn ang="0">
                  <a:pos x="105" y="283"/>
                </a:cxn>
                <a:cxn ang="0">
                  <a:pos x="73" y="219"/>
                </a:cxn>
                <a:cxn ang="0">
                  <a:pos x="69" y="137"/>
                </a:cxn>
                <a:cxn ang="0">
                  <a:pos x="41" y="96"/>
                </a:cxn>
                <a:cxn ang="0">
                  <a:pos x="51" y="46"/>
                </a:cxn>
                <a:cxn ang="0">
                  <a:pos x="110" y="64"/>
                </a:cxn>
                <a:cxn ang="0">
                  <a:pos x="192" y="82"/>
                </a:cxn>
                <a:cxn ang="0">
                  <a:pos x="233" y="100"/>
                </a:cxn>
                <a:cxn ang="0">
                  <a:pos x="288" y="119"/>
                </a:cxn>
                <a:cxn ang="0">
                  <a:pos x="329" y="142"/>
                </a:cxn>
                <a:cxn ang="0">
                  <a:pos x="348" y="132"/>
                </a:cxn>
                <a:cxn ang="0">
                  <a:pos x="329" y="87"/>
                </a:cxn>
                <a:cxn ang="0">
                  <a:pos x="325" y="55"/>
                </a:cxn>
                <a:cxn ang="0">
                  <a:pos x="375" y="9"/>
                </a:cxn>
                <a:cxn ang="0">
                  <a:pos x="421" y="14"/>
                </a:cxn>
                <a:cxn ang="0">
                  <a:pos x="480" y="32"/>
                </a:cxn>
                <a:cxn ang="0">
                  <a:pos x="549" y="41"/>
                </a:cxn>
                <a:cxn ang="0">
                  <a:pos x="595" y="50"/>
                </a:cxn>
                <a:cxn ang="0">
                  <a:pos x="617" y="87"/>
                </a:cxn>
              </a:cxnLst>
              <a:rect l="0" t="0" r="r" b="b"/>
              <a:pathLst>
                <a:path w="905" h="644">
                  <a:moveTo>
                    <a:pt x="617" y="87"/>
                  </a:moveTo>
                  <a:lnTo>
                    <a:pt x="622" y="87"/>
                  </a:lnTo>
                  <a:lnTo>
                    <a:pt x="622" y="91"/>
                  </a:lnTo>
                  <a:lnTo>
                    <a:pt x="622" y="96"/>
                  </a:lnTo>
                  <a:lnTo>
                    <a:pt x="627" y="96"/>
                  </a:lnTo>
                  <a:lnTo>
                    <a:pt x="627" y="100"/>
                  </a:lnTo>
                  <a:lnTo>
                    <a:pt x="627" y="105"/>
                  </a:lnTo>
                  <a:lnTo>
                    <a:pt x="631" y="105"/>
                  </a:lnTo>
                  <a:lnTo>
                    <a:pt x="631" y="105"/>
                  </a:lnTo>
                  <a:lnTo>
                    <a:pt x="627" y="110"/>
                  </a:lnTo>
                  <a:lnTo>
                    <a:pt x="627" y="114"/>
                  </a:lnTo>
                  <a:lnTo>
                    <a:pt x="627" y="119"/>
                  </a:lnTo>
                  <a:lnTo>
                    <a:pt x="622" y="123"/>
                  </a:lnTo>
                  <a:lnTo>
                    <a:pt x="622" y="123"/>
                  </a:lnTo>
                  <a:lnTo>
                    <a:pt x="617" y="128"/>
                  </a:lnTo>
                  <a:lnTo>
                    <a:pt x="617" y="137"/>
                  </a:lnTo>
                  <a:lnTo>
                    <a:pt x="617" y="142"/>
                  </a:lnTo>
                  <a:lnTo>
                    <a:pt x="617" y="146"/>
                  </a:lnTo>
                  <a:lnTo>
                    <a:pt x="617" y="146"/>
                  </a:lnTo>
                  <a:lnTo>
                    <a:pt x="617" y="151"/>
                  </a:lnTo>
                  <a:lnTo>
                    <a:pt x="617" y="155"/>
                  </a:lnTo>
                  <a:lnTo>
                    <a:pt x="617" y="155"/>
                  </a:lnTo>
                  <a:lnTo>
                    <a:pt x="622" y="155"/>
                  </a:lnTo>
                  <a:lnTo>
                    <a:pt x="631" y="155"/>
                  </a:lnTo>
                  <a:lnTo>
                    <a:pt x="631" y="151"/>
                  </a:lnTo>
                  <a:lnTo>
                    <a:pt x="636" y="146"/>
                  </a:lnTo>
                  <a:lnTo>
                    <a:pt x="640" y="146"/>
                  </a:lnTo>
                  <a:lnTo>
                    <a:pt x="649" y="142"/>
                  </a:lnTo>
                  <a:lnTo>
                    <a:pt x="654" y="137"/>
                  </a:lnTo>
                  <a:lnTo>
                    <a:pt x="659" y="132"/>
                  </a:lnTo>
                  <a:lnTo>
                    <a:pt x="659" y="132"/>
                  </a:lnTo>
                  <a:lnTo>
                    <a:pt x="668" y="128"/>
                  </a:lnTo>
                  <a:lnTo>
                    <a:pt x="672" y="128"/>
                  </a:lnTo>
                  <a:lnTo>
                    <a:pt x="677" y="128"/>
                  </a:lnTo>
                  <a:lnTo>
                    <a:pt x="681" y="128"/>
                  </a:lnTo>
                  <a:lnTo>
                    <a:pt x="704" y="123"/>
                  </a:lnTo>
                  <a:lnTo>
                    <a:pt x="713" y="119"/>
                  </a:lnTo>
                  <a:lnTo>
                    <a:pt x="736" y="114"/>
                  </a:lnTo>
                  <a:lnTo>
                    <a:pt x="741" y="110"/>
                  </a:lnTo>
                  <a:lnTo>
                    <a:pt x="745" y="110"/>
                  </a:lnTo>
                  <a:lnTo>
                    <a:pt x="759" y="110"/>
                  </a:lnTo>
                  <a:lnTo>
                    <a:pt x="768" y="114"/>
                  </a:lnTo>
                  <a:lnTo>
                    <a:pt x="768" y="114"/>
                  </a:lnTo>
                  <a:lnTo>
                    <a:pt x="773" y="114"/>
                  </a:lnTo>
                  <a:lnTo>
                    <a:pt x="777" y="119"/>
                  </a:lnTo>
                  <a:lnTo>
                    <a:pt x="782" y="119"/>
                  </a:lnTo>
                  <a:lnTo>
                    <a:pt x="787" y="119"/>
                  </a:lnTo>
                  <a:lnTo>
                    <a:pt x="791" y="123"/>
                  </a:lnTo>
                  <a:lnTo>
                    <a:pt x="791" y="123"/>
                  </a:lnTo>
                  <a:lnTo>
                    <a:pt x="791" y="123"/>
                  </a:lnTo>
                  <a:lnTo>
                    <a:pt x="796" y="128"/>
                  </a:lnTo>
                  <a:lnTo>
                    <a:pt x="800" y="128"/>
                  </a:lnTo>
                  <a:lnTo>
                    <a:pt x="805" y="132"/>
                  </a:lnTo>
                  <a:lnTo>
                    <a:pt x="809" y="137"/>
                  </a:lnTo>
                  <a:lnTo>
                    <a:pt x="814" y="142"/>
                  </a:lnTo>
                  <a:lnTo>
                    <a:pt x="814" y="146"/>
                  </a:lnTo>
                  <a:lnTo>
                    <a:pt x="814" y="146"/>
                  </a:lnTo>
                  <a:lnTo>
                    <a:pt x="819" y="146"/>
                  </a:lnTo>
                  <a:lnTo>
                    <a:pt x="823" y="146"/>
                  </a:lnTo>
                  <a:lnTo>
                    <a:pt x="823" y="151"/>
                  </a:lnTo>
                  <a:lnTo>
                    <a:pt x="832" y="155"/>
                  </a:lnTo>
                  <a:lnTo>
                    <a:pt x="837" y="160"/>
                  </a:lnTo>
                  <a:lnTo>
                    <a:pt x="841" y="169"/>
                  </a:lnTo>
                  <a:lnTo>
                    <a:pt x="846" y="169"/>
                  </a:lnTo>
                  <a:lnTo>
                    <a:pt x="855" y="178"/>
                  </a:lnTo>
                  <a:lnTo>
                    <a:pt x="864" y="187"/>
                  </a:lnTo>
                  <a:lnTo>
                    <a:pt x="869" y="192"/>
                  </a:lnTo>
                  <a:lnTo>
                    <a:pt x="873" y="196"/>
                  </a:lnTo>
                  <a:lnTo>
                    <a:pt x="878" y="201"/>
                  </a:lnTo>
                  <a:lnTo>
                    <a:pt x="878" y="206"/>
                  </a:lnTo>
                  <a:lnTo>
                    <a:pt x="878" y="210"/>
                  </a:lnTo>
                  <a:lnTo>
                    <a:pt x="883" y="210"/>
                  </a:lnTo>
                  <a:lnTo>
                    <a:pt x="883" y="215"/>
                  </a:lnTo>
                  <a:lnTo>
                    <a:pt x="887" y="215"/>
                  </a:lnTo>
                  <a:lnTo>
                    <a:pt x="892" y="219"/>
                  </a:lnTo>
                  <a:lnTo>
                    <a:pt x="892" y="224"/>
                  </a:lnTo>
                  <a:lnTo>
                    <a:pt x="901" y="233"/>
                  </a:lnTo>
                  <a:lnTo>
                    <a:pt x="901" y="233"/>
                  </a:lnTo>
                  <a:lnTo>
                    <a:pt x="901" y="238"/>
                  </a:lnTo>
                  <a:lnTo>
                    <a:pt x="901" y="242"/>
                  </a:lnTo>
                  <a:lnTo>
                    <a:pt x="905" y="242"/>
                  </a:lnTo>
                  <a:lnTo>
                    <a:pt x="905" y="251"/>
                  </a:lnTo>
                  <a:lnTo>
                    <a:pt x="905" y="256"/>
                  </a:lnTo>
                  <a:lnTo>
                    <a:pt x="905" y="256"/>
                  </a:lnTo>
                  <a:lnTo>
                    <a:pt x="905" y="260"/>
                  </a:lnTo>
                  <a:lnTo>
                    <a:pt x="905" y="270"/>
                  </a:lnTo>
                  <a:lnTo>
                    <a:pt x="905" y="279"/>
                  </a:lnTo>
                  <a:lnTo>
                    <a:pt x="905" y="288"/>
                  </a:lnTo>
                  <a:lnTo>
                    <a:pt x="901" y="302"/>
                  </a:lnTo>
                  <a:lnTo>
                    <a:pt x="901" y="315"/>
                  </a:lnTo>
                  <a:lnTo>
                    <a:pt x="896" y="343"/>
                  </a:lnTo>
                  <a:lnTo>
                    <a:pt x="896" y="366"/>
                  </a:lnTo>
                  <a:lnTo>
                    <a:pt x="892" y="375"/>
                  </a:lnTo>
                  <a:lnTo>
                    <a:pt x="892" y="379"/>
                  </a:lnTo>
                  <a:lnTo>
                    <a:pt x="887" y="379"/>
                  </a:lnTo>
                  <a:lnTo>
                    <a:pt x="887" y="384"/>
                  </a:lnTo>
                  <a:lnTo>
                    <a:pt x="883" y="384"/>
                  </a:lnTo>
                  <a:lnTo>
                    <a:pt x="878" y="388"/>
                  </a:lnTo>
                  <a:lnTo>
                    <a:pt x="878" y="388"/>
                  </a:lnTo>
                  <a:lnTo>
                    <a:pt x="873" y="388"/>
                  </a:lnTo>
                  <a:lnTo>
                    <a:pt x="864" y="388"/>
                  </a:lnTo>
                  <a:lnTo>
                    <a:pt x="860" y="393"/>
                  </a:lnTo>
                  <a:lnTo>
                    <a:pt x="855" y="393"/>
                  </a:lnTo>
                  <a:lnTo>
                    <a:pt x="855" y="398"/>
                  </a:lnTo>
                  <a:lnTo>
                    <a:pt x="855" y="402"/>
                  </a:lnTo>
                  <a:lnTo>
                    <a:pt x="851" y="402"/>
                  </a:lnTo>
                  <a:lnTo>
                    <a:pt x="846" y="411"/>
                  </a:lnTo>
                  <a:lnTo>
                    <a:pt x="841" y="416"/>
                  </a:lnTo>
                  <a:lnTo>
                    <a:pt x="841" y="425"/>
                  </a:lnTo>
                  <a:lnTo>
                    <a:pt x="837" y="430"/>
                  </a:lnTo>
                  <a:lnTo>
                    <a:pt x="837" y="434"/>
                  </a:lnTo>
                  <a:lnTo>
                    <a:pt x="837" y="439"/>
                  </a:lnTo>
                  <a:lnTo>
                    <a:pt x="837" y="448"/>
                  </a:lnTo>
                  <a:lnTo>
                    <a:pt x="832" y="452"/>
                  </a:lnTo>
                  <a:lnTo>
                    <a:pt x="832" y="452"/>
                  </a:lnTo>
                  <a:lnTo>
                    <a:pt x="828" y="457"/>
                  </a:lnTo>
                  <a:lnTo>
                    <a:pt x="828" y="462"/>
                  </a:lnTo>
                  <a:lnTo>
                    <a:pt x="823" y="462"/>
                  </a:lnTo>
                  <a:lnTo>
                    <a:pt x="823" y="466"/>
                  </a:lnTo>
                  <a:lnTo>
                    <a:pt x="819" y="471"/>
                  </a:lnTo>
                  <a:lnTo>
                    <a:pt x="819" y="475"/>
                  </a:lnTo>
                  <a:lnTo>
                    <a:pt x="814" y="475"/>
                  </a:lnTo>
                  <a:lnTo>
                    <a:pt x="814" y="475"/>
                  </a:lnTo>
                  <a:lnTo>
                    <a:pt x="814" y="484"/>
                  </a:lnTo>
                  <a:lnTo>
                    <a:pt x="814" y="489"/>
                  </a:lnTo>
                  <a:lnTo>
                    <a:pt x="814" y="512"/>
                  </a:lnTo>
                  <a:lnTo>
                    <a:pt x="814" y="516"/>
                  </a:lnTo>
                  <a:lnTo>
                    <a:pt x="819" y="521"/>
                  </a:lnTo>
                  <a:lnTo>
                    <a:pt x="819" y="530"/>
                  </a:lnTo>
                  <a:lnTo>
                    <a:pt x="819" y="539"/>
                  </a:lnTo>
                  <a:lnTo>
                    <a:pt x="819" y="562"/>
                  </a:lnTo>
                  <a:lnTo>
                    <a:pt x="819" y="567"/>
                  </a:lnTo>
                  <a:lnTo>
                    <a:pt x="814" y="585"/>
                  </a:lnTo>
                  <a:lnTo>
                    <a:pt x="814" y="599"/>
                  </a:lnTo>
                  <a:lnTo>
                    <a:pt x="809" y="608"/>
                  </a:lnTo>
                  <a:lnTo>
                    <a:pt x="809" y="612"/>
                  </a:lnTo>
                  <a:lnTo>
                    <a:pt x="809" y="617"/>
                  </a:lnTo>
                  <a:lnTo>
                    <a:pt x="809" y="617"/>
                  </a:lnTo>
                  <a:lnTo>
                    <a:pt x="805" y="617"/>
                  </a:lnTo>
                  <a:lnTo>
                    <a:pt x="805" y="617"/>
                  </a:lnTo>
                  <a:lnTo>
                    <a:pt x="800" y="612"/>
                  </a:lnTo>
                  <a:lnTo>
                    <a:pt x="800" y="612"/>
                  </a:lnTo>
                  <a:lnTo>
                    <a:pt x="796" y="608"/>
                  </a:lnTo>
                  <a:lnTo>
                    <a:pt x="796" y="612"/>
                  </a:lnTo>
                  <a:lnTo>
                    <a:pt x="796" y="612"/>
                  </a:lnTo>
                  <a:lnTo>
                    <a:pt x="791" y="612"/>
                  </a:lnTo>
                  <a:lnTo>
                    <a:pt x="791" y="612"/>
                  </a:lnTo>
                  <a:lnTo>
                    <a:pt x="787" y="612"/>
                  </a:lnTo>
                  <a:lnTo>
                    <a:pt x="782" y="612"/>
                  </a:lnTo>
                  <a:lnTo>
                    <a:pt x="782" y="612"/>
                  </a:lnTo>
                  <a:lnTo>
                    <a:pt x="777" y="608"/>
                  </a:lnTo>
                  <a:lnTo>
                    <a:pt x="777" y="608"/>
                  </a:lnTo>
                  <a:lnTo>
                    <a:pt x="777" y="612"/>
                  </a:lnTo>
                  <a:lnTo>
                    <a:pt x="777" y="617"/>
                  </a:lnTo>
                  <a:lnTo>
                    <a:pt x="773" y="617"/>
                  </a:lnTo>
                  <a:lnTo>
                    <a:pt x="773" y="622"/>
                  </a:lnTo>
                  <a:lnTo>
                    <a:pt x="773" y="626"/>
                  </a:lnTo>
                  <a:lnTo>
                    <a:pt x="773" y="626"/>
                  </a:lnTo>
                  <a:lnTo>
                    <a:pt x="773" y="631"/>
                  </a:lnTo>
                  <a:lnTo>
                    <a:pt x="773" y="631"/>
                  </a:lnTo>
                  <a:lnTo>
                    <a:pt x="773" y="631"/>
                  </a:lnTo>
                  <a:lnTo>
                    <a:pt x="764" y="635"/>
                  </a:lnTo>
                  <a:lnTo>
                    <a:pt x="755" y="640"/>
                  </a:lnTo>
                  <a:lnTo>
                    <a:pt x="750" y="644"/>
                  </a:lnTo>
                  <a:lnTo>
                    <a:pt x="745" y="644"/>
                  </a:lnTo>
                  <a:lnTo>
                    <a:pt x="741" y="640"/>
                  </a:lnTo>
                  <a:lnTo>
                    <a:pt x="741" y="631"/>
                  </a:lnTo>
                  <a:lnTo>
                    <a:pt x="741" y="626"/>
                  </a:lnTo>
                  <a:lnTo>
                    <a:pt x="741" y="622"/>
                  </a:lnTo>
                  <a:lnTo>
                    <a:pt x="736" y="617"/>
                  </a:lnTo>
                  <a:lnTo>
                    <a:pt x="732" y="612"/>
                  </a:lnTo>
                  <a:lnTo>
                    <a:pt x="727" y="608"/>
                  </a:lnTo>
                  <a:lnTo>
                    <a:pt x="718" y="608"/>
                  </a:lnTo>
                  <a:lnTo>
                    <a:pt x="713" y="603"/>
                  </a:lnTo>
                  <a:lnTo>
                    <a:pt x="709" y="599"/>
                  </a:lnTo>
                  <a:lnTo>
                    <a:pt x="704" y="594"/>
                  </a:lnTo>
                  <a:lnTo>
                    <a:pt x="704" y="585"/>
                  </a:lnTo>
                  <a:lnTo>
                    <a:pt x="700" y="585"/>
                  </a:lnTo>
                  <a:lnTo>
                    <a:pt x="700" y="580"/>
                  </a:lnTo>
                  <a:lnTo>
                    <a:pt x="700" y="576"/>
                  </a:lnTo>
                  <a:lnTo>
                    <a:pt x="695" y="576"/>
                  </a:lnTo>
                  <a:lnTo>
                    <a:pt x="695" y="571"/>
                  </a:lnTo>
                  <a:lnTo>
                    <a:pt x="695" y="567"/>
                  </a:lnTo>
                  <a:lnTo>
                    <a:pt x="691" y="562"/>
                  </a:lnTo>
                  <a:lnTo>
                    <a:pt x="686" y="558"/>
                  </a:lnTo>
                  <a:lnTo>
                    <a:pt x="681" y="553"/>
                  </a:lnTo>
                  <a:lnTo>
                    <a:pt x="672" y="553"/>
                  </a:lnTo>
                  <a:lnTo>
                    <a:pt x="668" y="553"/>
                  </a:lnTo>
                  <a:lnTo>
                    <a:pt x="663" y="553"/>
                  </a:lnTo>
                  <a:lnTo>
                    <a:pt x="649" y="553"/>
                  </a:lnTo>
                  <a:lnTo>
                    <a:pt x="640" y="553"/>
                  </a:lnTo>
                  <a:lnTo>
                    <a:pt x="636" y="553"/>
                  </a:lnTo>
                  <a:lnTo>
                    <a:pt x="627" y="558"/>
                  </a:lnTo>
                  <a:lnTo>
                    <a:pt x="622" y="558"/>
                  </a:lnTo>
                  <a:lnTo>
                    <a:pt x="617" y="558"/>
                  </a:lnTo>
                  <a:lnTo>
                    <a:pt x="617" y="562"/>
                  </a:lnTo>
                  <a:lnTo>
                    <a:pt x="613" y="562"/>
                  </a:lnTo>
                  <a:lnTo>
                    <a:pt x="608" y="567"/>
                  </a:lnTo>
                  <a:lnTo>
                    <a:pt x="604" y="571"/>
                  </a:lnTo>
                  <a:lnTo>
                    <a:pt x="599" y="571"/>
                  </a:lnTo>
                  <a:lnTo>
                    <a:pt x="595" y="571"/>
                  </a:lnTo>
                  <a:lnTo>
                    <a:pt x="595" y="571"/>
                  </a:lnTo>
                  <a:lnTo>
                    <a:pt x="590" y="571"/>
                  </a:lnTo>
                  <a:lnTo>
                    <a:pt x="590" y="567"/>
                  </a:lnTo>
                  <a:lnTo>
                    <a:pt x="581" y="562"/>
                  </a:lnTo>
                  <a:lnTo>
                    <a:pt x="581" y="562"/>
                  </a:lnTo>
                  <a:lnTo>
                    <a:pt x="576" y="558"/>
                  </a:lnTo>
                  <a:lnTo>
                    <a:pt x="572" y="558"/>
                  </a:lnTo>
                  <a:lnTo>
                    <a:pt x="572" y="558"/>
                  </a:lnTo>
                  <a:lnTo>
                    <a:pt x="567" y="548"/>
                  </a:lnTo>
                  <a:lnTo>
                    <a:pt x="563" y="548"/>
                  </a:lnTo>
                  <a:lnTo>
                    <a:pt x="563" y="544"/>
                  </a:lnTo>
                  <a:lnTo>
                    <a:pt x="558" y="539"/>
                  </a:lnTo>
                  <a:lnTo>
                    <a:pt x="558" y="535"/>
                  </a:lnTo>
                  <a:lnTo>
                    <a:pt x="558" y="530"/>
                  </a:lnTo>
                  <a:lnTo>
                    <a:pt x="558" y="526"/>
                  </a:lnTo>
                  <a:lnTo>
                    <a:pt x="558" y="521"/>
                  </a:lnTo>
                  <a:lnTo>
                    <a:pt x="563" y="521"/>
                  </a:lnTo>
                  <a:lnTo>
                    <a:pt x="563" y="521"/>
                  </a:lnTo>
                  <a:lnTo>
                    <a:pt x="563" y="516"/>
                  </a:lnTo>
                  <a:lnTo>
                    <a:pt x="567" y="512"/>
                  </a:lnTo>
                  <a:lnTo>
                    <a:pt x="567" y="507"/>
                  </a:lnTo>
                  <a:lnTo>
                    <a:pt x="563" y="507"/>
                  </a:lnTo>
                  <a:lnTo>
                    <a:pt x="558" y="503"/>
                  </a:lnTo>
                  <a:lnTo>
                    <a:pt x="553" y="503"/>
                  </a:lnTo>
                  <a:lnTo>
                    <a:pt x="549" y="503"/>
                  </a:lnTo>
                  <a:lnTo>
                    <a:pt x="549" y="498"/>
                  </a:lnTo>
                  <a:lnTo>
                    <a:pt x="544" y="498"/>
                  </a:lnTo>
                  <a:lnTo>
                    <a:pt x="531" y="498"/>
                  </a:lnTo>
                  <a:lnTo>
                    <a:pt x="526" y="498"/>
                  </a:lnTo>
                  <a:lnTo>
                    <a:pt x="512" y="494"/>
                  </a:lnTo>
                  <a:lnTo>
                    <a:pt x="508" y="494"/>
                  </a:lnTo>
                  <a:lnTo>
                    <a:pt x="489" y="489"/>
                  </a:lnTo>
                  <a:lnTo>
                    <a:pt x="485" y="484"/>
                  </a:lnTo>
                  <a:lnTo>
                    <a:pt x="480" y="484"/>
                  </a:lnTo>
                  <a:lnTo>
                    <a:pt x="476" y="484"/>
                  </a:lnTo>
                  <a:lnTo>
                    <a:pt x="462" y="480"/>
                  </a:lnTo>
                  <a:lnTo>
                    <a:pt x="457" y="480"/>
                  </a:lnTo>
                  <a:lnTo>
                    <a:pt x="444" y="480"/>
                  </a:lnTo>
                  <a:lnTo>
                    <a:pt x="439" y="480"/>
                  </a:lnTo>
                  <a:lnTo>
                    <a:pt x="435" y="475"/>
                  </a:lnTo>
                  <a:lnTo>
                    <a:pt x="430" y="475"/>
                  </a:lnTo>
                  <a:lnTo>
                    <a:pt x="425" y="475"/>
                  </a:lnTo>
                  <a:lnTo>
                    <a:pt x="421" y="475"/>
                  </a:lnTo>
                  <a:lnTo>
                    <a:pt x="416" y="475"/>
                  </a:lnTo>
                  <a:lnTo>
                    <a:pt x="416" y="480"/>
                  </a:lnTo>
                  <a:lnTo>
                    <a:pt x="416" y="484"/>
                  </a:lnTo>
                  <a:lnTo>
                    <a:pt x="412" y="489"/>
                  </a:lnTo>
                  <a:lnTo>
                    <a:pt x="407" y="494"/>
                  </a:lnTo>
                  <a:lnTo>
                    <a:pt x="403" y="494"/>
                  </a:lnTo>
                  <a:lnTo>
                    <a:pt x="398" y="498"/>
                  </a:lnTo>
                  <a:lnTo>
                    <a:pt x="398" y="498"/>
                  </a:lnTo>
                  <a:lnTo>
                    <a:pt x="398" y="498"/>
                  </a:lnTo>
                  <a:lnTo>
                    <a:pt x="398" y="503"/>
                  </a:lnTo>
                  <a:lnTo>
                    <a:pt x="398" y="507"/>
                  </a:lnTo>
                  <a:lnTo>
                    <a:pt x="407" y="507"/>
                  </a:lnTo>
                  <a:lnTo>
                    <a:pt x="416" y="503"/>
                  </a:lnTo>
                  <a:lnTo>
                    <a:pt x="416" y="503"/>
                  </a:lnTo>
                  <a:lnTo>
                    <a:pt x="416" y="507"/>
                  </a:lnTo>
                  <a:lnTo>
                    <a:pt x="421" y="507"/>
                  </a:lnTo>
                  <a:lnTo>
                    <a:pt x="425" y="512"/>
                  </a:lnTo>
                  <a:lnTo>
                    <a:pt x="430" y="516"/>
                  </a:lnTo>
                  <a:lnTo>
                    <a:pt x="430" y="521"/>
                  </a:lnTo>
                  <a:lnTo>
                    <a:pt x="430" y="526"/>
                  </a:lnTo>
                  <a:lnTo>
                    <a:pt x="425" y="535"/>
                  </a:lnTo>
                  <a:lnTo>
                    <a:pt x="421" y="539"/>
                  </a:lnTo>
                  <a:lnTo>
                    <a:pt x="416" y="539"/>
                  </a:lnTo>
                  <a:lnTo>
                    <a:pt x="416" y="544"/>
                  </a:lnTo>
                  <a:lnTo>
                    <a:pt x="407" y="544"/>
                  </a:lnTo>
                  <a:lnTo>
                    <a:pt x="398" y="544"/>
                  </a:lnTo>
                  <a:lnTo>
                    <a:pt x="398" y="544"/>
                  </a:lnTo>
                  <a:lnTo>
                    <a:pt x="398" y="544"/>
                  </a:lnTo>
                  <a:lnTo>
                    <a:pt x="393" y="544"/>
                  </a:lnTo>
                  <a:lnTo>
                    <a:pt x="380" y="544"/>
                  </a:lnTo>
                  <a:lnTo>
                    <a:pt x="371" y="544"/>
                  </a:lnTo>
                  <a:lnTo>
                    <a:pt x="366" y="544"/>
                  </a:lnTo>
                  <a:lnTo>
                    <a:pt x="352" y="544"/>
                  </a:lnTo>
                  <a:lnTo>
                    <a:pt x="352" y="544"/>
                  </a:lnTo>
                  <a:lnTo>
                    <a:pt x="348" y="548"/>
                  </a:lnTo>
                  <a:lnTo>
                    <a:pt x="343" y="548"/>
                  </a:lnTo>
                  <a:lnTo>
                    <a:pt x="334" y="558"/>
                  </a:lnTo>
                  <a:lnTo>
                    <a:pt x="329" y="558"/>
                  </a:lnTo>
                  <a:lnTo>
                    <a:pt x="329" y="562"/>
                  </a:lnTo>
                  <a:lnTo>
                    <a:pt x="329" y="562"/>
                  </a:lnTo>
                  <a:lnTo>
                    <a:pt x="320" y="571"/>
                  </a:lnTo>
                  <a:lnTo>
                    <a:pt x="316" y="576"/>
                  </a:lnTo>
                  <a:lnTo>
                    <a:pt x="311" y="576"/>
                  </a:lnTo>
                  <a:lnTo>
                    <a:pt x="307" y="576"/>
                  </a:lnTo>
                  <a:lnTo>
                    <a:pt x="307" y="571"/>
                  </a:lnTo>
                  <a:lnTo>
                    <a:pt x="307" y="567"/>
                  </a:lnTo>
                  <a:lnTo>
                    <a:pt x="302" y="562"/>
                  </a:lnTo>
                  <a:lnTo>
                    <a:pt x="297" y="562"/>
                  </a:lnTo>
                  <a:lnTo>
                    <a:pt x="297" y="558"/>
                  </a:lnTo>
                  <a:lnTo>
                    <a:pt x="297" y="553"/>
                  </a:lnTo>
                  <a:lnTo>
                    <a:pt x="293" y="548"/>
                  </a:lnTo>
                  <a:lnTo>
                    <a:pt x="288" y="544"/>
                  </a:lnTo>
                  <a:lnTo>
                    <a:pt x="288" y="539"/>
                  </a:lnTo>
                  <a:lnTo>
                    <a:pt x="288" y="535"/>
                  </a:lnTo>
                  <a:lnTo>
                    <a:pt x="284" y="535"/>
                  </a:lnTo>
                  <a:lnTo>
                    <a:pt x="284" y="530"/>
                  </a:lnTo>
                  <a:lnTo>
                    <a:pt x="279" y="526"/>
                  </a:lnTo>
                  <a:lnTo>
                    <a:pt x="275" y="521"/>
                  </a:lnTo>
                  <a:lnTo>
                    <a:pt x="270" y="521"/>
                  </a:lnTo>
                  <a:lnTo>
                    <a:pt x="265" y="521"/>
                  </a:lnTo>
                  <a:lnTo>
                    <a:pt x="261" y="521"/>
                  </a:lnTo>
                  <a:lnTo>
                    <a:pt x="261" y="526"/>
                  </a:lnTo>
                  <a:lnTo>
                    <a:pt x="252" y="526"/>
                  </a:lnTo>
                  <a:lnTo>
                    <a:pt x="247" y="526"/>
                  </a:lnTo>
                  <a:lnTo>
                    <a:pt x="243" y="530"/>
                  </a:lnTo>
                  <a:lnTo>
                    <a:pt x="233" y="539"/>
                  </a:lnTo>
                  <a:lnTo>
                    <a:pt x="224" y="544"/>
                  </a:lnTo>
                  <a:lnTo>
                    <a:pt x="215" y="544"/>
                  </a:lnTo>
                  <a:lnTo>
                    <a:pt x="201" y="544"/>
                  </a:lnTo>
                  <a:lnTo>
                    <a:pt x="197" y="544"/>
                  </a:lnTo>
                  <a:lnTo>
                    <a:pt x="197" y="544"/>
                  </a:lnTo>
                  <a:lnTo>
                    <a:pt x="192" y="544"/>
                  </a:lnTo>
                  <a:lnTo>
                    <a:pt x="188" y="548"/>
                  </a:lnTo>
                  <a:lnTo>
                    <a:pt x="179" y="553"/>
                  </a:lnTo>
                  <a:lnTo>
                    <a:pt x="179" y="558"/>
                  </a:lnTo>
                  <a:lnTo>
                    <a:pt x="179" y="562"/>
                  </a:lnTo>
                  <a:lnTo>
                    <a:pt x="179" y="567"/>
                  </a:lnTo>
                  <a:lnTo>
                    <a:pt x="179" y="576"/>
                  </a:lnTo>
                  <a:lnTo>
                    <a:pt x="179" y="580"/>
                  </a:lnTo>
                  <a:lnTo>
                    <a:pt x="179" y="585"/>
                  </a:lnTo>
                  <a:lnTo>
                    <a:pt x="174" y="594"/>
                  </a:lnTo>
                  <a:lnTo>
                    <a:pt x="174" y="603"/>
                  </a:lnTo>
                  <a:lnTo>
                    <a:pt x="174" y="608"/>
                  </a:lnTo>
                  <a:lnTo>
                    <a:pt x="169" y="612"/>
                  </a:lnTo>
                  <a:lnTo>
                    <a:pt x="165" y="617"/>
                  </a:lnTo>
                  <a:lnTo>
                    <a:pt x="160" y="617"/>
                  </a:lnTo>
                  <a:lnTo>
                    <a:pt x="156" y="617"/>
                  </a:lnTo>
                  <a:lnTo>
                    <a:pt x="156" y="617"/>
                  </a:lnTo>
                  <a:lnTo>
                    <a:pt x="156" y="612"/>
                  </a:lnTo>
                  <a:lnTo>
                    <a:pt x="151" y="612"/>
                  </a:lnTo>
                  <a:lnTo>
                    <a:pt x="147" y="608"/>
                  </a:lnTo>
                  <a:lnTo>
                    <a:pt x="142" y="608"/>
                  </a:lnTo>
                  <a:lnTo>
                    <a:pt x="137" y="603"/>
                  </a:lnTo>
                  <a:lnTo>
                    <a:pt x="133" y="603"/>
                  </a:lnTo>
                  <a:lnTo>
                    <a:pt x="133" y="599"/>
                  </a:lnTo>
                  <a:lnTo>
                    <a:pt x="128" y="594"/>
                  </a:lnTo>
                  <a:lnTo>
                    <a:pt x="128" y="590"/>
                  </a:lnTo>
                  <a:lnTo>
                    <a:pt x="124" y="590"/>
                  </a:lnTo>
                  <a:lnTo>
                    <a:pt x="124" y="585"/>
                  </a:lnTo>
                  <a:lnTo>
                    <a:pt x="119" y="585"/>
                  </a:lnTo>
                  <a:lnTo>
                    <a:pt x="119" y="580"/>
                  </a:lnTo>
                  <a:lnTo>
                    <a:pt x="119" y="576"/>
                  </a:lnTo>
                  <a:lnTo>
                    <a:pt x="119" y="567"/>
                  </a:lnTo>
                  <a:lnTo>
                    <a:pt x="124" y="562"/>
                  </a:lnTo>
                  <a:lnTo>
                    <a:pt x="124" y="562"/>
                  </a:lnTo>
                  <a:lnTo>
                    <a:pt x="128" y="558"/>
                  </a:lnTo>
                  <a:lnTo>
                    <a:pt x="128" y="553"/>
                  </a:lnTo>
                  <a:lnTo>
                    <a:pt x="133" y="548"/>
                  </a:lnTo>
                  <a:lnTo>
                    <a:pt x="133" y="544"/>
                  </a:lnTo>
                  <a:lnTo>
                    <a:pt x="133" y="544"/>
                  </a:lnTo>
                  <a:lnTo>
                    <a:pt x="133" y="539"/>
                  </a:lnTo>
                  <a:lnTo>
                    <a:pt x="133" y="535"/>
                  </a:lnTo>
                  <a:lnTo>
                    <a:pt x="133" y="530"/>
                  </a:lnTo>
                  <a:lnTo>
                    <a:pt x="133" y="526"/>
                  </a:lnTo>
                  <a:lnTo>
                    <a:pt x="133" y="521"/>
                  </a:lnTo>
                  <a:lnTo>
                    <a:pt x="133" y="521"/>
                  </a:lnTo>
                  <a:lnTo>
                    <a:pt x="133" y="516"/>
                  </a:lnTo>
                  <a:lnTo>
                    <a:pt x="133" y="507"/>
                  </a:lnTo>
                  <a:lnTo>
                    <a:pt x="133" y="503"/>
                  </a:lnTo>
                  <a:lnTo>
                    <a:pt x="128" y="498"/>
                  </a:lnTo>
                  <a:lnTo>
                    <a:pt x="124" y="498"/>
                  </a:lnTo>
                  <a:lnTo>
                    <a:pt x="124" y="494"/>
                  </a:lnTo>
                  <a:lnTo>
                    <a:pt x="119" y="494"/>
                  </a:lnTo>
                  <a:lnTo>
                    <a:pt x="115" y="484"/>
                  </a:lnTo>
                  <a:lnTo>
                    <a:pt x="110" y="484"/>
                  </a:lnTo>
                  <a:lnTo>
                    <a:pt x="110" y="480"/>
                  </a:lnTo>
                  <a:lnTo>
                    <a:pt x="110" y="480"/>
                  </a:lnTo>
                  <a:lnTo>
                    <a:pt x="105" y="480"/>
                  </a:lnTo>
                  <a:lnTo>
                    <a:pt x="101" y="480"/>
                  </a:lnTo>
                  <a:lnTo>
                    <a:pt x="92" y="480"/>
                  </a:lnTo>
                  <a:lnTo>
                    <a:pt x="87" y="484"/>
                  </a:lnTo>
                  <a:lnTo>
                    <a:pt x="83" y="489"/>
                  </a:lnTo>
                  <a:lnTo>
                    <a:pt x="78" y="489"/>
                  </a:lnTo>
                  <a:lnTo>
                    <a:pt x="73" y="489"/>
                  </a:lnTo>
                  <a:lnTo>
                    <a:pt x="73" y="494"/>
                  </a:lnTo>
                  <a:lnTo>
                    <a:pt x="69" y="494"/>
                  </a:lnTo>
                  <a:lnTo>
                    <a:pt x="60" y="494"/>
                  </a:lnTo>
                  <a:lnTo>
                    <a:pt x="51" y="494"/>
                  </a:lnTo>
                  <a:lnTo>
                    <a:pt x="46" y="489"/>
                  </a:lnTo>
                  <a:lnTo>
                    <a:pt x="46" y="484"/>
                  </a:lnTo>
                  <a:lnTo>
                    <a:pt x="41" y="480"/>
                  </a:lnTo>
                  <a:lnTo>
                    <a:pt x="37" y="475"/>
                  </a:lnTo>
                  <a:lnTo>
                    <a:pt x="37" y="475"/>
                  </a:lnTo>
                  <a:lnTo>
                    <a:pt x="32" y="475"/>
                  </a:lnTo>
                  <a:lnTo>
                    <a:pt x="32" y="471"/>
                  </a:lnTo>
                  <a:lnTo>
                    <a:pt x="28" y="466"/>
                  </a:lnTo>
                  <a:lnTo>
                    <a:pt x="23" y="466"/>
                  </a:lnTo>
                  <a:lnTo>
                    <a:pt x="23" y="462"/>
                  </a:lnTo>
                  <a:lnTo>
                    <a:pt x="23" y="457"/>
                  </a:lnTo>
                  <a:lnTo>
                    <a:pt x="19" y="457"/>
                  </a:lnTo>
                  <a:lnTo>
                    <a:pt x="14" y="452"/>
                  </a:lnTo>
                  <a:lnTo>
                    <a:pt x="9" y="448"/>
                  </a:lnTo>
                  <a:lnTo>
                    <a:pt x="5" y="443"/>
                  </a:lnTo>
                  <a:lnTo>
                    <a:pt x="5" y="439"/>
                  </a:lnTo>
                  <a:lnTo>
                    <a:pt x="5" y="434"/>
                  </a:lnTo>
                  <a:lnTo>
                    <a:pt x="0" y="425"/>
                  </a:lnTo>
                  <a:lnTo>
                    <a:pt x="5" y="430"/>
                  </a:lnTo>
                  <a:lnTo>
                    <a:pt x="19" y="434"/>
                  </a:lnTo>
                  <a:lnTo>
                    <a:pt x="19" y="430"/>
                  </a:lnTo>
                  <a:lnTo>
                    <a:pt x="19" y="425"/>
                  </a:lnTo>
                  <a:lnTo>
                    <a:pt x="19" y="420"/>
                  </a:lnTo>
                  <a:lnTo>
                    <a:pt x="19" y="416"/>
                  </a:lnTo>
                  <a:lnTo>
                    <a:pt x="19" y="411"/>
                  </a:lnTo>
                  <a:lnTo>
                    <a:pt x="19" y="407"/>
                  </a:lnTo>
                  <a:lnTo>
                    <a:pt x="23" y="407"/>
                  </a:lnTo>
                  <a:lnTo>
                    <a:pt x="23" y="398"/>
                  </a:lnTo>
                  <a:lnTo>
                    <a:pt x="23" y="393"/>
                  </a:lnTo>
                  <a:lnTo>
                    <a:pt x="28" y="388"/>
                  </a:lnTo>
                  <a:lnTo>
                    <a:pt x="37" y="384"/>
                  </a:lnTo>
                  <a:lnTo>
                    <a:pt x="41" y="379"/>
                  </a:lnTo>
                  <a:lnTo>
                    <a:pt x="46" y="379"/>
                  </a:lnTo>
                  <a:lnTo>
                    <a:pt x="46" y="379"/>
                  </a:lnTo>
                  <a:lnTo>
                    <a:pt x="51" y="375"/>
                  </a:lnTo>
                  <a:lnTo>
                    <a:pt x="55" y="375"/>
                  </a:lnTo>
                  <a:lnTo>
                    <a:pt x="60" y="375"/>
                  </a:lnTo>
                  <a:lnTo>
                    <a:pt x="64" y="370"/>
                  </a:lnTo>
                  <a:lnTo>
                    <a:pt x="69" y="370"/>
                  </a:lnTo>
                  <a:lnTo>
                    <a:pt x="69" y="370"/>
                  </a:lnTo>
                  <a:lnTo>
                    <a:pt x="73" y="366"/>
                  </a:lnTo>
                  <a:lnTo>
                    <a:pt x="78" y="366"/>
                  </a:lnTo>
                  <a:lnTo>
                    <a:pt x="83" y="366"/>
                  </a:lnTo>
                  <a:lnTo>
                    <a:pt x="87" y="366"/>
                  </a:lnTo>
                  <a:lnTo>
                    <a:pt x="87" y="361"/>
                  </a:lnTo>
                  <a:lnTo>
                    <a:pt x="87" y="356"/>
                  </a:lnTo>
                  <a:lnTo>
                    <a:pt x="92" y="356"/>
                  </a:lnTo>
                  <a:lnTo>
                    <a:pt x="92" y="352"/>
                  </a:lnTo>
                  <a:lnTo>
                    <a:pt x="92" y="347"/>
                  </a:lnTo>
                  <a:lnTo>
                    <a:pt x="96" y="343"/>
                  </a:lnTo>
                  <a:lnTo>
                    <a:pt x="96" y="343"/>
                  </a:lnTo>
                  <a:lnTo>
                    <a:pt x="96" y="338"/>
                  </a:lnTo>
                  <a:lnTo>
                    <a:pt x="96" y="334"/>
                  </a:lnTo>
                  <a:lnTo>
                    <a:pt x="101" y="334"/>
                  </a:lnTo>
                  <a:lnTo>
                    <a:pt x="101" y="329"/>
                  </a:lnTo>
                  <a:lnTo>
                    <a:pt x="101" y="324"/>
                  </a:lnTo>
                  <a:lnTo>
                    <a:pt x="105" y="324"/>
                  </a:lnTo>
                  <a:lnTo>
                    <a:pt x="110" y="315"/>
                  </a:lnTo>
                  <a:lnTo>
                    <a:pt x="110" y="311"/>
                  </a:lnTo>
                  <a:lnTo>
                    <a:pt x="110" y="306"/>
                  </a:lnTo>
                  <a:lnTo>
                    <a:pt x="110" y="306"/>
                  </a:lnTo>
                  <a:lnTo>
                    <a:pt x="110" y="302"/>
                  </a:lnTo>
                  <a:lnTo>
                    <a:pt x="115" y="297"/>
                  </a:lnTo>
                  <a:lnTo>
                    <a:pt x="115" y="297"/>
                  </a:lnTo>
                  <a:lnTo>
                    <a:pt x="110" y="292"/>
                  </a:lnTo>
                  <a:lnTo>
                    <a:pt x="110" y="288"/>
                  </a:lnTo>
                  <a:lnTo>
                    <a:pt x="110" y="288"/>
                  </a:lnTo>
                  <a:lnTo>
                    <a:pt x="105" y="283"/>
                  </a:lnTo>
                  <a:lnTo>
                    <a:pt x="101" y="283"/>
                  </a:lnTo>
                  <a:lnTo>
                    <a:pt x="96" y="279"/>
                  </a:lnTo>
                  <a:lnTo>
                    <a:pt x="87" y="274"/>
                  </a:lnTo>
                  <a:lnTo>
                    <a:pt x="87" y="270"/>
                  </a:lnTo>
                  <a:lnTo>
                    <a:pt x="83" y="265"/>
                  </a:lnTo>
                  <a:lnTo>
                    <a:pt x="83" y="260"/>
                  </a:lnTo>
                  <a:lnTo>
                    <a:pt x="83" y="256"/>
                  </a:lnTo>
                  <a:lnTo>
                    <a:pt x="78" y="251"/>
                  </a:lnTo>
                  <a:lnTo>
                    <a:pt x="78" y="233"/>
                  </a:lnTo>
                  <a:lnTo>
                    <a:pt x="73" y="219"/>
                  </a:lnTo>
                  <a:lnTo>
                    <a:pt x="73" y="201"/>
                  </a:lnTo>
                  <a:lnTo>
                    <a:pt x="73" y="192"/>
                  </a:lnTo>
                  <a:lnTo>
                    <a:pt x="78" y="169"/>
                  </a:lnTo>
                  <a:lnTo>
                    <a:pt x="73" y="160"/>
                  </a:lnTo>
                  <a:lnTo>
                    <a:pt x="73" y="155"/>
                  </a:lnTo>
                  <a:lnTo>
                    <a:pt x="69" y="151"/>
                  </a:lnTo>
                  <a:lnTo>
                    <a:pt x="69" y="146"/>
                  </a:lnTo>
                  <a:lnTo>
                    <a:pt x="69" y="146"/>
                  </a:lnTo>
                  <a:lnTo>
                    <a:pt x="69" y="142"/>
                  </a:lnTo>
                  <a:lnTo>
                    <a:pt x="69" y="137"/>
                  </a:lnTo>
                  <a:lnTo>
                    <a:pt x="64" y="132"/>
                  </a:lnTo>
                  <a:lnTo>
                    <a:pt x="60" y="128"/>
                  </a:lnTo>
                  <a:lnTo>
                    <a:pt x="55" y="123"/>
                  </a:lnTo>
                  <a:lnTo>
                    <a:pt x="55" y="123"/>
                  </a:lnTo>
                  <a:lnTo>
                    <a:pt x="51" y="114"/>
                  </a:lnTo>
                  <a:lnTo>
                    <a:pt x="46" y="110"/>
                  </a:lnTo>
                  <a:lnTo>
                    <a:pt x="46" y="105"/>
                  </a:lnTo>
                  <a:lnTo>
                    <a:pt x="46" y="105"/>
                  </a:lnTo>
                  <a:lnTo>
                    <a:pt x="41" y="100"/>
                  </a:lnTo>
                  <a:lnTo>
                    <a:pt x="41" y="96"/>
                  </a:lnTo>
                  <a:lnTo>
                    <a:pt x="41" y="91"/>
                  </a:lnTo>
                  <a:lnTo>
                    <a:pt x="41" y="87"/>
                  </a:lnTo>
                  <a:lnTo>
                    <a:pt x="37" y="82"/>
                  </a:lnTo>
                  <a:lnTo>
                    <a:pt x="37" y="73"/>
                  </a:lnTo>
                  <a:lnTo>
                    <a:pt x="37" y="64"/>
                  </a:lnTo>
                  <a:lnTo>
                    <a:pt x="37" y="55"/>
                  </a:lnTo>
                  <a:lnTo>
                    <a:pt x="37" y="41"/>
                  </a:lnTo>
                  <a:lnTo>
                    <a:pt x="41" y="41"/>
                  </a:lnTo>
                  <a:lnTo>
                    <a:pt x="46" y="46"/>
                  </a:lnTo>
                  <a:lnTo>
                    <a:pt x="51" y="46"/>
                  </a:lnTo>
                  <a:lnTo>
                    <a:pt x="55" y="46"/>
                  </a:lnTo>
                  <a:lnTo>
                    <a:pt x="60" y="50"/>
                  </a:lnTo>
                  <a:lnTo>
                    <a:pt x="69" y="50"/>
                  </a:lnTo>
                  <a:lnTo>
                    <a:pt x="73" y="55"/>
                  </a:lnTo>
                  <a:lnTo>
                    <a:pt x="78" y="55"/>
                  </a:lnTo>
                  <a:lnTo>
                    <a:pt x="87" y="59"/>
                  </a:lnTo>
                  <a:lnTo>
                    <a:pt x="92" y="59"/>
                  </a:lnTo>
                  <a:lnTo>
                    <a:pt x="96" y="59"/>
                  </a:lnTo>
                  <a:lnTo>
                    <a:pt x="110" y="59"/>
                  </a:lnTo>
                  <a:lnTo>
                    <a:pt x="110" y="64"/>
                  </a:lnTo>
                  <a:lnTo>
                    <a:pt x="119" y="64"/>
                  </a:lnTo>
                  <a:lnTo>
                    <a:pt x="137" y="68"/>
                  </a:lnTo>
                  <a:lnTo>
                    <a:pt x="151" y="68"/>
                  </a:lnTo>
                  <a:lnTo>
                    <a:pt x="156" y="68"/>
                  </a:lnTo>
                  <a:lnTo>
                    <a:pt x="165" y="73"/>
                  </a:lnTo>
                  <a:lnTo>
                    <a:pt x="169" y="78"/>
                  </a:lnTo>
                  <a:lnTo>
                    <a:pt x="179" y="78"/>
                  </a:lnTo>
                  <a:lnTo>
                    <a:pt x="183" y="82"/>
                  </a:lnTo>
                  <a:lnTo>
                    <a:pt x="188" y="82"/>
                  </a:lnTo>
                  <a:lnTo>
                    <a:pt x="192" y="82"/>
                  </a:lnTo>
                  <a:lnTo>
                    <a:pt x="197" y="82"/>
                  </a:lnTo>
                  <a:lnTo>
                    <a:pt x="197" y="82"/>
                  </a:lnTo>
                  <a:lnTo>
                    <a:pt x="201" y="82"/>
                  </a:lnTo>
                  <a:lnTo>
                    <a:pt x="206" y="87"/>
                  </a:lnTo>
                  <a:lnTo>
                    <a:pt x="211" y="87"/>
                  </a:lnTo>
                  <a:lnTo>
                    <a:pt x="215" y="87"/>
                  </a:lnTo>
                  <a:lnTo>
                    <a:pt x="215" y="91"/>
                  </a:lnTo>
                  <a:lnTo>
                    <a:pt x="220" y="91"/>
                  </a:lnTo>
                  <a:lnTo>
                    <a:pt x="220" y="91"/>
                  </a:lnTo>
                  <a:lnTo>
                    <a:pt x="233" y="100"/>
                  </a:lnTo>
                  <a:lnTo>
                    <a:pt x="243" y="100"/>
                  </a:lnTo>
                  <a:lnTo>
                    <a:pt x="243" y="105"/>
                  </a:lnTo>
                  <a:lnTo>
                    <a:pt x="252" y="105"/>
                  </a:lnTo>
                  <a:lnTo>
                    <a:pt x="256" y="105"/>
                  </a:lnTo>
                  <a:lnTo>
                    <a:pt x="265" y="110"/>
                  </a:lnTo>
                  <a:lnTo>
                    <a:pt x="270" y="110"/>
                  </a:lnTo>
                  <a:lnTo>
                    <a:pt x="275" y="114"/>
                  </a:lnTo>
                  <a:lnTo>
                    <a:pt x="279" y="114"/>
                  </a:lnTo>
                  <a:lnTo>
                    <a:pt x="284" y="114"/>
                  </a:lnTo>
                  <a:lnTo>
                    <a:pt x="288" y="119"/>
                  </a:lnTo>
                  <a:lnTo>
                    <a:pt x="288" y="123"/>
                  </a:lnTo>
                  <a:lnTo>
                    <a:pt x="293" y="123"/>
                  </a:lnTo>
                  <a:lnTo>
                    <a:pt x="297" y="123"/>
                  </a:lnTo>
                  <a:lnTo>
                    <a:pt x="302" y="123"/>
                  </a:lnTo>
                  <a:lnTo>
                    <a:pt x="307" y="128"/>
                  </a:lnTo>
                  <a:lnTo>
                    <a:pt x="307" y="128"/>
                  </a:lnTo>
                  <a:lnTo>
                    <a:pt x="307" y="132"/>
                  </a:lnTo>
                  <a:lnTo>
                    <a:pt x="311" y="132"/>
                  </a:lnTo>
                  <a:lnTo>
                    <a:pt x="316" y="132"/>
                  </a:lnTo>
                  <a:lnTo>
                    <a:pt x="329" y="142"/>
                  </a:lnTo>
                  <a:lnTo>
                    <a:pt x="329" y="146"/>
                  </a:lnTo>
                  <a:lnTo>
                    <a:pt x="329" y="146"/>
                  </a:lnTo>
                  <a:lnTo>
                    <a:pt x="334" y="146"/>
                  </a:lnTo>
                  <a:lnTo>
                    <a:pt x="339" y="146"/>
                  </a:lnTo>
                  <a:lnTo>
                    <a:pt x="343" y="146"/>
                  </a:lnTo>
                  <a:lnTo>
                    <a:pt x="348" y="146"/>
                  </a:lnTo>
                  <a:lnTo>
                    <a:pt x="348" y="146"/>
                  </a:lnTo>
                  <a:lnTo>
                    <a:pt x="352" y="142"/>
                  </a:lnTo>
                  <a:lnTo>
                    <a:pt x="352" y="137"/>
                  </a:lnTo>
                  <a:lnTo>
                    <a:pt x="348" y="132"/>
                  </a:lnTo>
                  <a:lnTo>
                    <a:pt x="348" y="128"/>
                  </a:lnTo>
                  <a:lnTo>
                    <a:pt x="343" y="123"/>
                  </a:lnTo>
                  <a:lnTo>
                    <a:pt x="343" y="123"/>
                  </a:lnTo>
                  <a:lnTo>
                    <a:pt x="339" y="114"/>
                  </a:lnTo>
                  <a:lnTo>
                    <a:pt x="339" y="110"/>
                  </a:lnTo>
                  <a:lnTo>
                    <a:pt x="334" y="105"/>
                  </a:lnTo>
                  <a:lnTo>
                    <a:pt x="334" y="100"/>
                  </a:lnTo>
                  <a:lnTo>
                    <a:pt x="329" y="100"/>
                  </a:lnTo>
                  <a:lnTo>
                    <a:pt x="329" y="91"/>
                  </a:lnTo>
                  <a:lnTo>
                    <a:pt x="329" y="87"/>
                  </a:lnTo>
                  <a:lnTo>
                    <a:pt x="329" y="82"/>
                  </a:lnTo>
                  <a:lnTo>
                    <a:pt x="325" y="82"/>
                  </a:lnTo>
                  <a:lnTo>
                    <a:pt x="325" y="82"/>
                  </a:lnTo>
                  <a:lnTo>
                    <a:pt x="325" y="78"/>
                  </a:lnTo>
                  <a:lnTo>
                    <a:pt x="320" y="73"/>
                  </a:lnTo>
                  <a:lnTo>
                    <a:pt x="320" y="68"/>
                  </a:lnTo>
                  <a:lnTo>
                    <a:pt x="320" y="59"/>
                  </a:lnTo>
                  <a:lnTo>
                    <a:pt x="320" y="59"/>
                  </a:lnTo>
                  <a:lnTo>
                    <a:pt x="325" y="59"/>
                  </a:lnTo>
                  <a:lnTo>
                    <a:pt x="325" y="55"/>
                  </a:lnTo>
                  <a:lnTo>
                    <a:pt x="325" y="50"/>
                  </a:lnTo>
                  <a:lnTo>
                    <a:pt x="329" y="46"/>
                  </a:lnTo>
                  <a:lnTo>
                    <a:pt x="329" y="41"/>
                  </a:lnTo>
                  <a:lnTo>
                    <a:pt x="329" y="36"/>
                  </a:lnTo>
                  <a:lnTo>
                    <a:pt x="329" y="36"/>
                  </a:lnTo>
                  <a:lnTo>
                    <a:pt x="334" y="36"/>
                  </a:lnTo>
                  <a:lnTo>
                    <a:pt x="357" y="14"/>
                  </a:lnTo>
                  <a:lnTo>
                    <a:pt x="366" y="14"/>
                  </a:lnTo>
                  <a:lnTo>
                    <a:pt x="371" y="14"/>
                  </a:lnTo>
                  <a:lnTo>
                    <a:pt x="375" y="9"/>
                  </a:lnTo>
                  <a:lnTo>
                    <a:pt x="380" y="4"/>
                  </a:lnTo>
                  <a:lnTo>
                    <a:pt x="384" y="4"/>
                  </a:lnTo>
                  <a:lnTo>
                    <a:pt x="398" y="0"/>
                  </a:lnTo>
                  <a:lnTo>
                    <a:pt x="398" y="0"/>
                  </a:lnTo>
                  <a:lnTo>
                    <a:pt x="403" y="0"/>
                  </a:lnTo>
                  <a:lnTo>
                    <a:pt x="407" y="4"/>
                  </a:lnTo>
                  <a:lnTo>
                    <a:pt x="412" y="4"/>
                  </a:lnTo>
                  <a:lnTo>
                    <a:pt x="416" y="9"/>
                  </a:lnTo>
                  <a:lnTo>
                    <a:pt x="416" y="9"/>
                  </a:lnTo>
                  <a:lnTo>
                    <a:pt x="421" y="14"/>
                  </a:lnTo>
                  <a:lnTo>
                    <a:pt x="430" y="14"/>
                  </a:lnTo>
                  <a:lnTo>
                    <a:pt x="430" y="14"/>
                  </a:lnTo>
                  <a:lnTo>
                    <a:pt x="435" y="14"/>
                  </a:lnTo>
                  <a:lnTo>
                    <a:pt x="439" y="14"/>
                  </a:lnTo>
                  <a:lnTo>
                    <a:pt x="453" y="23"/>
                  </a:lnTo>
                  <a:lnTo>
                    <a:pt x="457" y="23"/>
                  </a:lnTo>
                  <a:lnTo>
                    <a:pt x="462" y="23"/>
                  </a:lnTo>
                  <a:lnTo>
                    <a:pt x="462" y="23"/>
                  </a:lnTo>
                  <a:lnTo>
                    <a:pt x="476" y="27"/>
                  </a:lnTo>
                  <a:lnTo>
                    <a:pt x="480" y="32"/>
                  </a:lnTo>
                  <a:lnTo>
                    <a:pt x="489" y="32"/>
                  </a:lnTo>
                  <a:lnTo>
                    <a:pt x="489" y="36"/>
                  </a:lnTo>
                  <a:lnTo>
                    <a:pt x="499" y="36"/>
                  </a:lnTo>
                  <a:lnTo>
                    <a:pt x="503" y="36"/>
                  </a:lnTo>
                  <a:lnTo>
                    <a:pt x="512" y="36"/>
                  </a:lnTo>
                  <a:lnTo>
                    <a:pt x="526" y="36"/>
                  </a:lnTo>
                  <a:lnTo>
                    <a:pt x="531" y="36"/>
                  </a:lnTo>
                  <a:lnTo>
                    <a:pt x="540" y="41"/>
                  </a:lnTo>
                  <a:lnTo>
                    <a:pt x="544" y="41"/>
                  </a:lnTo>
                  <a:lnTo>
                    <a:pt x="549" y="41"/>
                  </a:lnTo>
                  <a:lnTo>
                    <a:pt x="549" y="41"/>
                  </a:lnTo>
                  <a:lnTo>
                    <a:pt x="558" y="41"/>
                  </a:lnTo>
                  <a:lnTo>
                    <a:pt x="563" y="36"/>
                  </a:lnTo>
                  <a:lnTo>
                    <a:pt x="567" y="36"/>
                  </a:lnTo>
                  <a:lnTo>
                    <a:pt x="572" y="36"/>
                  </a:lnTo>
                  <a:lnTo>
                    <a:pt x="576" y="36"/>
                  </a:lnTo>
                  <a:lnTo>
                    <a:pt x="581" y="36"/>
                  </a:lnTo>
                  <a:lnTo>
                    <a:pt x="585" y="41"/>
                  </a:lnTo>
                  <a:lnTo>
                    <a:pt x="595" y="46"/>
                  </a:lnTo>
                  <a:lnTo>
                    <a:pt x="595" y="50"/>
                  </a:lnTo>
                  <a:lnTo>
                    <a:pt x="599" y="50"/>
                  </a:lnTo>
                  <a:lnTo>
                    <a:pt x="599" y="55"/>
                  </a:lnTo>
                  <a:lnTo>
                    <a:pt x="604" y="55"/>
                  </a:lnTo>
                  <a:lnTo>
                    <a:pt x="604" y="59"/>
                  </a:lnTo>
                  <a:lnTo>
                    <a:pt x="608" y="64"/>
                  </a:lnTo>
                  <a:lnTo>
                    <a:pt x="613" y="64"/>
                  </a:lnTo>
                  <a:lnTo>
                    <a:pt x="613" y="73"/>
                  </a:lnTo>
                  <a:lnTo>
                    <a:pt x="617" y="82"/>
                  </a:lnTo>
                  <a:lnTo>
                    <a:pt x="617" y="82"/>
                  </a:lnTo>
                  <a:lnTo>
                    <a:pt x="617" y="87"/>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Benue</a:t>
              </a:r>
            </a:p>
          </p:txBody>
        </p:sp>
        <p:sp>
          <p:nvSpPr>
            <p:cNvPr id="131" name="Freeform 50">
              <a:extLst>
                <a:ext uri="{FF2B5EF4-FFF2-40B4-BE49-F238E27FC236}">
                  <a16:creationId xmlns:a16="http://schemas.microsoft.com/office/drawing/2014/main" id="{1A5D9CB8-CD6C-427B-984D-50FB8CD45A96}"/>
                </a:ext>
              </a:extLst>
            </p:cNvPr>
            <p:cNvSpPr>
              <a:spLocks/>
            </p:cNvSpPr>
            <p:nvPr>
              <p:custDataLst>
                <p:tags r:id="rId43"/>
              </p:custDataLst>
            </p:nvPr>
          </p:nvSpPr>
          <p:spPr bwMode="auto">
            <a:xfrm>
              <a:off x="3059813" y="875644"/>
              <a:ext cx="1033687" cy="1433207"/>
            </a:xfrm>
            <a:custGeom>
              <a:avLst/>
              <a:gdLst/>
              <a:ahLst/>
              <a:cxnLst>
                <a:cxn ang="0">
                  <a:pos x="266" y="508"/>
                </a:cxn>
                <a:cxn ang="0">
                  <a:pos x="302" y="457"/>
                </a:cxn>
                <a:cxn ang="0">
                  <a:pos x="343" y="398"/>
                </a:cxn>
                <a:cxn ang="0">
                  <a:pos x="311" y="343"/>
                </a:cxn>
                <a:cxn ang="0">
                  <a:pos x="316" y="243"/>
                </a:cxn>
                <a:cxn ang="0">
                  <a:pos x="362" y="238"/>
                </a:cxn>
                <a:cxn ang="0">
                  <a:pos x="375" y="215"/>
                </a:cxn>
                <a:cxn ang="0">
                  <a:pos x="375" y="188"/>
                </a:cxn>
                <a:cxn ang="0">
                  <a:pos x="403" y="165"/>
                </a:cxn>
                <a:cxn ang="0">
                  <a:pos x="435" y="156"/>
                </a:cxn>
                <a:cxn ang="0">
                  <a:pos x="458" y="137"/>
                </a:cxn>
                <a:cxn ang="0">
                  <a:pos x="485" y="119"/>
                </a:cxn>
                <a:cxn ang="0">
                  <a:pos x="499" y="105"/>
                </a:cxn>
                <a:cxn ang="0">
                  <a:pos x="503" y="87"/>
                </a:cxn>
                <a:cxn ang="0">
                  <a:pos x="554" y="73"/>
                </a:cxn>
                <a:cxn ang="0">
                  <a:pos x="576" y="69"/>
                </a:cxn>
                <a:cxn ang="0">
                  <a:pos x="599" y="64"/>
                </a:cxn>
                <a:cxn ang="0">
                  <a:pos x="622" y="69"/>
                </a:cxn>
                <a:cxn ang="0">
                  <a:pos x="640" y="55"/>
                </a:cxn>
                <a:cxn ang="0">
                  <a:pos x="650" y="32"/>
                </a:cxn>
                <a:cxn ang="0">
                  <a:pos x="677" y="9"/>
                </a:cxn>
                <a:cxn ang="0">
                  <a:pos x="759" y="0"/>
                </a:cxn>
                <a:cxn ang="0">
                  <a:pos x="823" y="46"/>
                </a:cxn>
                <a:cxn ang="0">
                  <a:pos x="901" y="160"/>
                </a:cxn>
                <a:cxn ang="0">
                  <a:pos x="960" y="243"/>
                </a:cxn>
                <a:cxn ang="0">
                  <a:pos x="988" y="375"/>
                </a:cxn>
                <a:cxn ang="0">
                  <a:pos x="997" y="471"/>
                </a:cxn>
                <a:cxn ang="0">
                  <a:pos x="997" y="494"/>
                </a:cxn>
                <a:cxn ang="0">
                  <a:pos x="1038" y="508"/>
                </a:cxn>
                <a:cxn ang="0">
                  <a:pos x="1093" y="512"/>
                </a:cxn>
                <a:cxn ang="0">
                  <a:pos x="1130" y="531"/>
                </a:cxn>
                <a:cxn ang="0">
                  <a:pos x="1143" y="558"/>
                </a:cxn>
                <a:cxn ang="0">
                  <a:pos x="1166" y="581"/>
                </a:cxn>
                <a:cxn ang="0">
                  <a:pos x="1171" y="613"/>
                </a:cxn>
                <a:cxn ang="0">
                  <a:pos x="1180" y="663"/>
                </a:cxn>
                <a:cxn ang="0">
                  <a:pos x="1157" y="709"/>
                </a:cxn>
                <a:cxn ang="0">
                  <a:pos x="1152" y="768"/>
                </a:cxn>
                <a:cxn ang="0">
                  <a:pos x="1152" y="837"/>
                </a:cxn>
                <a:cxn ang="0">
                  <a:pos x="1052" y="883"/>
                </a:cxn>
                <a:cxn ang="0">
                  <a:pos x="960" y="924"/>
                </a:cxn>
                <a:cxn ang="0">
                  <a:pos x="901" y="956"/>
                </a:cxn>
                <a:cxn ang="0">
                  <a:pos x="869" y="992"/>
                </a:cxn>
                <a:cxn ang="0">
                  <a:pos x="828" y="1033"/>
                </a:cxn>
                <a:cxn ang="0">
                  <a:pos x="714" y="1075"/>
                </a:cxn>
                <a:cxn ang="0">
                  <a:pos x="650" y="1180"/>
                </a:cxn>
                <a:cxn ang="0">
                  <a:pos x="572" y="1230"/>
                </a:cxn>
                <a:cxn ang="0">
                  <a:pos x="485" y="1198"/>
                </a:cxn>
                <a:cxn ang="0">
                  <a:pos x="384" y="1280"/>
                </a:cxn>
                <a:cxn ang="0">
                  <a:pos x="266" y="1312"/>
                </a:cxn>
                <a:cxn ang="0">
                  <a:pos x="197" y="1404"/>
                </a:cxn>
                <a:cxn ang="0">
                  <a:pos x="92" y="1376"/>
                </a:cxn>
                <a:cxn ang="0">
                  <a:pos x="23" y="1321"/>
                </a:cxn>
                <a:cxn ang="0">
                  <a:pos x="23" y="1267"/>
                </a:cxn>
                <a:cxn ang="0">
                  <a:pos x="46" y="1221"/>
                </a:cxn>
                <a:cxn ang="0">
                  <a:pos x="46" y="1175"/>
                </a:cxn>
                <a:cxn ang="0">
                  <a:pos x="69" y="1075"/>
                </a:cxn>
                <a:cxn ang="0">
                  <a:pos x="151" y="1047"/>
                </a:cxn>
                <a:cxn ang="0">
                  <a:pos x="215" y="988"/>
                </a:cxn>
                <a:cxn ang="0">
                  <a:pos x="243" y="901"/>
                </a:cxn>
                <a:cxn ang="0">
                  <a:pos x="288" y="832"/>
                </a:cxn>
                <a:cxn ang="0">
                  <a:pos x="234" y="764"/>
                </a:cxn>
              </a:cxnLst>
              <a:rect l="0" t="0" r="r" b="b"/>
              <a:pathLst>
                <a:path w="1184" h="1417">
                  <a:moveTo>
                    <a:pt x="256" y="700"/>
                  </a:moveTo>
                  <a:lnTo>
                    <a:pt x="256" y="695"/>
                  </a:lnTo>
                  <a:lnTo>
                    <a:pt x="256" y="677"/>
                  </a:lnTo>
                  <a:lnTo>
                    <a:pt x="256" y="668"/>
                  </a:lnTo>
                  <a:lnTo>
                    <a:pt x="256" y="654"/>
                  </a:lnTo>
                  <a:lnTo>
                    <a:pt x="256" y="640"/>
                  </a:lnTo>
                  <a:lnTo>
                    <a:pt x="261" y="627"/>
                  </a:lnTo>
                  <a:lnTo>
                    <a:pt x="266" y="608"/>
                  </a:lnTo>
                  <a:lnTo>
                    <a:pt x="266" y="608"/>
                  </a:lnTo>
                  <a:lnTo>
                    <a:pt x="270" y="599"/>
                  </a:lnTo>
                  <a:lnTo>
                    <a:pt x="270" y="590"/>
                  </a:lnTo>
                  <a:lnTo>
                    <a:pt x="275" y="567"/>
                  </a:lnTo>
                  <a:lnTo>
                    <a:pt x="275" y="553"/>
                  </a:lnTo>
                  <a:lnTo>
                    <a:pt x="275" y="549"/>
                  </a:lnTo>
                  <a:lnTo>
                    <a:pt x="275" y="544"/>
                  </a:lnTo>
                  <a:lnTo>
                    <a:pt x="275" y="535"/>
                  </a:lnTo>
                  <a:lnTo>
                    <a:pt x="270" y="521"/>
                  </a:lnTo>
                  <a:lnTo>
                    <a:pt x="266" y="517"/>
                  </a:lnTo>
                  <a:lnTo>
                    <a:pt x="266" y="512"/>
                  </a:lnTo>
                  <a:lnTo>
                    <a:pt x="266" y="508"/>
                  </a:lnTo>
                  <a:lnTo>
                    <a:pt x="266" y="503"/>
                  </a:lnTo>
                  <a:lnTo>
                    <a:pt x="266" y="499"/>
                  </a:lnTo>
                  <a:lnTo>
                    <a:pt x="261" y="499"/>
                  </a:lnTo>
                  <a:lnTo>
                    <a:pt x="261" y="499"/>
                  </a:lnTo>
                  <a:lnTo>
                    <a:pt x="261" y="494"/>
                  </a:lnTo>
                  <a:lnTo>
                    <a:pt x="261" y="485"/>
                  </a:lnTo>
                  <a:lnTo>
                    <a:pt x="266" y="485"/>
                  </a:lnTo>
                  <a:lnTo>
                    <a:pt x="266" y="480"/>
                  </a:lnTo>
                  <a:lnTo>
                    <a:pt x="266" y="480"/>
                  </a:lnTo>
                  <a:lnTo>
                    <a:pt x="270" y="480"/>
                  </a:lnTo>
                  <a:lnTo>
                    <a:pt x="275" y="476"/>
                  </a:lnTo>
                  <a:lnTo>
                    <a:pt x="279" y="476"/>
                  </a:lnTo>
                  <a:lnTo>
                    <a:pt x="284" y="471"/>
                  </a:lnTo>
                  <a:lnTo>
                    <a:pt x="288" y="471"/>
                  </a:lnTo>
                  <a:lnTo>
                    <a:pt x="288" y="467"/>
                  </a:lnTo>
                  <a:lnTo>
                    <a:pt x="288" y="467"/>
                  </a:lnTo>
                  <a:lnTo>
                    <a:pt x="293" y="467"/>
                  </a:lnTo>
                  <a:lnTo>
                    <a:pt x="293" y="462"/>
                  </a:lnTo>
                  <a:lnTo>
                    <a:pt x="298" y="457"/>
                  </a:lnTo>
                  <a:lnTo>
                    <a:pt x="302" y="457"/>
                  </a:lnTo>
                  <a:lnTo>
                    <a:pt x="307" y="457"/>
                  </a:lnTo>
                  <a:lnTo>
                    <a:pt x="307" y="453"/>
                  </a:lnTo>
                  <a:lnTo>
                    <a:pt x="311" y="453"/>
                  </a:lnTo>
                  <a:lnTo>
                    <a:pt x="311" y="453"/>
                  </a:lnTo>
                  <a:lnTo>
                    <a:pt x="311" y="448"/>
                  </a:lnTo>
                  <a:lnTo>
                    <a:pt x="311" y="444"/>
                  </a:lnTo>
                  <a:lnTo>
                    <a:pt x="316" y="444"/>
                  </a:lnTo>
                  <a:lnTo>
                    <a:pt x="316" y="439"/>
                  </a:lnTo>
                  <a:lnTo>
                    <a:pt x="316" y="435"/>
                  </a:lnTo>
                  <a:lnTo>
                    <a:pt x="320" y="435"/>
                  </a:lnTo>
                  <a:lnTo>
                    <a:pt x="320" y="430"/>
                  </a:lnTo>
                  <a:lnTo>
                    <a:pt x="325" y="425"/>
                  </a:lnTo>
                  <a:lnTo>
                    <a:pt x="330" y="421"/>
                  </a:lnTo>
                  <a:lnTo>
                    <a:pt x="330" y="416"/>
                  </a:lnTo>
                  <a:lnTo>
                    <a:pt x="330" y="412"/>
                  </a:lnTo>
                  <a:lnTo>
                    <a:pt x="334" y="412"/>
                  </a:lnTo>
                  <a:lnTo>
                    <a:pt x="339" y="412"/>
                  </a:lnTo>
                  <a:lnTo>
                    <a:pt x="339" y="407"/>
                  </a:lnTo>
                  <a:lnTo>
                    <a:pt x="343" y="403"/>
                  </a:lnTo>
                  <a:lnTo>
                    <a:pt x="343" y="398"/>
                  </a:lnTo>
                  <a:lnTo>
                    <a:pt x="343" y="389"/>
                  </a:lnTo>
                  <a:lnTo>
                    <a:pt x="343" y="389"/>
                  </a:lnTo>
                  <a:lnTo>
                    <a:pt x="343" y="384"/>
                  </a:lnTo>
                  <a:lnTo>
                    <a:pt x="339" y="380"/>
                  </a:lnTo>
                  <a:lnTo>
                    <a:pt x="339" y="375"/>
                  </a:lnTo>
                  <a:lnTo>
                    <a:pt x="334" y="375"/>
                  </a:lnTo>
                  <a:lnTo>
                    <a:pt x="334" y="371"/>
                  </a:lnTo>
                  <a:lnTo>
                    <a:pt x="334" y="371"/>
                  </a:lnTo>
                  <a:lnTo>
                    <a:pt x="330" y="371"/>
                  </a:lnTo>
                  <a:lnTo>
                    <a:pt x="330" y="366"/>
                  </a:lnTo>
                  <a:lnTo>
                    <a:pt x="330" y="366"/>
                  </a:lnTo>
                  <a:lnTo>
                    <a:pt x="325" y="361"/>
                  </a:lnTo>
                  <a:lnTo>
                    <a:pt x="325" y="357"/>
                  </a:lnTo>
                  <a:lnTo>
                    <a:pt x="320" y="357"/>
                  </a:lnTo>
                  <a:lnTo>
                    <a:pt x="320" y="352"/>
                  </a:lnTo>
                  <a:lnTo>
                    <a:pt x="316" y="352"/>
                  </a:lnTo>
                  <a:lnTo>
                    <a:pt x="316" y="348"/>
                  </a:lnTo>
                  <a:lnTo>
                    <a:pt x="311" y="348"/>
                  </a:lnTo>
                  <a:lnTo>
                    <a:pt x="311" y="343"/>
                  </a:lnTo>
                  <a:lnTo>
                    <a:pt x="311" y="343"/>
                  </a:lnTo>
                  <a:lnTo>
                    <a:pt x="307" y="339"/>
                  </a:lnTo>
                  <a:lnTo>
                    <a:pt x="307" y="334"/>
                  </a:lnTo>
                  <a:lnTo>
                    <a:pt x="307" y="329"/>
                  </a:lnTo>
                  <a:lnTo>
                    <a:pt x="302" y="329"/>
                  </a:lnTo>
                  <a:lnTo>
                    <a:pt x="302" y="325"/>
                  </a:lnTo>
                  <a:lnTo>
                    <a:pt x="298" y="325"/>
                  </a:lnTo>
                  <a:lnTo>
                    <a:pt x="298" y="320"/>
                  </a:lnTo>
                  <a:lnTo>
                    <a:pt x="298" y="311"/>
                  </a:lnTo>
                  <a:lnTo>
                    <a:pt x="298" y="307"/>
                  </a:lnTo>
                  <a:lnTo>
                    <a:pt x="302" y="307"/>
                  </a:lnTo>
                  <a:lnTo>
                    <a:pt x="302" y="302"/>
                  </a:lnTo>
                  <a:lnTo>
                    <a:pt x="302" y="302"/>
                  </a:lnTo>
                  <a:lnTo>
                    <a:pt x="307" y="297"/>
                  </a:lnTo>
                  <a:lnTo>
                    <a:pt x="311" y="288"/>
                  </a:lnTo>
                  <a:lnTo>
                    <a:pt x="311" y="284"/>
                  </a:lnTo>
                  <a:lnTo>
                    <a:pt x="311" y="279"/>
                  </a:lnTo>
                  <a:lnTo>
                    <a:pt x="311" y="270"/>
                  </a:lnTo>
                  <a:lnTo>
                    <a:pt x="311" y="261"/>
                  </a:lnTo>
                  <a:lnTo>
                    <a:pt x="316" y="243"/>
                  </a:lnTo>
                  <a:lnTo>
                    <a:pt x="316" y="243"/>
                  </a:lnTo>
                  <a:lnTo>
                    <a:pt x="325" y="243"/>
                  </a:lnTo>
                  <a:lnTo>
                    <a:pt x="325" y="243"/>
                  </a:lnTo>
                  <a:lnTo>
                    <a:pt x="325" y="243"/>
                  </a:lnTo>
                  <a:lnTo>
                    <a:pt x="325" y="243"/>
                  </a:lnTo>
                  <a:lnTo>
                    <a:pt x="325" y="238"/>
                  </a:lnTo>
                  <a:lnTo>
                    <a:pt x="330" y="238"/>
                  </a:lnTo>
                  <a:lnTo>
                    <a:pt x="330" y="243"/>
                  </a:lnTo>
                  <a:lnTo>
                    <a:pt x="339" y="243"/>
                  </a:lnTo>
                  <a:lnTo>
                    <a:pt x="339" y="243"/>
                  </a:lnTo>
                  <a:lnTo>
                    <a:pt x="343" y="243"/>
                  </a:lnTo>
                  <a:lnTo>
                    <a:pt x="348" y="243"/>
                  </a:lnTo>
                  <a:lnTo>
                    <a:pt x="352" y="247"/>
                  </a:lnTo>
                  <a:lnTo>
                    <a:pt x="352" y="247"/>
                  </a:lnTo>
                  <a:lnTo>
                    <a:pt x="352" y="247"/>
                  </a:lnTo>
                  <a:lnTo>
                    <a:pt x="357" y="243"/>
                  </a:lnTo>
                  <a:lnTo>
                    <a:pt x="352" y="238"/>
                  </a:lnTo>
                  <a:lnTo>
                    <a:pt x="352" y="238"/>
                  </a:lnTo>
                  <a:lnTo>
                    <a:pt x="357" y="238"/>
                  </a:lnTo>
                  <a:lnTo>
                    <a:pt x="357" y="238"/>
                  </a:lnTo>
                  <a:lnTo>
                    <a:pt x="362" y="238"/>
                  </a:lnTo>
                  <a:lnTo>
                    <a:pt x="362" y="238"/>
                  </a:lnTo>
                  <a:lnTo>
                    <a:pt x="362" y="238"/>
                  </a:lnTo>
                  <a:lnTo>
                    <a:pt x="357" y="238"/>
                  </a:lnTo>
                  <a:lnTo>
                    <a:pt x="357" y="238"/>
                  </a:lnTo>
                  <a:lnTo>
                    <a:pt x="362" y="233"/>
                  </a:lnTo>
                  <a:lnTo>
                    <a:pt x="357" y="233"/>
                  </a:lnTo>
                  <a:lnTo>
                    <a:pt x="357" y="233"/>
                  </a:lnTo>
                  <a:lnTo>
                    <a:pt x="362" y="229"/>
                  </a:lnTo>
                  <a:lnTo>
                    <a:pt x="362" y="229"/>
                  </a:lnTo>
                  <a:lnTo>
                    <a:pt x="357" y="224"/>
                  </a:lnTo>
                  <a:lnTo>
                    <a:pt x="357" y="224"/>
                  </a:lnTo>
                  <a:lnTo>
                    <a:pt x="362" y="220"/>
                  </a:lnTo>
                  <a:lnTo>
                    <a:pt x="362" y="215"/>
                  </a:lnTo>
                  <a:lnTo>
                    <a:pt x="366" y="215"/>
                  </a:lnTo>
                  <a:lnTo>
                    <a:pt x="371" y="215"/>
                  </a:lnTo>
                  <a:lnTo>
                    <a:pt x="371" y="215"/>
                  </a:lnTo>
                  <a:lnTo>
                    <a:pt x="375" y="215"/>
                  </a:lnTo>
                  <a:lnTo>
                    <a:pt x="375" y="215"/>
                  </a:lnTo>
                  <a:lnTo>
                    <a:pt x="375" y="215"/>
                  </a:lnTo>
                  <a:lnTo>
                    <a:pt x="375" y="215"/>
                  </a:lnTo>
                  <a:lnTo>
                    <a:pt x="380" y="215"/>
                  </a:lnTo>
                  <a:lnTo>
                    <a:pt x="380" y="215"/>
                  </a:lnTo>
                  <a:lnTo>
                    <a:pt x="380" y="211"/>
                  </a:lnTo>
                  <a:lnTo>
                    <a:pt x="380" y="211"/>
                  </a:lnTo>
                  <a:lnTo>
                    <a:pt x="384" y="211"/>
                  </a:lnTo>
                  <a:lnTo>
                    <a:pt x="384" y="211"/>
                  </a:lnTo>
                  <a:lnTo>
                    <a:pt x="380" y="206"/>
                  </a:lnTo>
                  <a:lnTo>
                    <a:pt x="384" y="201"/>
                  </a:lnTo>
                  <a:lnTo>
                    <a:pt x="384" y="201"/>
                  </a:lnTo>
                  <a:lnTo>
                    <a:pt x="384" y="197"/>
                  </a:lnTo>
                  <a:lnTo>
                    <a:pt x="384" y="197"/>
                  </a:lnTo>
                  <a:lnTo>
                    <a:pt x="384" y="197"/>
                  </a:lnTo>
                  <a:lnTo>
                    <a:pt x="380" y="197"/>
                  </a:lnTo>
                  <a:lnTo>
                    <a:pt x="380" y="197"/>
                  </a:lnTo>
                  <a:lnTo>
                    <a:pt x="380" y="197"/>
                  </a:lnTo>
                  <a:lnTo>
                    <a:pt x="375" y="197"/>
                  </a:lnTo>
                  <a:lnTo>
                    <a:pt x="375" y="192"/>
                  </a:lnTo>
                  <a:lnTo>
                    <a:pt x="375" y="192"/>
                  </a:lnTo>
                  <a:lnTo>
                    <a:pt x="375" y="188"/>
                  </a:lnTo>
                  <a:lnTo>
                    <a:pt x="375" y="188"/>
                  </a:lnTo>
                  <a:lnTo>
                    <a:pt x="375" y="188"/>
                  </a:lnTo>
                  <a:lnTo>
                    <a:pt x="380" y="192"/>
                  </a:lnTo>
                  <a:lnTo>
                    <a:pt x="380" y="192"/>
                  </a:lnTo>
                  <a:lnTo>
                    <a:pt x="380" y="192"/>
                  </a:lnTo>
                  <a:lnTo>
                    <a:pt x="384" y="188"/>
                  </a:lnTo>
                  <a:lnTo>
                    <a:pt x="384" y="188"/>
                  </a:lnTo>
                  <a:lnTo>
                    <a:pt x="389" y="183"/>
                  </a:lnTo>
                  <a:lnTo>
                    <a:pt x="389" y="183"/>
                  </a:lnTo>
                  <a:lnTo>
                    <a:pt x="389" y="179"/>
                  </a:lnTo>
                  <a:lnTo>
                    <a:pt x="389" y="179"/>
                  </a:lnTo>
                  <a:lnTo>
                    <a:pt x="389" y="174"/>
                  </a:lnTo>
                  <a:lnTo>
                    <a:pt x="389" y="174"/>
                  </a:lnTo>
                  <a:lnTo>
                    <a:pt x="394" y="169"/>
                  </a:lnTo>
                  <a:lnTo>
                    <a:pt x="394" y="169"/>
                  </a:lnTo>
                  <a:lnTo>
                    <a:pt x="398" y="169"/>
                  </a:lnTo>
                  <a:lnTo>
                    <a:pt x="398" y="169"/>
                  </a:lnTo>
                  <a:lnTo>
                    <a:pt x="394" y="165"/>
                  </a:lnTo>
                  <a:lnTo>
                    <a:pt x="394" y="165"/>
                  </a:lnTo>
                  <a:lnTo>
                    <a:pt x="398" y="165"/>
                  </a:lnTo>
                  <a:lnTo>
                    <a:pt x="403" y="165"/>
                  </a:lnTo>
                  <a:lnTo>
                    <a:pt x="407" y="165"/>
                  </a:lnTo>
                  <a:lnTo>
                    <a:pt x="412" y="165"/>
                  </a:lnTo>
                  <a:lnTo>
                    <a:pt x="412" y="165"/>
                  </a:lnTo>
                  <a:lnTo>
                    <a:pt x="416" y="156"/>
                  </a:lnTo>
                  <a:lnTo>
                    <a:pt x="416" y="156"/>
                  </a:lnTo>
                  <a:lnTo>
                    <a:pt x="416" y="156"/>
                  </a:lnTo>
                  <a:lnTo>
                    <a:pt x="416" y="160"/>
                  </a:lnTo>
                  <a:lnTo>
                    <a:pt x="416" y="160"/>
                  </a:lnTo>
                  <a:lnTo>
                    <a:pt x="416" y="160"/>
                  </a:lnTo>
                  <a:lnTo>
                    <a:pt x="421" y="165"/>
                  </a:lnTo>
                  <a:lnTo>
                    <a:pt x="421" y="165"/>
                  </a:lnTo>
                  <a:lnTo>
                    <a:pt x="421" y="160"/>
                  </a:lnTo>
                  <a:lnTo>
                    <a:pt x="426" y="160"/>
                  </a:lnTo>
                  <a:lnTo>
                    <a:pt x="426" y="165"/>
                  </a:lnTo>
                  <a:lnTo>
                    <a:pt x="426" y="165"/>
                  </a:lnTo>
                  <a:lnTo>
                    <a:pt x="426" y="165"/>
                  </a:lnTo>
                  <a:lnTo>
                    <a:pt x="426" y="165"/>
                  </a:lnTo>
                  <a:lnTo>
                    <a:pt x="430" y="165"/>
                  </a:lnTo>
                  <a:lnTo>
                    <a:pt x="435" y="160"/>
                  </a:lnTo>
                  <a:lnTo>
                    <a:pt x="435" y="156"/>
                  </a:lnTo>
                  <a:lnTo>
                    <a:pt x="435" y="151"/>
                  </a:lnTo>
                  <a:lnTo>
                    <a:pt x="435" y="151"/>
                  </a:lnTo>
                  <a:lnTo>
                    <a:pt x="435" y="151"/>
                  </a:lnTo>
                  <a:lnTo>
                    <a:pt x="439" y="151"/>
                  </a:lnTo>
                  <a:lnTo>
                    <a:pt x="439" y="151"/>
                  </a:lnTo>
                  <a:lnTo>
                    <a:pt x="444" y="156"/>
                  </a:lnTo>
                  <a:lnTo>
                    <a:pt x="444" y="156"/>
                  </a:lnTo>
                  <a:lnTo>
                    <a:pt x="444" y="156"/>
                  </a:lnTo>
                  <a:lnTo>
                    <a:pt x="444" y="151"/>
                  </a:lnTo>
                  <a:lnTo>
                    <a:pt x="444" y="151"/>
                  </a:lnTo>
                  <a:lnTo>
                    <a:pt x="444" y="151"/>
                  </a:lnTo>
                  <a:lnTo>
                    <a:pt x="448" y="151"/>
                  </a:lnTo>
                  <a:lnTo>
                    <a:pt x="453" y="147"/>
                  </a:lnTo>
                  <a:lnTo>
                    <a:pt x="453" y="147"/>
                  </a:lnTo>
                  <a:lnTo>
                    <a:pt x="453" y="147"/>
                  </a:lnTo>
                  <a:lnTo>
                    <a:pt x="453" y="147"/>
                  </a:lnTo>
                  <a:lnTo>
                    <a:pt x="453" y="142"/>
                  </a:lnTo>
                  <a:lnTo>
                    <a:pt x="453" y="142"/>
                  </a:lnTo>
                  <a:lnTo>
                    <a:pt x="458" y="137"/>
                  </a:lnTo>
                  <a:lnTo>
                    <a:pt x="458" y="137"/>
                  </a:lnTo>
                  <a:lnTo>
                    <a:pt x="462" y="137"/>
                  </a:lnTo>
                  <a:lnTo>
                    <a:pt x="467" y="137"/>
                  </a:lnTo>
                  <a:lnTo>
                    <a:pt x="467" y="133"/>
                  </a:lnTo>
                  <a:lnTo>
                    <a:pt x="467" y="133"/>
                  </a:lnTo>
                  <a:lnTo>
                    <a:pt x="471" y="133"/>
                  </a:lnTo>
                  <a:lnTo>
                    <a:pt x="471" y="128"/>
                  </a:lnTo>
                  <a:lnTo>
                    <a:pt x="476" y="128"/>
                  </a:lnTo>
                  <a:lnTo>
                    <a:pt x="471" y="128"/>
                  </a:lnTo>
                  <a:lnTo>
                    <a:pt x="476" y="128"/>
                  </a:lnTo>
                  <a:lnTo>
                    <a:pt x="476" y="124"/>
                  </a:lnTo>
                  <a:lnTo>
                    <a:pt x="476" y="124"/>
                  </a:lnTo>
                  <a:lnTo>
                    <a:pt x="476" y="124"/>
                  </a:lnTo>
                  <a:lnTo>
                    <a:pt x="485" y="119"/>
                  </a:lnTo>
                  <a:lnTo>
                    <a:pt x="485" y="119"/>
                  </a:lnTo>
                  <a:lnTo>
                    <a:pt x="485" y="119"/>
                  </a:lnTo>
                  <a:lnTo>
                    <a:pt x="485" y="115"/>
                  </a:lnTo>
                  <a:lnTo>
                    <a:pt x="485" y="115"/>
                  </a:lnTo>
                  <a:lnTo>
                    <a:pt x="485" y="119"/>
                  </a:lnTo>
                  <a:lnTo>
                    <a:pt x="485" y="119"/>
                  </a:lnTo>
                  <a:lnTo>
                    <a:pt x="485" y="119"/>
                  </a:lnTo>
                  <a:lnTo>
                    <a:pt x="490" y="119"/>
                  </a:lnTo>
                  <a:lnTo>
                    <a:pt x="490" y="119"/>
                  </a:lnTo>
                  <a:lnTo>
                    <a:pt x="490" y="110"/>
                  </a:lnTo>
                  <a:lnTo>
                    <a:pt x="485" y="110"/>
                  </a:lnTo>
                  <a:lnTo>
                    <a:pt x="480" y="110"/>
                  </a:lnTo>
                  <a:lnTo>
                    <a:pt x="480" y="110"/>
                  </a:lnTo>
                  <a:lnTo>
                    <a:pt x="480" y="110"/>
                  </a:lnTo>
                  <a:lnTo>
                    <a:pt x="485" y="110"/>
                  </a:lnTo>
                  <a:lnTo>
                    <a:pt x="485" y="105"/>
                  </a:lnTo>
                  <a:lnTo>
                    <a:pt x="490" y="105"/>
                  </a:lnTo>
                  <a:lnTo>
                    <a:pt x="490" y="105"/>
                  </a:lnTo>
                  <a:lnTo>
                    <a:pt x="490" y="105"/>
                  </a:lnTo>
                  <a:lnTo>
                    <a:pt x="490" y="105"/>
                  </a:lnTo>
                  <a:lnTo>
                    <a:pt x="490" y="105"/>
                  </a:lnTo>
                  <a:lnTo>
                    <a:pt x="490" y="101"/>
                  </a:lnTo>
                  <a:lnTo>
                    <a:pt x="490" y="101"/>
                  </a:lnTo>
                  <a:lnTo>
                    <a:pt x="494" y="105"/>
                  </a:lnTo>
                  <a:lnTo>
                    <a:pt x="494" y="105"/>
                  </a:lnTo>
                  <a:lnTo>
                    <a:pt x="499" y="105"/>
                  </a:lnTo>
                  <a:lnTo>
                    <a:pt x="499" y="105"/>
                  </a:lnTo>
                  <a:lnTo>
                    <a:pt x="499" y="101"/>
                  </a:lnTo>
                  <a:lnTo>
                    <a:pt x="499" y="101"/>
                  </a:lnTo>
                  <a:lnTo>
                    <a:pt x="499" y="101"/>
                  </a:lnTo>
                  <a:lnTo>
                    <a:pt x="499" y="96"/>
                  </a:lnTo>
                  <a:lnTo>
                    <a:pt x="499" y="96"/>
                  </a:lnTo>
                  <a:lnTo>
                    <a:pt x="499" y="92"/>
                  </a:lnTo>
                  <a:lnTo>
                    <a:pt x="499" y="92"/>
                  </a:lnTo>
                  <a:lnTo>
                    <a:pt x="494" y="92"/>
                  </a:lnTo>
                  <a:lnTo>
                    <a:pt x="494" y="92"/>
                  </a:lnTo>
                  <a:lnTo>
                    <a:pt x="494" y="92"/>
                  </a:lnTo>
                  <a:lnTo>
                    <a:pt x="494" y="92"/>
                  </a:lnTo>
                  <a:lnTo>
                    <a:pt x="499" y="92"/>
                  </a:lnTo>
                  <a:lnTo>
                    <a:pt x="499" y="87"/>
                  </a:lnTo>
                  <a:lnTo>
                    <a:pt x="499" y="92"/>
                  </a:lnTo>
                  <a:lnTo>
                    <a:pt x="503" y="92"/>
                  </a:lnTo>
                  <a:lnTo>
                    <a:pt x="503" y="92"/>
                  </a:lnTo>
                  <a:lnTo>
                    <a:pt x="508" y="92"/>
                  </a:lnTo>
                  <a:lnTo>
                    <a:pt x="503" y="87"/>
                  </a:lnTo>
                  <a:lnTo>
                    <a:pt x="503" y="87"/>
                  </a:lnTo>
                  <a:lnTo>
                    <a:pt x="503" y="87"/>
                  </a:lnTo>
                  <a:lnTo>
                    <a:pt x="503" y="83"/>
                  </a:lnTo>
                  <a:lnTo>
                    <a:pt x="503" y="83"/>
                  </a:lnTo>
                  <a:lnTo>
                    <a:pt x="508" y="83"/>
                  </a:lnTo>
                  <a:lnTo>
                    <a:pt x="512" y="87"/>
                  </a:lnTo>
                  <a:lnTo>
                    <a:pt x="512" y="87"/>
                  </a:lnTo>
                  <a:lnTo>
                    <a:pt x="517" y="87"/>
                  </a:lnTo>
                  <a:lnTo>
                    <a:pt x="522" y="87"/>
                  </a:lnTo>
                  <a:lnTo>
                    <a:pt x="526" y="83"/>
                  </a:lnTo>
                  <a:lnTo>
                    <a:pt x="526" y="83"/>
                  </a:lnTo>
                  <a:lnTo>
                    <a:pt x="531" y="78"/>
                  </a:lnTo>
                  <a:lnTo>
                    <a:pt x="535" y="78"/>
                  </a:lnTo>
                  <a:lnTo>
                    <a:pt x="535" y="78"/>
                  </a:lnTo>
                  <a:lnTo>
                    <a:pt x="535" y="83"/>
                  </a:lnTo>
                  <a:lnTo>
                    <a:pt x="540" y="78"/>
                  </a:lnTo>
                  <a:lnTo>
                    <a:pt x="540" y="73"/>
                  </a:lnTo>
                  <a:lnTo>
                    <a:pt x="540" y="73"/>
                  </a:lnTo>
                  <a:lnTo>
                    <a:pt x="540" y="78"/>
                  </a:lnTo>
                  <a:lnTo>
                    <a:pt x="544" y="78"/>
                  </a:lnTo>
                  <a:lnTo>
                    <a:pt x="549" y="73"/>
                  </a:lnTo>
                  <a:lnTo>
                    <a:pt x="554" y="73"/>
                  </a:lnTo>
                  <a:lnTo>
                    <a:pt x="554" y="78"/>
                  </a:lnTo>
                  <a:lnTo>
                    <a:pt x="554" y="78"/>
                  </a:lnTo>
                  <a:lnTo>
                    <a:pt x="554" y="73"/>
                  </a:lnTo>
                  <a:lnTo>
                    <a:pt x="563" y="69"/>
                  </a:lnTo>
                  <a:lnTo>
                    <a:pt x="563" y="69"/>
                  </a:lnTo>
                  <a:lnTo>
                    <a:pt x="567" y="69"/>
                  </a:lnTo>
                  <a:lnTo>
                    <a:pt x="567" y="73"/>
                  </a:lnTo>
                  <a:lnTo>
                    <a:pt x="567" y="69"/>
                  </a:lnTo>
                  <a:lnTo>
                    <a:pt x="567" y="69"/>
                  </a:lnTo>
                  <a:lnTo>
                    <a:pt x="567" y="64"/>
                  </a:lnTo>
                  <a:lnTo>
                    <a:pt x="572" y="64"/>
                  </a:lnTo>
                  <a:lnTo>
                    <a:pt x="572" y="64"/>
                  </a:lnTo>
                  <a:lnTo>
                    <a:pt x="572" y="64"/>
                  </a:lnTo>
                  <a:lnTo>
                    <a:pt x="576" y="64"/>
                  </a:lnTo>
                  <a:lnTo>
                    <a:pt x="581" y="64"/>
                  </a:lnTo>
                  <a:lnTo>
                    <a:pt x="581" y="64"/>
                  </a:lnTo>
                  <a:lnTo>
                    <a:pt x="581" y="64"/>
                  </a:lnTo>
                  <a:lnTo>
                    <a:pt x="581" y="64"/>
                  </a:lnTo>
                  <a:lnTo>
                    <a:pt x="581" y="69"/>
                  </a:lnTo>
                  <a:lnTo>
                    <a:pt x="576" y="69"/>
                  </a:lnTo>
                  <a:lnTo>
                    <a:pt x="576" y="69"/>
                  </a:lnTo>
                  <a:lnTo>
                    <a:pt x="576" y="69"/>
                  </a:lnTo>
                  <a:lnTo>
                    <a:pt x="576" y="73"/>
                  </a:lnTo>
                  <a:lnTo>
                    <a:pt x="581" y="73"/>
                  </a:lnTo>
                  <a:lnTo>
                    <a:pt x="581" y="73"/>
                  </a:lnTo>
                  <a:lnTo>
                    <a:pt x="586" y="73"/>
                  </a:lnTo>
                  <a:lnTo>
                    <a:pt x="586" y="73"/>
                  </a:lnTo>
                  <a:lnTo>
                    <a:pt x="586" y="73"/>
                  </a:lnTo>
                  <a:lnTo>
                    <a:pt x="590" y="69"/>
                  </a:lnTo>
                  <a:lnTo>
                    <a:pt x="590" y="69"/>
                  </a:lnTo>
                  <a:lnTo>
                    <a:pt x="599" y="73"/>
                  </a:lnTo>
                  <a:lnTo>
                    <a:pt x="599" y="73"/>
                  </a:lnTo>
                  <a:lnTo>
                    <a:pt x="599" y="73"/>
                  </a:lnTo>
                  <a:lnTo>
                    <a:pt x="599" y="73"/>
                  </a:lnTo>
                  <a:lnTo>
                    <a:pt x="599" y="69"/>
                  </a:lnTo>
                  <a:lnTo>
                    <a:pt x="599" y="69"/>
                  </a:lnTo>
                  <a:lnTo>
                    <a:pt x="599" y="69"/>
                  </a:lnTo>
                  <a:lnTo>
                    <a:pt x="599" y="64"/>
                  </a:lnTo>
                  <a:lnTo>
                    <a:pt x="599" y="64"/>
                  </a:lnTo>
                  <a:lnTo>
                    <a:pt x="599" y="64"/>
                  </a:lnTo>
                  <a:lnTo>
                    <a:pt x="604" y="64"/>
                  </a:lnTo>
                  <a:lnTo>
                    <a:pt x="608" y="64"/>
                  </a:lnTo>
                  <a:lnTo>
                    <a:pt x="608" y="64"/>
                  </a:lnTo>
                  <a:lnTo>
                    <a:pt x="608" y="64"/>
                  </a:lnTo>
                  <a:lnTo>
                    <a:pt x="604" y="69"/>
                  </a:lnTo>
                  <a:lnTo>
                    <a:pt x="604" y="69"/>
                  </a:lnTo>
                  <a:lnTo>
                    <a:pt x="604" y="73"/>
                  </a:lnTo>
                  <a:lnTo>
                    <a:pt x="604" y="73"/>
                  </a:lnTo>
                  <a:lnTo>
                    <a:pt x="608" y="73"/>
                  </a:lnTo>
                  <a:lnTo>
                    <a:pt x="608" y="78"/>
                  </a:lnTo>
                  <a:lnTo>
                    <a:pt x="613" y="78"/>
                  </a:lnTo>
                  <a:lnTo>
                    <a:pt x="613" y="73"/>
                  </a:lnTo>
                  <a:lnTo>
                    <a:pt x="613" y="73"/>
                  </a:lnTo>
                  <a:lnTo>
                    <a:pt x="613" y="73"/>
                  </a:lnTo>
                  <a:lnTo>
                    <a:pt x="613" y="73"/>
                  </a:lnTo>
                  <a:lnTo>
                    <a:pt x="613" y="69"/>
                  </a:lnTo>
                  <a:lnTo>
                    <a:pt x="613" y="69"/>
                  </a:lnTo>
                  <a:lnTo>
                    <a:pt x="618" y="69"/>
                  </a:lnTo>
                  <a:lnTo>
                    <a:pt x="622" y="69"/>
                  </a:lnTo>
                  <a:lnTo>
                    <a:pt x="622" y="69"/>
                  </a:lnTo>
                  <a:lnTo>
                    <a:pt x="622" y="69"/>
                  </a:lnTo>
                  <a:lnTo>
                    <a:pt x="622" y="73"/>
                  </a:lnTo>
                  <a:lnTo>
                    <a:pt x="627" y="78"/>
                  </a:lnTo>
                  <a:lnTo>
                    <a:pt x="627" y="78"/>
                  </a:lnTo>
                  <a:lnTo>
                    <a:pt x="627" y="78"/>
                  </a:lnTo>
                  <a:lnTo>
                    <a:pt x="627" y="73"/>
                  </a:lnTo>
                  <a:lnTo>
                    <a:pt x="627" y="73"/>
                  </a:lnTo>
                  <a:lnTo>
                    <a:pt x="627" y="73"/>
                  </a:lnTo>
                  <a:lnTo>
                    <a:pt x="631" y="69"/>
                  </a:lnTo>
                  <a:lnTo>
                    <a:pt x="631" y="69"/>
                  </a:lnTo>
                  <a:lnTo>
                    <a:pt x="631" y="60"/>
                  </a:lnTo>
                  <a:lnTo>
                    <a:pt x="631" y="60"/>
                  </a:lnTo>
                  <a:lnTo>
                    <a:pt x="636" y="64"/>
                  </a:lnTo>
                  <a:lnTo>
                    <a:pt x="636" y="64"/>
                  </a:lnTo>
                  <a:lnTo>
                    <a:pt x="636" y="60"/>
                  </a:lnTo>
                  <a:lnTo>
                    <a:pt x="640" y="60"/>
                  </a:lnTo>
                  <a:lnTo>
                    <a:pt x="640" y="60"/>
                  </a:lnTo>
                  <a:lnTo>
                    <a:pt x="640" y="55"/>
                  </a:lnTo>
                  <a:lnTo>
                    <a:pt x="640" y="55"/>
                  </a:lnTo>
                  <a:lnTo>
                    <a:pt x="640" y="55"/>
                  </a:lnTo>
                  <a:lnTo>
                    <a:pt x="640" y="55"/>
                  </a:lnTo>
                  <a:lnTo>
                    <a:pt x="640" y="55"/>
                  </a:lnTo>
                  <a:lnTo>
                    <a:pt x="640" y="55"/>
                  </a:lnTo>
                  <a:lnTo>
                    <a:pt x="640" y="51"/>
                  </a:lnTo>
                  <a:lnTo>
                    <a:pt x="640" y="46"/>
                  </a:lnTo>
                  <a:lnTo>
                    <a:pt x="645" y="51"/>
                  </a:lnTo>
                  <a:lnTo>
                    <a:pt x="650" y="51"/>
                  </a:lnTo>
                  <a:lnTo>
                    <a:pt x="650" y="51"/>
                  </a:lnTo>
                  <a:lnTo>
                    <a:pt x="650" y="46"/>
                  </a:lnTo>
                  <a:lnTo>
                    <a:pt x="650" y="46"/>
                  </a:lnTo>
                  <a:lnTo>
                    <a:pt x="650" y="46"/>
                  </a:lnTo>
                  <a:lnTo>
                    <a:pt x="650" y="41"/>
                  </a:lnTo>
                  <a:lnTo>
                    <a:pt x="650" y="46"/>
                  </a:lnTo>
                  <a:lnTo>
                    <a:pt x="645" y="41"/>
                  </a:lnTo>
                  <a:lnTo>
                    <a:pt x="645" y="41"/>
                  </a:lnTo>
                  <a:lnTo>
                    <a:pt x="645" y="37"/>
                  </a:lnTo>
                  <a:lnTo>
                    <a:pt x="645" y="37"/>
                  </a:lnTo>
                  <a:lnTo>
                    <a:pt x="650" y="37"/>
                  </a:lnTo>
                  <a:lnTo>
                    <a:pt x="650" y="32"/>
                  </a:lnTo>
                  <a:lnTo>
                    <a:pt x="650" y="32"/>
                  </a:lnTo>
                  <a:lnTo>
                    <a:pt x="654" y="28"/>
                  </a:lnTo>
                  <a:lnTo>
                    <a:pt x="654" y="28"/>
                  </a:lnTo>
                  <a:lnTo>
                    <a:pt x="654" y="28"/>
                  </a:lnTo>
                  <a:lnTo>
                    <a:pt x="654" y="28"/>
                  </a:lnTo>
                  <a:lnTo>
                    <a:pt x="654" y="23"/>
                  </a:lnTo>
                  <a:lnTo>
                    <a:pt x="659" y="23"/>
                  </a:lnTo>
                  <a:lnTo>
                    <a:pt x="663" y="19"/>
                  </a:lnTo>
                  <a:lnTo>
                    <a:pt x="663" y="23"/>
                  </a:lnTo>
                  <a:lnTo>
                    <a:pt x="663" y="19"/>
                  </a:lnTo>
                  <a:lnTo>
                    <a:pt x="663" y="14"/>
                  </a:lnTo>
                  <a:lnTo>
                    <a:pt x="663" y="14"/>
                  </a:lnTo>
                  <a:lnTo>
                    <a:pt x="663" y="14"/>
                  </a:lnTo>
                  <a:lnTo>
                    <a:pt x="668" y="14"/>
                  </a:lnTo>
                  <a:lnTo>
                    <a:pt x="668" y="14"/>
                  </a:lnTo>
                  <a:lnTo>
                    <a:pt x="668" y="9"/>
                  </a:lnTo>
                  <a:lnTo>
                    <a:pt x="672" y="9"/>
                  </a:lnTo>
                  <a:lnTo>
                    <a:pt x="672" y="9"/>
                  </a:lnTo>
                  <a:lnTo>
                    <a:pt x="677" y="9"/>
                  </a:lnTo>
                  <a:lnTo>
                    <a:pt x="677" y="9"/>
                  </a:lnTo>
                  <a:lnTo>
                    <a:pt x="677" y="9"/>
                  </a:lnTo>
                  <a:lnTo>
                    <a:pt x="677" y="5"/>
                  </a:lnTo>
                  <a:lnTo>
                    <a:pt x="682" y="5"/>
                  </a:lnTo>
                  <a:lnTo>
                    <a:pt x="682" y="0"/>
                  </a:lnTo>
                  <a:lnTo>
                    <a:pt x="682" y="0"/>
                  </a:lnTo>
                  <a:lnTo>
                    <a:pt x="686" y="0"/>
                  </a:lnTo>
                  <a:lnTo>
                    <a:pt x="686" y="0"/>
                  </a:lnTo>
                  <a:lnTo>
                    <a:pt x="691" y="0"/>
                  </a:lnTo>
                  <a:lnTo>
                    <a:pt x="691" y="0"/>
                  </a:lnTo>
                  <a:lnTo>
                    <a:pt x="695" y="0"/>
                  </a:lnTo>
                  <a:lnTo>
                    <a:pt x="700" y="0"/>
                  </a:lnTo>
                  <a:lnTo>
                    <a:pt x="704" y="0"/>
                  </a:lnTo>
                  <a:lnTo>
                    <a:pt x="709" y="0"/>
                  </a:lnTo>
                  <a:lnTo>
                    <a:pt x="714" y="0"/>
                  </a:lnTo>
                  <a:lnTo>
                    <a:pt x="718" y="0"/>
                  </a:lnTo>
                  <a:lnTo>
                    <a:pt x="723" y="0"/>
                  </a:lnTo>
                  <a:lnTo>
                    <a:pt x="727" y="0"/>
                  </a:lnTo>
                  <a:lnTo>
                    <a:pt x="727" y="0"/>
                  </a:lnTo>
                  <a:lnTo>
                    <a:pt x="732" y="0"/>
                  </a:lnTo>
                  <a:lnTo>
                    <a:pt x="755" y="0"/>
                  </a:lnTo>
                  <a:lnTo>
                    <a:pt x="759" y="0"/>
                  </a:lnTo>
                  <a:lnTo>
                    <a:pt x="764" y="0"/>
                  </a:lnTo>
                  <a:lnTo>
                    <a:pt x="773" y="0"/>
                  </a:lnTo>
                  <a:lnTo>
                    <a:pt x="773" y="0"/>
                  </a:lnTo>
                  <a:lnTo>
                    <a:pt x="773" y="0"/>
                  </a:lnTo>
                  <a:lnTo>
                    <a:pt x="782" y="0"/>
                  </a:lnTo>
                  <a:lnTo>
                    <a:pt x="782" y="0"/>
                  </a:lnTo>
                  <a:lnTo>
                    <a:pt x="782" y="0"/>
                  </a:lnTo>
                  <a:lnTo>
                    <a:pt x="791" y="0"/>
                  </a:lnTo>
                  <a:lnTo>
                    <a:pt x="791" y="5"/>
                  </a:lnTo>
                  <a:lnTo>
                    <a:pt x="791" y="5"/>
                  </a:lnTo>
                  <a:lnTo>
                    <a:pt x="800" y="19"/>
                  </a:lnTo>
                  <a:lnTo>
                    <a:pt x="800" y="19"/>
                  </a:lnTo>
                  <a:lnTo>
                    <a:pt x="805" y="19"/>
                  </a:lnTo>
                  <a:lnTo>
                    <a:pt x="805" y="23"/>
                  </a:lnTo>
                  <a:lnTo>
                    <a:pt x="810" y="28"/>
                  </a:lnTo>
                  <a:lnTo>
                    <a:pt x="814" y="32"/>
                  </a:lnTo>
                  <a:lnTo>
                    <a:pt x="819" y="37"/>
                  </a:lnTo>
                  <a:lnTo>
                    <a:pt x="819" y="41"/>
                  </a:lnTo>
                  <a:lnTo>
                    <a:pt x="819" y="41"/>
                  </a:lnTo>
                  <a:lnTo>
                    <a:pt x="823" y="46"/>
                  </a:lnTo>
                  <a:lnTo>
                    <a:pt x="837" y="64"/>
                  </a:lnTo>
                  <a:lnTo>
                    <a:pt x="837" y="64"/>
                  </a:lnTo>
                  <a:lnTo>
                    <a:pt x="837" y="69"/>
                  </a:lnTo>
                  <a:lnTo>
                    <a:pt x="842" y="69"/>
                  </a:lnTo>
                  <a:lnTo>
                    <a:pt x="846" y="78"/>
                  </a:lnTo>
                  <a:lnTo>
                    <a:pt x="846" y="78"/>
                  </a:lnTo>
                  <a:lnTo>
                    <a:pt x="846" y="83"/>
                  </a:lnTo>
                  <a:lnTo>
                    <a:pt x="851" y="87"/>
                  </a:lnTo>
                  <a:lnTo>
                    <a:pt x="855" y="87"/>
                  </a:lnTo>
                  <a:lnTo>
                    <a:pt x="855" y="92"/>
                  </a:lnTo>
                  <a:lnTo>
                    <a:pt x="869" y="115"/>
                  </a:lnTo>
                  <a:lnTo>
                    <a:pt x="874" y="119"/>
                  </a:lnTo>
                  <a:lnTo>
                    <a:pt x="874" y="119"/>
                  </a:lnTo>
                  <a:lnTo>
                    <a:pt x="878" y="124"/>
                  </a:lnTo>
                  <a:lnTo>
                    <a:pt x="878" y="124"/>
                  </a:lnTo>
                  <a:lnTo>
                    <a:pt x="878" y="128"/>
                  </a:lnTo>
                  <a:lnTo>
                    <a:pt x="887" y="133"/>
                  </a:lnTo>
                  <a:lnTo>
                    <a:pt x="887" y="133"/>
                  </a:lnTo>
                  <a:lnTo>
                    <a:pt x="887" y="137"/>
                  </a:lnTo>
                  <a:lnTo>
                    <a:pt x="901" y="160"/>
                  </a:lnTo>
                  <a:lnTo>
                    <a:pt x="906" y="160"/>
                  </a:lnTo>
                  <a:lnTo>
                    <a:pt x="906" y="165"/>
                  </a:lnTo>
                  <a:lnTo>
                    <a:pt x="915" y="179"/>
                  </a:lnTo>
                  <a:lnTo>
                    <a:pt x="915" y="179"/>
                  </a:lnTo>
                  <a:lnTo>
                    <a:pt x="919" y="183"/>
                  </a:lnTo>
                  <a:lnTo>
                    <a:pt x="919" y="183"/>
                  </a:lnTo>
                  <a:lnTo>
                    <a:pt x="924" y="188"/>
                  </a:lnTo>
                  <a:lnTo>
                    <a:pt x="928" y="197"/>
                  </a:lnTo>
                  <a:lnTo>
                    <a:pt x="933" y="206"/>
                  </a:lnTo>
                  <a:lnTo>
                    <a:pt x="938" y="211"/>
                  </a:lnTo>
                  <a:lnTo>
                    <a:pt x="942" y="215"/>
                  </a:lnTo>
                  <a:lnTo>
                    <a:pt x="947" y="220"/>
                  </a:lnTo>
                  <a:lnTo>
                    <a:pt x="947" y="224"/>
                  </a:lnTo>
                  <a:lnTo>
                    <a:pt x="951" y="224"/>
                  </a:lnTo>
                  <a:lnTo>
                    <a:pt x="956" y="233"/>
                  </a:lnTo>
                  <a:lnTo>
                    <a:pt x="956" y="233"/>
                  </a:lnTo>
                  <a:lnTo>
                    <a:pt x="956" y="233"/>
                  </a:lnTo>
                  <a:lnTo>
                    <a:pt x="960" y="238"/>
                  </a:lnTo>
                  <a:lnTo>
                    <a:pt x="960" y="243"/>
                  </a:lnTo>
                  <a:lnTo>
                    <a:pt x="960" y="243"/>
                  </a:lnTo>
                  <a:lnTo>
                    <a:pt x="965" y="256"/>
                  </a:lnTo>
                  <a:lnTo>
                    <a:pt x="965" y="261"/>
                  </a:lnTo>
                  <a:lnTo>
                    <a:pt x="965" y="265"/>
                  </a:lnTo>
                  <a:lnTo>
                    <a:pt x="965" y="270"/>
                  </a:lnTo>
                  <a:lnTo>
                    <a:pt x="970" y="275"/>
                  </a:lnTo>
                  <a:lnTo>
                    <a:pt x="970" y="279"/>
                  </a:lnTo>
                  <a:lnTo>
                    <a:pt x="970" y="284"/>
                  </a:lnTo>
                  <a:lnTo>
                    <a:pt x="970" y="288"/>
                  </a:lnTo>
                  <a:lnTo>
                    <a:pt x="974" y="307"/>
                  </a:lnTo>
                  <a:lnTo>
                    <a:pt x="974" y="311"/>
                  </a:lnTo>
                  <a:lnTo>
                    <a:pt x="974" y="316"/>
                  </a:lnTo>
                  <a:lnTo>
                    <a:pt x="974" y="320"/>
                  </a:lnTo>
                  <a:lnTo>
                    <a:pt x="979" y="320"/>
                  </a:lnTo>
                  <a:lnTo>
                    <a:pt x="979" y="329"/>
                  </a:lnTo>
                  <a:lnTo>
                    <a:pt x="979" y="334"/>
                  </a:lnTo>
                  <a:lnTo>
                    <a:pt x="979" y="343"/>
                  </a:lnTo>
                  <a:lnTo>
                    <a:pt x="983" y="366"/>
                  </a:lnTo>
                  <a:lnTo>
                    <a:pt x="983" y="371"/>
                  </a:lnTo>
                  <a:lnTo>
                    <a:pt x="983" y="371"/>
                  </a:lnTo>
                  <a:lnTo>
                    <a:pt x="988" y="375"/>
                  </a:lnTo>
                  <a:lnTo>
                    <a:pt x="988" y="380"/>
                  </a:lnTo>
                  <a:lnTo>
                    <a:pt x="988" y="384"/>
                  </a:lnTo>
                  <a:lnTo>
                    <a:pt x="988" y="384"/>
                  </a:lnTo>
                  <a:lnTo>
                    <a:pt x="988" y="389"/>
                  </a:lnTo>
                  <a:lnTo>
                    <a:pt x="988" y="393"/>
                  </a:lnTo>
                  <a:lnTo>
                    <a:pt x="992" y="412"/>
                  </a:lnTo>
                  <a:lnTo>
                    <a:pt x="992" y="416"/>
                  </a:lnTo>
                  <a:lnTo>
                    <a:pt x="992" y="421"/>
                  </a:lnTo>
                  <a:lnTo>
                    <a:pt x="997" y="430"/>
                  </a:lnTo>
                  <a:lnTo>
                    <a:pt x="997" y="439"/>
                  </a:lnTo>
                  <a:lnTo>
                    <a:pt x="997" y="448"/>
                  </a:lnTo>
                  <a:lnTo>
                    <a:pt x="1002" y="453"/>
                  </a:lnTo>
                  <a:lnTo>
                    <a:pt x="1002" y="453"/>
                  </a:lnTo>
                  <a:lnTo>
                    <a:pt x="1006" y="453"/>
                  </a:lnTo>
                  <a:lnTo>
                    <a:pt x="1002" y="453"/>
                  </a:lnTo>
                  <a:lnTo>
                    <a:pt x="1006" y="457"/>
                  </a:lnTo>
                  <a:lnTo>
                    <a:pt x="1002" y="462"/>
                  </a:lnTo>
                  <a:lnTo>
                    <a:pt x="1002" y="467"/>
                  </a:lnTo>
                  <a:lnTo>
                    <a:pt x="997" y="467"/>
                  </a:lnTo>
                  <a:lnTo>
                    <a:pt x="997" y="471"/>
                  </a:lnTo>
                  <a:lnTo>
                    <a:pt x="997" y="476"/>
                  </a:lnTo>
                  <a:lnTo>
                    <a:pt x="997" y="476"/>
                  </a:lnTo>
                  <a:lnTo>
                    <a:pt x="997" y="476"/>
                  </a:lnTo>
                  <a:lnTo>
                    <a:pt x="997" y="480"/>
                  </a:lnTo>
                  <a:lnTo>
                    <a:pt x="1002" y="480"/>
                  </a:lnTo>
                  <a:lnTo>
                    <a:pt x="1002" y="480"/>
                  </a:lnTo>
                  <a:lnTo>
                    <a:pt x="1006" y="480"/>
                  </a:lnTo>
                  <a:lnTo>
                    <a:pt x="1002" y="480"/>
                  </a:lnTo>
                  <a:lnTo>
                    <a:pt x="1002" y="485"/>
                  </a:lnTo>
                  <a:lnTo>
                    <a:pt x="1002" y="485"/>
                  </a:lnTo>
                  <a:lnTo>
                    <a:pt x="1002" y="485"/>
                  </a:lnTo>
                  <a:lnTo>
                    <a:pt x="1002" y="485"/>
                  </a:lnTo>
                  <a:lnTo>
                    <a:pt x="1002" y="485"/>
                  </a:lnTo>
                  <a:lnTo>
                    <a:pt x="1002" y="489"/>
                  </a:lnTo>
                  <a:lnTo>
                    <a:pt x="997" y="489"/>
                  </a:lnTo>
                  <a:lnTo>
                    <a:pt x="997" y="489"/>
                  </a:lnTo>
                  <a:lnTo>
                    <a:pt x="997" y="489"/>
                  </a:lnTo>
                  <a:lnTo>
                    <a:pt x="997" y="489"/>
                  </a:lnTo>
                  <a:lnTo>
                    <a:pt x="997" y="494"/>
                  </a:lnTo>
                  <a:lnTo>
                    <a:pt x="997" y="494"/>
                  </a:lnTo>
                  <a:lnTo>
                    <a:pt x="997" y="494"/>
                  </a:lnTo>
                  <a:lnTo>
                    <a:pt x="1002" y="499"/>
                  </a:lnTo>
                  <a:lnTo>
                    <a:pt x="1006" y="503"/>
                  </a:lnTo>
                  <a:lnTo>
                    <a:pt x="1011" y="503"/>
                  </a:lnTo>
                  <a:lnTo>
                    <a:pt x="1011" y="508"/>
                  </a:lnTo>
                  <a:lnTo>
                    <a:pt x="1011" y="508"/>
                  </a:lnTo>
                  <a:lnTo>
                    <a:pt x="1011" y="512"/>
                  </a:lnTo>
                  <a:lnTo>
                    <a:pt x="1015" y="512"/>
                  </a:lnTo>
                  <a:lnTo>
                    <a:pt x="1015" y="512"/>
                  </a:lnTo>
                  <a:lnTo>
                    <a:pt x="1024" y="512"/>
                  </a:lnTo>
                  <a:lnTo>
                    <a:pt x="1024" y="512"/>
                  </a:lnTo>
                  <a:lnTo>
                    <a:pt x="1029" y="508"/>
                  </a:lnTo>
                  <a:lnTo>
                    <a:pt x="1029" y="508"/>
                  </a:lnTo>
                  <a:lnTo>
                    <a:pt x="1034" y="508"/>
                  </a:lnTo>
                  <a:lnTo>
                    <a:pt x="1034" y="508"/>
                  </a:lnTo>
                  <a:lnTo>
                    <a:pt x="1038" y="512"/>
                  </a:lnTo>
                  <a:lnTo>
                    <a:pt x="1038" y="517"/>
                  </a:lnTo>
                  <a:lnTo>
                    <a:pt x="1043" y="512"/>
                  </a:lnTo>
                  <a:lnTo>
                    <a:pt x="1038" y="512"/>
                  </a:lnTo>
                  <a:lnTo>
                    <a:pt x="1038" y="508"/>
                  </a:lnTo>
                  <a:lnTo>
                    <a:pt x="1043" y="508"/>
                  </a:lnTo>
                  <a:lnTo>
                    <a:pt x="1043" y="508"/>
                  </a:lnTo>
                  <a:lnTo>
                    <a:pt x="1043" y="512"/>
                  </a:lnTo>
                  <a:lnTo>
                    <a:pt x="1043" y="512"/>
                  </a:lnTo>
                  <a:lnTo>
                    <a:pt x="1047" y="512"/>
                  </a:lnTo>
                  <a:lnTo>
                    <a:pt x="1047" y="512"/>
                  </a:lnTo>
                  <a:lnTo>
                    <a:pt x="1052" y="508"/>
                  </a:lnTo>
                  <a:lnTo>
                    <a:pt x="1056" y="508"/>
                  </a:lnTo>
                  <a:lnTo>
                    <a:pt x="1061" y="512"/>
                  </a:lnTo>
                  <a:lnTo>
                    <a:pt x="1061" y="512"/>
                  </a:lnTo>
                  <a:lnTo>
                    <a:pt x="1066" y="512"/>
                  </a:lnTo>
                  <a:lnTo>
                    <a:pt x="1070" y="512"/>
                  </a:lnTo>
                  <a:lnTo>
                    <a:pt x="1075" y="512"/>
                  </a:lnTo>
                  <a:lnTo>
                    <a:pt x="1075" y="512"/>
                  </a:lnTo>
                  <a:lnTo>
                    <a:pt x="1084" y="512"/>
                  </a:lnTo>
                  <a:lnTo>
                    <a:pt x="1084" y="512"/>
                  </a:lnTo>
                  <a:lnTo>
                    <a:pt x="1084" y="512"/>
                  </a:lnTo>
                  <a:lnTo>
                    <a:pt x="1088" y="512"/>
                  </a:lnTo>
                  <a:lnTo>
                    <a:pt x="1093" y="512"/>
                  </a:lnTo>
                  <a:lnTo>
                    <a:pt x="1093" y="512"/>
                  </a:lnTo>
                  <a:lnTo>
                    <a:pt x="1098" y="512"/>
                  </a:lnTo>
                  <a:lnTo>
                    <a:pt x="1098" y="512"/>
                  </a:lnTo>
                  <a:lnTo>
                    <a:pt x="1098" y="517"/>
                  </a:lnTo>
                  <a:lnTo>
                    <a:pt x="1102" y="517"/>
                  </a:lnTo>
                  <a:lnTo>
                    <a:pt x="1102" y="517"/>
                  </a:lnTo>
                  <a:lnTo>
                    <a:pt x="1102" y="512"/>
                  </a:lnTo>
                  <a:lnTo>
                    <a:pt x="1107" y="512"/>
                  </a:lnTo>
                  <a:lnTo>
                    <a:pt x="1107" y="517"/>
                  </a:lnTo>
                  <a:lnTo>
                    <a:pt x="1111" y="517"/>
                  </a:lnTo>
                  <a:lnTo>
                    <a:pt x="1111" y="517"/>
                  </a:lnTo>
                  <a:lnTo>
                    <a:pt x="1111" y="517"/>
                  </a:lnTo>
                  <a:lnTo>
                    <a:pt x="1116" y="517"/>
                  </a:lnTo>
                  <a:lnTo>
                    <a:pt x="1116" y="521"/>
                  </a:lnTo>
                  <a:lnTo>
                    <a:pt x="1116" y="521"/>
                  </a:lnTo>
                  <a:lnTo>
                    <a:pt x="1116" y="521"/>
                  </a:lnTo>
                  <a:lnTo>
                    <a:pt x="1116" y="521"/>
                  </a:lnTo>
                  <a:lnTo>
                    <a:pt x="1120" y="526"/>
                  </a:lnTo>
                  <a:lnTo>
                    <a:pt x="1125" y="526"/>
                  </a:lnTo>
                  <a:lnTo>
                    <a:pt x="1130" y="531"/>
                  </a:lnTo>
                  <a:lnTo>
                    <a:pt x="1130" y="531"/>
                  </a:lnTo>
                  <a:lnTo>
                    <a:pt x="1130" y="531"/>
                  </a:lnTo>
                  <a:lnTo>
                    <a:pt x="1125" y="531"/>
                  </a:lnTo>
                  <a:lnTo>
                    <a:pt x="1125" y="531"/>
                  </a:lnTo>
                  <a:lnTo>
                    <a:pt x="1125" y="535"/>
                  </a:lnTo>
                  <a:lnTo>
                    <a:pt x="1125" y="535"/>
                  </a:lnTo>
                  <a:lnTo>
                    <a:pt x="1125" y="535"/>
                  </a:lnTo>
                  <a:lnTo>
                    <a:pt x="1125" y="540"/>
                  </a:lnTo>
                  <a:lnTo>
                    <a:pt x="1130" y="535"/>
                  </a:lnTo>
                  <a:lnTo>
                    <a:pt x="1130" y="540"/>
                  </a:lnTo>
                  <a:lnTo>
                    <a:pt x="1130" y="540"/>
                  </a:lnTo>
                  <a:lnTo>
                    <a:pt x="1134" y="540"/>
                  </a:lnTo>
                  <a:lnTo>
                    <a:pt x="1139" y="544"/>
                  </a:lnTo>
                  <a:lnTo>
                    <a:pt x="1139" y="544"/>
                  </a:lnTo>
                  <a:lnTo>
                    <a:pt x="1139" y="544"/>
                  </a:lnTo>
                  <a:lnTo>
                    <a:pt x="1139" y="549"/>
                  </a:lnTo>
                  <a:lnTo>
                    <a:pt x="1139" y="553"/>
                  </a:lnTo>
                  <a:lnTo>
                    <a:pt x="1139" y="553"/>
                  </a:lnTo>
                  <a:lnTo>
                    <a:pt x="1143" y="553"/>
                  </a:lnTo>
                  <a:lnTo>
                    <a:pt x="1143" y="553"/>
                  </a:lnTo>
                  <a:lnTo>
                    <a:pt x="1143" y="558"/>
                  </a:lnTo>
                  <a:lnTo>
                    <a:pt x="1139" y="558"/>
                  </a:lnTo>
                  <a:lnTo>
                    <a:pt x="1139" y="558"/>
                  </a:lnTo>
                  <a:lnTo>
                    <a:pt x="1139" y="558"/>
                  </a:lnTo>
                  <a:lnTo>
                    <a:pt x="1139" y="563"/>
                  </a:lnTo>
                  <a:lnTo>
                    <a:pt x="1148" y="563"/>
                  </a:lnTo>
                  <a:lnTo>
                    <a:pt x="1148" y="563"/>
                  </a:lnTo>
                  <a:lnTo>
                    <a:pt x="1152" y="563"/>
                  </a:lnTo>
                  <a:lnTo>
                    <a:pt x="1157" y="567"/>
                  </a:lnTo>
                  <a:lnTo>
                    <a:pt x="1157" y="567"/>
                  </a:lnTo>
                  <a:lnTo>
                    <a:pt x="1157" y="567"/>
                  </a:lnTo>
                  <a:lnTo>
                    <a:pt x="1157" y="572"/>
                  </a:lnTo>
                  <a:lnTo>
                    <a:pt x="1162" y="572"/>
                  </a:lnTo>
                  <a:lnTo>
                    <a:pt x="1157" y="576"/>
                  </a:lnTo>
                  <a:lnTo>
                    <a:pt x="1157" y="576"/>
                  </a:lnTo>
                  <a:lnTo>
                    <a:pt x="1157" y="576"/>
                  </a:lnTo>
                  <a:lnTo>
                    <a:pt x="1157" y="576"/>
                  </a:lnTo>
                  <a:lnTo>
                    <a:pt x="1162" y="576"/>
                  </a:lnTo>
                  <a:lnTo>
                    <a:pt x="1162" y="576"/>
                  </a:lnTo>
                  <a:lnTo>
                    <a:pt x="1166" y="581"/>
                  </a:lnTo>
                  <a:lnTo>
                    <a:pt x="1166" y="581"/>
                  </a:lnTo>
                  <a:lnTo>
                    <a:pt x="1171" y="581"/>
                  </a:lnTo>
                  <a:lnTo>
                    <a:pt x="1171" y="576"/>
                  </a:lnTo>
                  <a:lnTo>
                    <a:pt x="1171" y="576"/>
                  </a:lnTo>
                  <a:lnTo>
                    <a:pt x="1171" y="576"/>
                  </a:lnTo>
                  <a:lnTo>
                    <a:pt x="1171" y="576"/>
                  </a:lnTo>
                  <a:lnTo>
                    <a:pt x="1171" y="576"/>
                  </a:lnTo>
                  <a:lnTo>
                    <a:pt x="1175" y="576"/>
                  </a:lnTo>
                  <a:lnTo>
                    <a:pt x="1175" y="576"/>
                  </a:lnTo>
                  <a:lnTo>
                    <a:pt x="1180" y="576"/>
                  </a:lnTo>
                  <a:lnTo>
                    <a:pt x="1180" y="576"/>
                  </a:lnTo>
                  <a:lnTo>
                    <a:pt x="1180" y="581"/>
                  </a:lnTo>
                  <a:lnTo>
                    <a:pt x="1184" y="581"/>
                  </a:lnTo>
                  <a:lnTo>
                    <a:pt x="1184" y="585"/>
                  </a:lnTo>
                  <a:lnTo>
                    <a:pt x="1184" y="590"/>
                  </a:lnTo>
                  <a:lnTo>
                    <a:pt x="1184" y="590"/>
                  </a:lnTo>
                  <a:lnTo>
                    <a:pt x="1180" y="599"/>
                  </a:lnTo>
                  <a:lnTo>
                    <a:pt x="1175" y="599"/>
                  </a:lnTo>
                  <a:lnTo>
                    <a:pt x="1175" y="604"/>
                  </a:lnTo>
                  <a:lnTo>
                    <a:pt x="1175" y="608"/>
                  </a:lnTo>
                  <a:lnTo>
                    <a:pt x="1171" y="613"/>
                  </a:lnTo>
                  <a:lnTo>
                    <a:pt x="1171" y="613"/>
                  </a:lnTo>
                  <a:lnTo>
                    <a:pt x="1171" y="613"/>
                  </a:lnTo>
                  <a:lnTo>
                    <a:pt x="1171" y="617"/>
                  </a:lnTo>
                  <a:lnTo>
                    <a:pt x="1175" y="622"/>
                  </a:lnTo>
                  <a:lnTo>
                    <a:pt x="1175" y="627"/>
                  </a:lnTo>
                  <a:lnTo>
                    <a:pt x="1175" y="627"/>
                  </a:lnTo>
                  <a:lnTo>
                    <a:pt x="1171" y="627"/>
                  </a:lnTo>
                  <a:lnTo>
                    <a:pt x="1166" y="631"/>
                  </a:lnTo>
                  <a:lnTo>
                    <a:pt x="1166" y="636"/>
                  </a:lnTo>
                  <a:lnTo>
                    <a:pt x="1166" y="636"/>
                  </a:lnTo>
                  <a:lnTo>
                    <a:pt x="1166" y="640"/>
                  </a:lnTo>
                  <a:lnTo>
                    <a:pt x="1166" y="645"/>
                  </a:lnTo>
                  <a:lnTo>
                    <a:pt x="1166" y="645"/>
                  </a:lnTo>
                  <a:lnTo>
                    <a:pt x="1171" y="649"/>
                  </a:lnTo>
                  <a:lnTo>
                    <a:pt x="1175" y="659"/>
                  </a:lnTo>
                  <a:lnTo>
                    <a:pt x="1175" y="659"/>
                  </a:lnTo>
                  <a:lnTo>
                    <a:pt x="1175" y="659"/>
                  </a:lnTo>
                  <a:lnTo>
                    <a:pt x="1175" y="663"/>
                  </a:lnTo>
                  <a:lnTo>
                    <a:pt x="1180" y="663"/>
                  </a:lnTo>
                  <a:lnTo>
                    <a:pt x="1180" y="663"/>
                  </a:lnTo>
                  <a:lnTo>
                    <a:pt x="1175" y="668"/>
                  </a:lnTo>
                  <a:lnTo>
                    <a:pt x="1175" y="668"/>
                  </a:lnTo>
                  <a:lnTo>
                    <a:pt x="1171" y="677"/>
                  </a:lnTo>
                  <a:lnTo>
                    <a:pt x="1171" y="677"/>
                  </a:lnTo>
                  <a:lnTo>
                    <a:pt x="1171" y="681"/>
                  </a:lnTo>
                  <a:lnTo>
                    <a:pt x="1171" y="681"/>
                  </a:lnTo>
                  <a:lnTo>
                    <a:pt x="1171" y="681"/>
                  </a:lnTo>
                  <a:lnTo>
                    <a:pt x="1171" y="681"/>
                  </a:lnTo>
                  <a:lnTo>
                    <a:pt x="1171" y="686"/>
                  </a:lnTo>
                  <a:lnTo>
                    <a:pt x="1171" y="686"/>
                  </a:lnTo>
                  <a:lnTo>
                    <a:pt x="1166" y="686"/>
                  </a:lnTo>
                  <a:lnTo>
                    <a:pt x="1166" y="691"/>
                  </a:lnTo>
                  <a:lnTo>
                    <a:pt x="1166" y="686"/>
                  </a:lnTo>
                  <a:lnTo>
                    <a:pt x="1166" y="691"/>
                  </a:lnTo>
                  <a:lnTo>
                    <a:pt x="1157" y="700"/>
                  </a:lnTo>
                  <a:lnTo>
                    <a:pt x="1157" y="700"/>
                  </a:lnTo>
                  <a:lnTo>
                    <a:pt x="1157" y="700"/>
                  </a:lnTo>
                  <a:lnTo>
                    <a:pt x="1162" y="704"/>
                  </a:lnTo>
                  <a:lnTo>
                    <a:pt x="1162" y="704"/>
                  </a:lnTo>
                  <a:lnTo>
                    <a:pt x="1157" y="709"/>
                  </a:lnTo>
                  <a:lnTo>
                    <a:pt x="1157" y="709"/>
                  </a:lnTo>
                  <a:lnTo>
                    <a:pt x="1157" y="713"/>
                  </a:lnTo>
                  <a:lnTo>
                    <a:pt x="1162" y="718"/>
                  </a:lnTo>
                  <a:lnTo>
                    <a:pt x="1157" y="723"/>
                  </a:lnTo>
                  <a:lnTo>
                    <a:pt x="1157" y="727"/>
                  </a:lnTo>
                  <a:lnTo>
                    <a:pt x="1162" y="732"/>
                  </a:lnTo>
                  <a:lnTo>
                    <a:pt x="1162" y="732"/>
                  </a:lnTo>
                  <a:lnTo>
                    <a:pt x="1157" y="736"/>
                  </a:lnTo>
                  <a:lnTo>
                    <a:pt x="1157" y="741"/>
                  </a:lnTo>
                  <a:lnTo>
                    <a:pt x="1152" y="741"/>
                  </a:lnTo>
                  <a:lnTo>
                    <a:pt x="1152" y="741"/>
                  </a:lnTo>
                  <a:lnTo>
                    <a:pt x="1148" y="745"/>
                  </a:lnTo>
                  <a:lnTo>
                    <a:pt x="1143" y="750"/>
                  </a:lnTo>
                  <a:lnTo>
                    <a:pt x="1139" y="750"/>
                  </a:lnTo>
                  <a:lnTo>
                    <a:pt x="1139" y="750"/>
                  </a:lnTo>
                  <a:lnTo>
                    <a:pt x="1139" y="755"/>
                  </a:lnTo>
                  <a:lnTo>
                    <a:pt x="1139" y="759"/>
                  </a:lnTo>
                  <a:lnTo>
                    <a:pt x="1143" y="764"/>
                  </a:lnTo>
                  <a:lnTo>
                    <a:pt x="1148" y="764"/>
                  </a:lnTo>
                  <a:lnTo>
                    <a:pt x="1152" y="768"/>
                  </a:lnTo>
                  <a:lnTo>
                    <a:pt x="1157" y="773"/>
                  </a:lnTo>
                  <a:lnTo>
                    <a:pt x="1162" y="773"/>
                  </a:lnTo>
                  <a:lnTo>
                    <a:pt x="1162" y="777"/>
                  </a:lnTo>
                  <a:lnTo>
                    <a:pt x="1162" y="777"/>
                  </a:lnTo>
                  <a:lnTo>
                    <a:pt x="1166" y="777"/>
                  </a:lnTo>
                  <a:lnTo>
                    <a:pt x="1166" y="782"/>
                  </a:lnTo>
                  <a:lnTo>
                    <a:pt x="1171" y="782"/>
                  </a:lnTo>
                  <a:lnTo>
                    <a:pt x="1171" y="787"/>
                  </a:lnTo>
                  <a:lnTo>
                    <a:pt x="1171" y="787"/>
                  </a:lnTo>
                  <a:lnTo>
                    <a:pt x="1175" y="791"/>
                  </a:lnTo>
                  <a:lnTo>
                    <a:pt x="1175" y="796"/>
                  </a:lnTo>
                  <a:lnTo>
                    <a:pt x="1175" y="800"/>
                  </a:lnTo>
                  <a:lnTo>
                    <a:pt x="1171" y="809"/>
                  </a:lnTo>
                  <a:lnTo>
                    <a:pt x="1171" y="814"/>
                  </a:lnTo>
                  <a:lnTo>
                    <a:pt x="1171" y="823"/>
                  </a:lnTo>
                  <a:lnTo>
                    <a:pt x="1171" y="828"/>
                  </a:lnTo>
                  <a:lnTo>
                    <a:pt x="1166" y="828"/>
                  </a:lnTo>
                  <a:lnTo>
                    <a:pt x="1162" y="832"/>
                  </a:lnTo>
                  <a:lnTo>
                    <a:pt x="1157" y="832"/>
                  </a:lnTo>
                  <a:lnTo>
                    <a:pt x="1152" y="837"/>
                  </a:lnTo>
                  <a:lnTo>
                    <a:pt x="1148" y="837"/>
                  </a:lnTo>
                  <a:lnTo>
                    <a:pt x="1130" y="846"/>
                  </a:lnTo>
                  <a:lnTo>
                    <a:pt x="1125" y="846"/>
                  </a:lnTo>
                  <a:lnTo>
                    <a:pt x="1120" y="851"/>
                  </a:lnTo>
                  <a:lnTo>
                    <a:pt x="1111" y="851"/>
                  </a:lnTo>
                  <a:lnTo>
                    <a:pt x="1107" y="851"/>
                  </a:lnTo>
                  <a:lnTo>
                    <a:pt x="1102" y="851"/>
                  </a:lnTo>
                  <a:lnTo>
                    <a:pt x="1102" y="855"/>
                  </a:lnTo>
                  <a:lnTo>
                    <a:pt x="1098" y="855"/>
                  </a:lnTo>
                  <a:lnTo>
                    <a:pt x="1098" y="864"/>
                  </a:lnTo>
                  <a:lnTo>
                    <a:pt x="1093" y="869"/>
                  </a:lnTo>
                  <a:lnTo>
                    <a:pt x="1088" y="873"/>
                  </a:lnTo>
                  <a:lnTo>
                    <a:pt x="1088" y="873"/>
                  </a:lnTo>
                  <a:lnTo>
                    <a:pt x="1088" y="873"/>
                  </a:lnTo>
                  <a:lnTo>
                    <a:pt x="1079" y="873"/>
                  </a:lnTo>
                  <a:lnTo>
                    <a:pt x="1075" y="878"/>
                  </a:lnTo>
                  <a:lnTo>
                    <a:pt x="1070" y="883"/>
                  </a:lnTo>
                  <a:lnTo>
                    <a:pt x="1066" y="883"/>
                  </a:lnTo>
                  <a:lnTo>
                    <a:pt x="1056" y="883"/>
                  </a:lnTo>
                  <a:lnTo>
                    <a:pt x="1052" y="883"/>
                  </a:lnTo>
                  <a:lnTo>
                    <a:pt x="1047" y="887"/>
                  </a:lnTo>
                  <a:lnTo>
                    <a:pt x="1038" y="892"/>
                  </a:lnTo>
                  <a:lnTo>
                    <a:pt x="1029" y="896"/>
                  </a:lnTo>
                  <a:lnTo>
                    <a:pt x="1024" y="901"/>
                  </a:lnTo>
                  <a:lnTo>
                    <a:pt x="1020" y="905"/>
                  </a:lnTo>
                  <a:lnTo>
                    <a:pt x="1015" y="910"/>
                  </a:lnTo>
                  <a:lnTo>
                    <a:pt x="1015" y="915"/>
                  </a:lnTo>
                  <a:lnTo>
                    <a:pt x="1011" y="919"/>
                  </a:lnTo>
                  <a:lnTo>
                    <a:pt x="1006" y="919"/>
                  </a:lnTo>
                  <a:lnTo>
                    <a:pt x="1006" y="924"/>
                  </a:lnTo>
                  <a:lnTo>
                    <a:pt x="997" y="924"/>
                  </a:lnTo>
                  <a:lnTo>
                    <a:pt x="988" y="928"/>
                  </a:lnTo>
                  <a:lnTo>
                    <a:pt x="983" y="928"/>
                  </a:lnTo>
                  <a:lnTo>
                    <a:pt x="983" y="933"/>
                  </a:lnTo>
                  <a:lnTo>
                    <a:pt x="979" y="933"/>
                  </a:lnTo>
                  <a:lnTo>
                    <a:pt x="974" y="933"/>
                  </a:lnTo>
                  <a:lnTo>
                    <a:pt x="970" y="933"/>
                  </a:lnTo>
                  <a:lnTo>
                    <a:pt x="965" y="933"/>
                  </a:lnTo>
                  <a:lnTo>
                    <a:pt x="960" y="928"/>
                  </a:lnTo>
                  <a:lnTo>
                    <a:pt x="960" y="924"/>
                  </a:lnTo>
                  <a:lnTo>
                    <a:pt x="956" y="924"/>
                  </a:lnTo>
                  <a:lnTo>
                    <a:pt x="951" y="919"/>
                  </a:lnTo>
                  <a:lnTo>
                    <a:pt x="951" y="919"/>
                  </a:lnTo>
                  <a:lnTo>
                    <a:pt x="942" y="915"/>
                  </a:lnTo>
                  <a:lnTo>
                    <a:pt x="938" y="915"/>
                  </a:lnTo>
                  <a:lnTo>
                    <a:pt x="933" y="915"/>
                  </a:lnTo>
                  <a:lnTo>
                    <a:pt x="928" y="910"/>
                  </a:lnTo>
                  <a:lnTo>
                    <a:pt x="924" y="910"/>
                  </a:lnTo>
                  <a:lnTo>
                    <a:pt x="924" y="910"/>
                  </a:lnTo>
                  <a:lnTo>
                    <a:pt x="919" y="910"/>
                  </a:lnTo>
                  <a:lnTo>
                    <a:pt x="919" y="915"/>
                  </a:lnTo>
                  <a:lnTo>
                    <a:pt x="915" y="924"/>
                  </a:lnTo>
                  <a:lnTo>
                    <a:pt x="915" y="928"/>
                  </a:lnTo>
                  <a:lnTo>
                    <a:pt x="910" y="933"/>
                  </a:lnTo>
                  <a:lnTo>
                    <a:pt x="910" y="937"/>
                  </a:lnTo>
                  <a:lnTo>
                    <a:pt x="906" y="937"/>
                  </a:lnTo>
                  <a:lnTo>
                    <a:pt x="901" y="942"/>
                  </a:lnTo>
                  <a:lnTo>
                    <a:pt x="901" y="947"/>
                  </a:lnTo>
                  <a:lnTo>
                    <a:pt x="901" y="951"/>
                  </a:lnTo>
                  <a:lnTo>
                    <a:pt x="901" y="956"/>
                  </a:lnTo>
                  <a:lnTo>
                    <a:pt x="901" y="956"/>
                  </a:lnTo>
                  <a:lnTo>
                    <a:pt x="896" y="956"/>
                  </a:lnTo>
                  <a:lnTo>
                    <a:pt x="896" y="960"/>
                  </a:lnTo>
                  <a:lnTo>
                    <a:pt x="896" y="960"/>
                  </a:lnTo>
                  <a:lnTo>
                    <a:pt x="896" y="960"/>
                  </a:lnTo>
                  <a:lnTo>
                    <a:pt x="892" y="965"/>
                  </a:lnTo>
                  <a:lnTo>
                    <a:pt x="887" y="969"/>
                  </a:lnTo>
                  <a:lnTo>
                    <a:pt x="887" y="969"/>
                  </a:lnTo>
                  <a:lnTo>
                    <a:pt x="883" y="969"/>
                  </a:lnTo>
                  <a:lnTo>
                    <a:pt x="883" y="974"/>
                  </a:lnTo>
                  <a:lnTo>
                    <a:pt x="887" y="979"/>
                  </a:lnTo>
                  <a:lnTo>
                    <a:pt x="887" y="979"/>
                  </a:lnTo>
                  <a:lnTo>
                    <a:pt x="887" y="979"/>
                  </a:lnTo>
                  <a:lnTo>
                    <a:pt x="883" y="979"/>
                  </a:lnTo>
                  <a:lnTo>
                    <a:pt x="883" y="983"/>
                  </a:lnTo>
                  <a:lnTo>
                    <a:pt x="878" y="983"/>
                  </a:lnTo>
                  <a:lnTo>
                    <a:pt x="878" y="988"/>
                  </a:lnTo>
                  <a:lnTo>
                    <a:pt x="874" y="992"/>
                  </a:lnTo>
                  <a:lnTo>
                    <a:pt x="874" y="992"/>
                  </a:lnTo>
                  <a:lnTo>
                    <a:pt x="869" y="992"/>
                  </a:lnTo>
                  <a:lnTo>
                    <a:pt x="869" y="997"/>
                  </a:lnTo>
                  <a:lnTo>
                    <a:pt x="869" y="997"/>
                  </a:lnTo>
                  <a:lnTo>
                    <a:pt x="864" y="997"/>
                  </a:lnTo>
                  <a:lnTo>
                    <a:pt x="860" y="1006"/>
                  </a:lnTo>
                  <a:lnTo>
                    <a:pt x="860" y="1006"/>
                  </a:lnTo>
                  <a:lnTo>
                    <a:pt x="860" y="1011"/>
                  </a:lnTo>
                  <a:lnTo>
                    <a:pt x="860" y="1011"/>
                  </a:lnTo>
                  <a:lnTo>
                    <a:pt x="855" y="1015"/>
                  </a:lnTo>
                  <a:lnTo>
                    <a:pt x="855" y="1015"/>
                  </a:lnTo>
                  <a:lnTo>
                    <a:pt x="855" y="1015"/>
                  </a:lnTo>
                  <a:lnTo>
                    <a:pt x="855" y="1020"/>
                  </a:lnTo>
                  <a:lnTo>
                    <a:pt x="855" y="1020"/>
                  </a:lnTo>
                  <a:lnTo>
                    <a:pt x="851" y="1024"/>
                  </a:lnTo>
                  <a:lnTo>
                    <a:pt x="851" y="1024"/>
                  </a:lnTo>
                  <a:lnTo>
                    <a:pt x="846" y="1024"/>
                  </a:lnTo>
                  <a:lnTo>
                    <a:pt x="846" y="1024"/>
                  </a:lnTo>
                  <a:lnTo>
                    <a:pt x="846" y="1024"/>
                  </a:lnTo>
                  <a:lnTo>
                    <a:pt x="842" y="1024"/>
                  </a:lnTo>
                  <a:lnTo>
                    <a:pt x="832" y="1033"/>
                  </a:lnTo>
                  <a:lnTo>
                    <a:pt x="828" y="1033"/>
                  </a:lnTo>
                  <a:lnTo>
                    <a:pt x="819" y="1033"/>
                  </a:lnTo>
                  <a:lnTo>
                    <a:pt x="814" y="1038"/>
                  </a:lnTo>
                  <a:lnTo>
                    <a:pt x="814" y="1038"/>
                  </a:lnTo>
                  <a:lnTo>
                    <a:pt x="814" y="1047"/>
                  </a:lnTo>
                  <a:lnTo>
                    <a:pt x="814" y="1052"/>
                  </a:lnTo>
                  <a:lnTo>
                    <a:pt x="814" y="1056"/>
                  </a:lnTo>
                  <a:lnTo>
                    <a:pt x="814" y="1065"/>
                  </a:lnTo>
                  <a:lnTo>
                    <a:pt x="810" y="1065"/>
                  </a:lnTo>
                  <a:lnTo>
                    <a:pt x="791" y="1065"/>
                  </a:lnTo>
                  <a:lnTo>
                    <a:pt x="778" y="1065"/>
                  </a:lnTo>
                  <a:lnTo>
                    <a:pt x="768" y="1070"/>
                  </a:lnTo>
                  <a:lnTo>
                    <a:pt x="764" y="1070"/>
                  </a:lnTo>
                  <a:lnTo>
                    <a:pt x="759" y="1070"/>
                  </a:lnTo>
                  <a:lnTo>
                    <a:pt x="755" y="1070"/>
                  </a:lnTo>
                  <a:lnTo>
                    <a:pt x="750" y="1070"/>
                  </a:lnTo>
                  <a:lnTo>
                    <a:pt x="750" y="1075"/>
                  </a:lnTo>
                  <a:lnTo>
                    <a:pt x="750" y="1075"/>
                  </a:lnTo>
                  <a:lnTo>
                    <a:pt x="746" y="1075"/>
                  </a:lnTo>
                  <a:lnTo>
                    <a:pt x="727" y="1075"/>
                  </a:lnTo>
                  <a:lnTo>
                    <a:pt x="714" y="1075"/>
                  </a:lnTo>
                  <a:lnTo>
                    <a:pt x="704" y="1079"/>
                  </a:lnTo>
                  <a:lnTo>
                    <a:pt x="700" y="1079"/>
                  </a:lnTo>
                  <a:lnTo>
                    <a:pt x="695" y="1079"/>
                  </a:lnTo>
                  <a:lnTo>
                    <a:pt x="691" y="1084"/>
                  </a:lnTo>
                  <a:lnTo>
                    <a:pt x="686" y="1084"/>
                  </a:lnTo>
                  <a:lnTo>
                    <a:pt x="682" y="1088"/>
                  </a:lnTo>
                  <a:lnTo>
                    <a:pt x="682" y="1093"/>
                  </a:lnTo>
                  <a:lnTo>
                    <a:pt x="682" y="1097"/>
                  </a:lnTo>
                  <a:lnTo>
                    <a:pt x="682" y="1102"/>
                  </a:lnTo>
                  <a:lnTo>
                    <a:pt x="682" y="1111"/>
                  </a:lnTo>
                  <a:lnTo>
                    <a:pt x="677" y="1116"/>
                  </a:lnTo>
                  <a:lnTo>
                    <a:pt x="668" y="1134"/>
                  </a:lnTo>
                  <a:lnTo>
                    <a:pt x="659" y="1152"/>
                  </a:lnTo>
                  <a:lnTo>
                    <a:pt x="659" y="1157"/>
                  </a:lnTo>
                  <a:lnTo>
                    <a:pt x="659" y="1157"/>
                  </a:lnTo>
                  <a:lnTo>
                    <a:pt x="659" y="1161"/>
                  </a:lnTo>
                  <a:lnTo>
                    <a:pt x="659" y="1166"/>
                  </a:lnTo>
                  <a:lnTo>
                    <a:pt x="654" y="1171"/>
                  </a:lnTo>
                  <a:lnTo>
                    <a:pt x="650" y="1175"/>
                  </a:lnTo>
                  <a:lnTo>
                    <a:pt x="650" y="1180"/>
                  </a:lnTo>
                  <a:lnTo>
                    <a:pt x="650" y="1184"/>
                  </a:lnTo>
                  <a:lnTo>
                    <a:pt x="650" y="1189"/>
                  </a:lnTo>
                  <a:lnTo>
                    <a:pt x="650" y="1193"/>
                  </a:lnTo>
                  <a:lnTo>
                    <a:pt x="650" y="1198"/>
                  </a:lnTo>
                  <a:lnTo>
                    <a:pt x="650" y="1203"/>
                  </a:lnTo>
                  <a:lnTo>
                    <a:pt x="645" y="1203"/>
                  </a:lnTo>
                  <a:lnTo>
                    <a:pt x="645" y="1221"/>
                  </a:lnTo>
                  <a:lnTo>
                    <a:pt x="640" y="1225"/>
                  </a:lnTo>
                  <a:lnTo>
                    <a:pt x="640" y="1225"/>
                  </a:lnTo>
                  <a:lnTo>
                    <a:pt x="640" y="1225"/>
                  </a:lnTo>
                  <a:lnTo>
                    <a:pt x="640" y="1230"/>
                  </a:lnTo>
                  <a:lnTo>
                    <a:pt x="636" y="1235"/>
                  </a:lnTo>
                  <a:lnTo>
                    <a:pt x="627" y="1235"/>
                  </a:lnTo>
                  <a:lnTo>
                    <a:pt x="622" y="1239"/>
                  </a:lnTo>
                  <a:lnTo>
                    <a:pt x="618" y="1239"/>
                  </a:lnTo>
                  <a:lnTo>
                    <a:pt x="595" y="1235"/>
                  </a:lnTo>
                  <a:lnTo>
                    <a:pt x="586" y="1235"/>
                  </a:lnTo>
                  <a:lnTo>
                    <a:pt x="576" y="1235"/>
                  </a:lnTo>
                  <a:lnTo>
                    <a:pt x="572" y="1230"/>
                  </a:lnTo>
                  <a:lnTo>
                    <a:pt x="572" y="1230"/>
                  </a:lnTo>
                  <a:lnTo>
                    <a:pt x="567" y="1230"/>
                  </a:lnTo>
                  <a:lnTo>
                    <a:pt x="558" y="1225"/>
                  </a:lnTo>
                  <a:lnTo>
                    <a:pt x="554" y="1225"/>
                  </a:lnTo>
                  <a:lnTo>
                    <a:pt x="549" y="1225"/>
                  </a:lnTo>
                  <a:lnTo>
                    <a:pt x="549" y="1221"/>
                  </a:lnTo>
                  <a:lnTo>
                    <a:pt x="549" y="1221"/>
                  </a:lnTo>
                  <a:lnTo>
                    <a:pt x="544" y="1216"/>
                  </a:lnTo>
                  <a:lnTo>
                    <a:pt x="540" y="1216"/>
                  </a:lnTo>
                  <a:lnTo>
                    <a:pt x="535" y="1216"/>
                  </a:lnTo>
                  <a:lnTo>
                    <a:pt x="531" y="1212"/>
                  </a:lnTo>
                  <a:lnTo>
                    <a:pt x="531" y="1207"/>
                  </a:lnTo>
                  <a:lnTo>
                    <a:pt x="522" y="1203"/>
                  </a:lnTo>
                  <a:lnTo>
                    <a:pt x="517" y="1203"/>
                  </a:lnTo>
                  <a:lnTo>
                    <a:pt x="512" y="1198"/>
                  </a:lnTo>
                  <a:lnTo>
                    <a:pt x="508" y="1198"/>
                  </a:lnTo>
                  <a:lnTo>
                    <a:pt x="503" y="1193"/>
                  </a:lnTo>
                  <a:lnTo>
                    <a:pt x="499" y="1193"/>
                  </a:lnTo>
                  <a:lnTo>
                    <a:pt x="490" y="1193"/>
                  </a:lnTo>
                  <a:lnTo>
                    <a:pt x="485" y="1193"/>
                  </a:lnTo>
                  <a:lnTo>
                    <a:pt x="485" y="1198"/>
                  </a:lnTo>
                  <a:lnTo>
                    <a:pt x="476" y="1198"/>
                  </a:lnTo>
                  <a:lnTo>
                    <a:pt x="476" y="1203"/>
                  </a:lnTo>
                  <a:lnTo>
                    <a:pt x="471" y="1203"/>
                  </a:lnTo>
                  <a:lnTo>
                    <a:pt x="471" y="1203"/>
                  </a:lnTo>
                  <a:lnTo>
                    <a:pt x="467" y="1203"/>
                  </a:lnTo>
                  <a:lnTo>
                    <a:pt x="462" y="1207"/>
                  </a:lnTo>
                  <a:lnTo>
                    <a:pt x="462" y="1207"/>
                  </a:lnTo>
                  <a:lnTo>
                    <a:pt x="453" y="1216"/>
                  </a:lnTo>
                  <a:lnTo>
                    <a:pt x="448" y="1221"/>
                  </a:lnTo>
                  <a:lnTo>
                    <a:pt x="439" y="1225"/>
                  </a:lnTo>
                  <a:lnTo>
                    <a:pt x="435" y="1239"/>
                  </a:lnTo>
                  <a:lnTo>
                    <a:pt x="430" y="1244"/>
                  </a:lnTo>
                  <a:lnTo>
                    <a:pt x="426" y="1244"/>
                  </a:lnTo>
                  <a:lnTo>
                    <a:pt x="421" y="1244"/>
                  </a:lnTo>
                  <a:lnTo>
                    <a:pt x="416" y="1248"/>
                  </a:lnTo>
                  <a:lnTo>
                    <a:pt x="412" y="1253"/>
                  </a:lnTo>
                  <a:lnTo>
                    <a:pt x="412" y="1257"/>
                  </a:lnTo>
                  <a:lnTo>
                    <a:pt x="407" y="1257"/>
                  </a:lnTo>
                  <a:lnTo>
                    <a:pt x="389" y="1276"/>
                  </a:lnTo>
                  <a:lnTo>
                    <a:pt x="384" y="1280"/>
                  </a:lnTo>
                  <a:lnTo>
                    <a:pt x="375" y="1289"/>
                  </a:lnTo>
                  <a:lnTo>
                    <a:pt x="375" y="1289"/>
                  </a:lnTo>
                  <a:lnTo>
                    <a:pt x="371" y="1289"/>
                  </a:lnTo>
                  <a:lnTo>
                    <a:pt x="371" y="1294"/>
                  </a:lnTo>
                  <a:lnTo>
                    <a:pt x="366" y="1294"/>
                  </a:lnTo>
                  <a:lnTo>
                    <a:pt x="357" y="1294"/>
                  </a:lnTo>
                  <a:lnTo>
                    <a:pt x="348" y="1294"/>
                  </a:lnTo>
                  <a:lnTo>
                    <a:pt x="330" y="1294"/>
                  </a:lnTo>
                  <a:lnTo>
                    <a:pt x="316" y="1294"/>
                  </a:lnTo>
                  <a:lnTo>
                    <a:pt x="311" y="1294"/>
                  </a:lnTo>
                  <a:lnTo>
                    <a:pt x="302" y="1294"/>
                  </a:lnTo>
                  <a:lnTo>
                    <a:pt x="288" y="1299"/>
                  </a:lnTo>
                  <a:lnTo>
                    <a:pt x="288" y="1299"/>
                  </a:lnTo>
                  <a:lnTo>
                    <a:pt x="288" y="1299"/>
                  </a:lnTo>
                  <a:lnTo>
                    <a:pt x="284" y="1299"/>
                  </a:lnTo>
                  <a:lnTo>
                    <a:pt x="279" y="1303"/>
                  </a:lnTo>
                  <a:lnTo>
                    <a:pt x="275" y="1303"/>
                  </a:lnTo>
                  <a:lnTo>
                    <a:pt x="270" y="1308"/>
                  </a:lnTo>
                  <a:lnTo>
                    <a:pt x="266" y="1308"/>
                  </a:lnTo>
                  <a:lnTo>
                    <a:pt x="266" y="1312"/>
                  </a:lnTo>
                  <a:lnTo>
                    <a:pt x="261" y="1312"/>
                  </a:lnTo>
                  <a:lnTo>
                    <a:pt x="256" y="1312"/>
                  </a:lnTo>
                  <a:lnTo>
                    <a:pt x="247" y="1317"/>
                  </a:lnTo>
                  <a:lnTo>
                    <a:pt x="243" y="1317"/>
                  </a:lnTo>
                  <a:lnTo>
                    <a:pt x="243" y="1326"/>
                  </a:lnTo>
                  <a:lnTo>
                    <a:pt x="229" y="1335"/>
                  </a:lnTo>
                  <a:lnTo>
                    <a:pt x="224" y="1335"/>
                  </a:lnTo>
                  <a:lnTo>
                    <a:pt x="224" y="1340"/>
                  </a:lnTo>
                  <a:lnTo>
                    <a:pt x="220" y="1340"/>
                  </a:lnTo>
                  <a:lnTo>
                    <a:pt x="220" y="1349"/>
                  </a:lnTo>
                  <a:lnTo>
                    <a:pt x="215" y="1353"/>
                  </a:lnTo>
                  <a:lnTo>
                    <a:pt x="211" y="1353"/>
                  </a:lnTo>
                  <a:lnTo>
                    <a:pt x="211" y="1358"/>
                  </a:lnTo>
                  <a:lnTo>
                    <a:pt x="211" y="1363"/>
                  </a:lnTo>
                  <a:lnTo>
                    <a:pt x="206" y="1367"/>
                  </a:lnTo>
                  <a:lnTo>
                    <a:pt x="206" y="1372"/>
                  </a:lnTo>
                  <a:lnTo>
                    <a:pt x="202" y="1381"/>
                  </a:lnTo>
                  <a:lnTo>
                    <a:pt x="202" y="1399"/>
                  </a:lnTo>
                  <a:lnTo>
                    <a:pt x="202" y="1399"/>
                  </a:lnTo>
                  <a:lnTo>
                    <a:pt x="197" y="1404"/>
                  </a:lnTo>
                  <a:lnTo>
                    <a:pt x="183" y="1413"/>
                  </a:lnTo>
                  <a:lnTo>
                    <a:pt x="179" y="1413"/>
                  </a:lnTo>
                  <a:lnTo>
                    <a:pt x="165" y="1417"/>
                  </a:lnTo>
                  <a:lnTo>
                    <a:pt x="160" y="1413"/>
                  </a:lnTo>
                  <a:lnTo>
                    <a:pt x="156" y="1413"/>
                  </a:lnTo>
                  <a:lnTo>
                    <a:pt x="151" y="1417"/>
                  </a:lnTo>
                  <a:lnTo>
                    <a:pt x="133" y="1417"/>
                  </a:lnTo>
                  <a:lnTo>
                    <a:pt x="128" y="1413"/>
                  </a:lnTo>
                  <a:lnTo>
                    <a:pt x="106" y="1404"/>
                  </a:lnTo>
                  <a:lnTo>
                    <a:pt x="106" y="1399"/>
                  </a:lnTo>
                  <a:lnTo>
                    <a:pt x="106" y="1399"/>
                  </a:lnTo>
                  <a:lnTo>
                    <a:pt x="106" y="1395"/>
                  </a:lnTo>
                  <a:lnTo>
                    <a:pt x="101" y="1395"/>
                  </a:lnTo>
                  <a:lnTo>
                    <a:pt x="101" y="1390"/>
                  </a:lnTo>
                  <a:lnTo>
                    <a:pt x="101" y="1385"/>
                  </a:lnTo>
                  <a:lnTo>
                    <a:pt x="96" y="1381"/>
                  </a:lnTo>
                  <a:lnTo>
                    <a:pt x="96" y="1376"/>
                  </a:lnTo>
                  <a:lnTo>
                    <a:pt x="92" y="1376"/>
                  </a:lnTo>
                  <a:lnTo>
                    <a:pt x="92" y="1376"/>
                  </a:lnTo>
                  <a:lnTo>
                    <a:pt x="92" y="1376"/>
                  </a:lnTo>
                  <a:lnTo>
                    <a:pt x="92" y="1372"/>
                  </a:lnTo>
                  <a:lnTo>
                    <a:pt x="87" y="1372"/>
                  </a:lnTo>
                  <a:lnTo>
                    <a:pt x="87" y="1367"/>
                  </a:lnTo>
                  <a:lnTo>
                    <a:pt x="83" y="1367"/>
                  </a:lnTo>
                  <a:lnTo>
                    <a:pt x="78" y="1363"/>
                  </a:lnTo>
                  <a:lnTo>
                    <a:pt x="74" y="1358"/>
                  </a:lnTo>
                  <a:lnTo>
                    <a:pt x="69" y="1358"/>
                  </a:lnTo>
                  <a:lnTo>
                    <a:pt x="69" y="1358"/>
                  </a:lnTo>
                  <a:lnTo>
                    <a:pt x="60" y="1353"/>
                  </a:lnTo>
                  <a:lnTo>
                    <a:pt x="51" y="1349"/>
                  </a:lnTo>
                  <a:lnTo>
                    <a:pt x="46" y="1349"/>
                  </a:lnTo>
                  <a:lnTo>
                    <a:pt x="46" y="1344"/>
                  </a:lnTo>
                  <a:lnTo>
                    <a:pt x="42" y="1344"/>
                  </a:lnTo>
                  <a:lnTo>
                    <a:pt x="42" y="1340"/>
                  </a:lnTo>
                  <a:lnTo>
                    <a:pt x="37" y="1340"/>
                  </a:lnTo>
                  <a:lnTo>
                    <a:pt x="32" y="1335"/>
                  </a:lnTo>
                  <a:lnTo>
                    <a:pt x="32" y="1335"/>
                  </a:lnTo>
                  <a:lnTo>
                    <a:pt x="28" y="1326"/>
                  </a:lnTo>
                  <a:lnTo>
                    <a:pt x="28" y="1321"/>
                  </a:lnTo>
                  <a:lnTo>
                    <a:pt x="23" y="1321"/>
                  </a:lnTo>
                  <a:lnTo>
                    <a:pt x="23" y="1317"/>
                  </a:lnTo>
                  <a:lnTo>
                    <a:pt x="23" y="1312"/>
                  </a:lnTo>
                  <a:lnTo>
                    <a:pt x="19" y="1312"/>
                  </a:lnTo>
                  <a:lnTo>
                    <a:pt x="19" y="1312"/>
                  </a:lnTo>
                  <a:lnTo>
                    <a:pt x="14" y="1308"/>
                  </a:lnTo>
                  <a:lnTo>
                    <a:pt x="10" y="1308"/>
                  </a:lnTo>
                  <a:lnTo>
                    <a:pt x="5" y="1303"/>
                  </a:lnTo>
                  <a:lnTo>
                    <a:pt x="0" y="1303"/>
                  </a:lnTo>
                  <a:lnTo>
                    <a:pt x="0" y="1299"/>
                  </a:lnTo>
                  <a:lnTo>
                    <a:pt x="0" y="1294"/>
                  </a:lnTo>
                  <a:lnTo>
                    <a:pt x="0" y="1289"/>
                  </a:lnTo>
                  <a:lnTo>
                    <a:pt x="5" y="1289"/>
                  </a:lnTo>
                  <a:lnTo>
                    <a:pt x="5" y="1289"/>
                  </a:lnTo>
                  <a:lnTo>
                    <a:pt x="10" y="1285"/>
                  </a:lnTo>
                  <a:lnTo>
                    <a:pt x="10" y="1280"/>
                  </a:lnTo>
                  <a:lnTo>
                    <a:pt x="14" y="1276"/>
                  </a:lnTo>
                  <a:lnTo>
                    <a:pt x="19" y="1271"/>
                  </a:lnTo>
                  <a:lnTo>
                    <a:pt x="23" y="1267"/>
                  </a:lnTo>
                  <a:lnTo>
                    <a:pt x="23" y="1267"/>
                  </a:lnTo>
                  <a:lnTo>
                    <a:pt x="23" y="1267"/>
                  </a:lnTo>
                  <a:lnTo>
                    <a:pt x="28" y="1267"/>
                  </a:lnTo>
                  <a:lnTo>
                    <a:pt x="32" y="1262"/>
                  </a:lnTo>
                  <a:lnTo>
                    <a:pt x="37" y="1257"/>
                  </a:lnTo>
                  <a:lnTo>
                    <a:pt x="46" y="1257"/>
                  </a:lnTo>
                  <a:lnTo>
                    <a:pt x="46" y="1253"/>
                  </a:lnTo>
                  <a:lnTo>
                    <a:pt x="46" y="1253"/>
                  </a:lnTo>
                  <a:lnTo>
                    <a:pt x="51" y="1253"/>
                  </a:lnTo>
                  <a:lnTo>
                    <a:pt x="55" y="1248"/>
                  </a:lnTo>
                  <a:lnTo>
                    <a:pt x="60" y="1248"/>
                  </a:lnTo>
                  <a:lnTo>
                    <a:pt x="60" y="1244"/>
                  </a:lnTo>
                  <a:lnTo>
                    <a:pt x="64" y="1244"/>
                  </a:lnTo>
                  <a:lnTo>
                    <a:pt x="69" y="1244"/>
                  </a:lnTo>
                  <a:lnTo>
                    <a:pt x="69" y="1239"/>
                  </a:lnTo>
                  <a:lnTo>
                    <a:pt x="69" y="1235"/>
                  </a:lnTo>
                  <a:lnTo>
                    <a:pt x="64" y="1230"/>
                  </a:lnTo>
                  <a:lnTo>
                    <a:pt x="64" y="1225"/>
                  </a:lnTo>
                  <a:lnTo>
                    <a:pt x="60" y="1225"/>
                  </a:lnTo>
                  <a:lnTo>
                    <a:pt x="55" y="1225"/>
                  </a:lnTo>
                  <a:lnTo>
                    <a:pt x="51" y="1225"/>
                  </a:lnTo>
                  <a:lnTo>
                    <a:pt x="46" y="1221"/>
                  </a:lnTo>
                  <a:lnTo>
                    <a:pt x="37" y="1216"/>
                  </a:lnTo>
                  <a:lnTo>
                    <a:pt x="23" y="1212"/>
                  </a:lnTo>
                  <a:lnTo>
                    <a:pt x="23" y="1207"/>
                  </a:lnTo>
                  <a:lnTo>
                    <a:pt x="14" y="1207"/>
                  </a:lnTo>
                  <a:lnTo>
                    <a:pt x="10" y="1207"/>
                  </a:lnTo>
                  <a:lnTo>
                    <a:pt x="10" y="1203"/>
                  </a:lnTo>
                  <a:lnTo>
                    <a:pt x="5" y="1203"/>
                  </a:lnTo>
                  <a:lnTo>
                    <a:pt x="5" y="1198"/>
                  </a:lnTo>
                  <a:lnTo>
                    <a:pt x="5" y="1193"/>
                  </a:lnTo>
                  <a:lnTo>
                    <a:pt x="10" y="1189"/>
                  </a:lnTo>
                  <a:lnTo>
                    <a:pt x="14" y="1189"/>
                  </a:lnTo>
                  <a:lnTo>
                    <a:pt x="19" y="1184"/>
                  </a:lnTo>
                  <a:lnTo>
                    <a:pt x="23" y="1184"/>
                  </a:lnTo>
                  <a:lnTo>
                    <a:pt x="28" y="1184"/>
                  </a:lnTo>
                  <a:lnTo>
                    <a:pt x="28" y="1180"/>
                  </a:lnTo>
                  <a:lnTo>
                    <a:pt x="32" y="1180"/>
                  </a:lnTo>
                  <a:lnTo>
                    <a:pt x="37" y="1180"/>
                  </a:lnTo>
                  <a:lnTo>
                    <a:pt x="37" y="1180"/>
                  </a:lnTo>
                  <a:lnTo>
                    <a:pt x="42" y="1180"/>
                  </a:lnTo>
                  <a:lnTo>
                    <a:pt x="46" y="1175"/>
                  </a:lnTo>
                  <a:lnTo>
                    <a:pt x="46" y="1171"/>
                  </a:lnTo>
                  <a:lnTo>
                    <a:pt x="51" y="1166"/>
                  </a:lnTo>
                  <a:lnTo>
                    <a:pt x="51" y="1161"/>
                  </a:lnTo>
                  <a:lnTo>
                    <a:pt x="55" y="1157"/>
                  </a:lnTo>
                  <a:lnTo>
                    <a:pt x="55" y="1157"/>
                  </a:lnTo>
                  <a:lnTo>
                    <a:pt x="55" y="1148"/>
                  </a:lnTo>
                  <a:lnTo>
                    <a:pt x="55" y="1143"/>
                  </a:lnTo>
                  <a:lnTo>
                    <a:pt x="55" y="1139"/>
                  </a:lnTo>
                  <a:lnTo>
                    <a:pt x="51" y="1129"/>
                  </a:lnTo>
                  <a:lnTo>
                    <a:pt x="51" y="1125"/>
                  </a:lnTo>
                  <a:lnTo>
                    <a:pt x="51" y="1120"/>
                  </a:lnTo>
                  <a:lnTo>
                    <a:pt x="51" y="1116"/>
                  </a:lnTo>
                  <a:lnTo>
                    <a:pt x="51" y="1116"/>
                  </a:lnTo>
                  <a:lnTo>
                    <a:pt x="55" y="1102"/>
                  </a:lnTo>
                  <a:lnTo>
                    <a:pt x="55" y="1093"/>
                  </a:lnTo>
                  <a:lnTo>
                    <a:pt x="60" y="1088"/>
                  </a:lnTo>
                  <a:lnTo>
                    <a:pt x="64" y="1088"/>
                  </a:lnTo>
                  <a:lnTo>
                    <a:pt x="64" y="1084"/>
                  </a:lnTo>
                  <a:lnTo>
                    <a:pt x="69" y="1079"/>
                  </a:lnTo>
                  <a:lnTo>
                    <a:pt x="69" y="1075"/>
                  </a:lnTo>
                  <a:lnTo>
                    <a:pt x="69" y="1075"/>
                  </a:lnTo>
                  <a:lnTo>
                    <a:pt x="74" y="1070"/>
                  </a:lnTo>
                  <a:lnTo>
                    <a:pt x="74" y="1070"/>
                  </a:lnTo>
                  <a:lnTo>
                    <a:pt x="83" y="1070"/>
                  </a:lnTo>
                  <a:lnTo>
                    <a:pt x="87" y="1065"/>
                  </a:lnTo>
                  <a:lnTo>
                    <a:pt x="92" y="1065"/>
                  </a:lnTo>
                  <a:lnTo>
                    <a:pt x="96" y="1065"/>
                  </a:lnTo>
                  <a:lnTo>
                    <a:pt x="96" y="1061"/>
                  </a:lnTo>
                  <a:lnTo>
                    <a:pt x="101" y="1061"/>
                  </a:lnTo>
                  <a:lnTo>
                    <a:pt x="101" y="1061"/>
                  </a:lnTo>
                  <a:lnTo>
                    <a:pt x="106" y="1061"/>
                  </a:lnTo>
                  <a:lnTo>
                    <a:pt x="115" y="1056"/>
                  </a:lnTo>
                  <a:lnTo>
                    <a:pt x="119" y="1052"/>
                  </a:lnTo>
                  <a:lnTo>
                    <a:pt x="124" y="1052"/>
                  </a:lnTo>
                  <a:lnTo>
                    <a:pt x="128" y="1052"/>
                  </a:lnTo>
                  <a:lnTo>
                    <a:pt x="133" y="1052"/>
                  </a:lnTo>
                  <a:lnTo>
                    <a:pt x="133" y="1047"/>
                  </a:lnTo>
                  <a:lnTo>
                    <a:pt x="138" y="1047"/>
                  </a:lnTo>
                  <a:lnTo>
                    <a:pt x="142" y="1047"/>
                  </a:lnTo>
                  <a:lnTo>
                    <a:pt x="151" y="1047"/>
                  </a:lnTo>
                  <a:lnTo>
                    <a:pt x="151" y="1043"/>
                  </a:lnTo>
                  <a:lnTo>
                    <a:pt x="156" y="1043"/>
                  </a:lnTo>
                  <a:lnTo>
                    <a:pt x="156" y="1043"/>
                  </a:lnTo>
                  <a:lnTo>
                    <a:pt x="156" y="1038"/>
                  </a:lnTo>
                  <a:lnTo>
                    <a:pt x="160" y="1038"/>
                  </a:lnTo>
                  <a:lnTo>
                    <a:pt x="165" y="1038"/>
                  </a:lnTo>
                  <a:lnTo>
                    <a:pt x="170" y="1033"/>
                  </a:lnTo>
                  <a:lnTo>
                    <a:pt x="174" y="1033"/>
                  </a:lnTo>
                  <a:lnTo>
                    <a:pt x="179" y="1029"/>
                  </a:lnTo>
                  <a:lnTo>
                    <a:pt x="183" y="1024"/>
                  </a:lnTo>
                  <a:lnTo>
                    <a:pt x="183" y="1024"/>
                  </a:lnTo>
                  <a:lnTo>
                    <a:pt x="188" y="1020"/>
                  </a:lnTo>
                  <a:lnTo>
                    <a:pt x="192" y="1020"/>
                  </a:lnTo>
                  <a:lnTo>
                    <a:pt x="197" y="1015"/>
                  </a:lnTo>
                  <a:lnTo>
                    <a:pt x="202" y="1006"/>
                  </a:lnTo>
                  <a:lnTo>
                    <a:pt x="206" y="1006"/>
                  </a:lnTo>
                  <a:lnTo>
                    <a:pt x="211" y="1006"/>
                  </a:lnTo>
                  <a:lnTo>
                    <a:pt x="211" y="1001"/>
                  </a:lnTo>
                  <a:lnTo>
                    <a:pt x="215" y="997"/>
                  </a:lnTo>
                  <a:lnTo>
                    <a:pt x="215" y="988"/>
                  </a:lnTo>
                  <a:lnTo>
                    <a:pt x="215" y="983"/>
                  </a:lnTo>
                  <a:lnTo>
                    <a:pt x="215" y="983"/>
                  </a:lnTo>
                  <a:lnTo>
                    <a:pt x="211" y="983"/>
                  </a:lnTo>
                  <a:lnTo>
                    <a:pt x="206" y="969"/>
                  </a:lnTo>
                  <a:lnTo>
                    <a:pt x="206" y="965"/>
                  </a:lnTo>
                  <a:lnTo>
                    <a:pt x="202" y="956"/>
                  </a:lnTo>
                  <a:lnTo>
                    <a:pt x="202" y="951"/>
                  </a:lnTo>
                  <a:lnTo>
                    <a:pt x="202" y="937"/>
                  </a:lnTo>
                  <a:lnTo>
                    <a:pt x="206" y="937"/>
                  </a:lnTo>
                  <a:lnTo>
                    <a:pt x="211" y="928"/>
                  </a:lnTo>
                  <a:lnTo>
                    <a:pt x="215" y="924"/>
                  </a:lnTo>
                  <a:lnTo>
                    <a:pt x="220" y="919"/>
                  </a:lnTo>
                  <a:lnTo>
                    <a:pt x="224" y="915"/>
                  </a:lnTo>
                  <a:lnTo>
                    <a:pt x="229" y="915"/>
                  </a:lnTo>
                  <a:lnTo>
                    <a:pt x="234" y="915"/>
                  </a:lnTo>
                  <a:lnTo>
                    <a:pt x="234" y="910"/>
                  </a:lnTo>
                  <a:lnTo>
                    <a:pt x="238" y="910"/>
                  </a:lnTo>
                  <a:lnTo>
                    <a:pt x="238" y="905"/>
                  </a:lnTo>
                  <a:lnTo>
                    <a:pt x="238" y="901"/>
                  </a:lnTo>
                  <a:lnTo>
                    <a:pt x="243" y="901"/>
                  </a:lnTo>
                  <a:lnTo>
                    <a:pt x="243" y="896"/>
                  </a:lnTo>
                  <a:lnTo>
                    <a:pt x="243" y="896"/>
                  </a:lnTo>
                  <a:lnTo>
                    <a:pt x="243" y="892"/>
                  </a:lnTo>
                  <a:lnTo>
                    <a:pt x="243" y="887"/>
                  </a:lnTo>
                  <a:lnTo>
                    <a:pt x="243" y="883"/>
                  </a:lnTo>
                  <a:lnTo>
                    <a:pt x="243" y="878"/>
                  </a:lnTo>
                  <a:lnTo>
                    <a:pt x="247" y="878"/>
                  </a:lnTo>
                  <a:lnTo>
                    <a:pt x="247" y="873"/>
                  </a:lnTo>
                  <a:lnTo>
                    <a:pt x="247" y="873"/>
                  </a:lnTo>
                  <a:lnTo>
                    <a:pt x="252" y="869"/>
                  </a:lnTo>
                  <a:lnTo>
                    <a:pt x="261" y="860"/>
                  </a:lnTo>
                  <a:lnTo>
                    <a:pt x="261" y="855"/>
                  </a:lnTo>
                  <a:lnTo>
                    <a:pt x="266" y="855"/>
                  </a:lnTo>
                  <a:lnTo>
                    <a:pt x="266" y="851"/>
                  </a:lnTo>
                  <a:lnTo>
                    <a:pt x="270" y="851"/>
                  </a:lnTo>
                  <a:lnTo>
                    <a:pt x="275" y="851"/>
                  </a:lnTo>
                  <a:lnTo>
                    <a:pt x="279" y="851"/>
                  </a:lnTo>
                  <a:lnTo>
                    <a:pt x="284" y="841"/>
                  </a:lnTo>
                  <a:lnTo>
                    <a:pt x="288" y="837"/>
                  </a:lnTo>
                  <a:lnTo>
                    <a:pt x="288" y="832"/>
                  </a:lnTo>
                  <a:lnTo>
                    <a:pt x="288" y="828"/>
                  </a:lnTo>
                  <a:lnTo>
                    <a:pt x="284" y="828"/>
                  </a:lnTo>
                  <a:lnTo>
                    <a:pt x="279" y="819"/>
                  </a:lnTo>
                  <a:lnTo>
                    <a:pt x="279" y="814"/>
                  </a:lnTo>
                  <a:lnTo>
                    <a:pt x="279" y="809"/>
                  </a:lnTo>
                  <a:lnTo>
                    <a:pt x="275" y="809"/>
                  </a:lnTo>
                  <a:lnTo>
                    <a:pt x="275" y="805"/>
                  </a:lnTo>
                  <a:lnTo>
                    <a:pt x="266" y="796"/>
                  </a:lnTo>
                  <a:lnTo>
                    <a:pt x="266" y="791"/>
                  </a:lnTo>
                  <a:lnTo>
                    <a:pt x="261" y="787"/>
                  </a:lnTo>
                  <a:lnTo>
                    <a:pt x="256" y="787"/>
                  </a:lnTo>
                  <a:lnTo>
                    <a:pt x="252" y="787"/>
                  </a:lnTo>
                  <a:lnTo>
                    <a:pt x="247" y="787"/>
                  </a:lnTo>
                  <a:lnTo>
                    <a:pt x="243" y="782"/>
                  </a:lnTo>
                  <a:lnTo>
                    <a:pt x="243" y="782"/>
                  </a:lnTo>
                  <a:lnTo>
                    <a:pt x="243" y="777"/>
                  </a:lnTo>
                  <a:lnTo>
                    <a:pt x="238" y="773"/>
                  </a:lnTo>
                  <a:lnTo>
                    <a:pt x="234" y="768"/>
                  </a:lnTo>
                  <a:lnTo>
                    <a:pt x="234" y="764"/>
                  </a:lnTo>
                  <a:lnTo>
                    <a:pt x="234" y="764"/>
                  </a:lnTo>
                  <a:lnTo>
                    <a:pt x="238" y="755"/>
                  </a:lnTo>
                  <a:lnTo>
                    <a:pt x="238" y="750"/>
                  </a:lnTo>
                  <a:lnTo>
                    <a:pt x="238" y="745"/>
                  </a:lnTo>
                  <a:lnTo>
                    <a:pt x="243" y="741"/>
                  </a:lnTo>
                  <a:lnTo>
                    <a:pt x="243" y="741"/>
                  </a:lnTo>
                  <a:lnTo>
                    <a:pt x="243" y="736"/>
                  </a:lnTo>
                  <a:lnTo>
                    <a:pt x="247" y="736"/>
                  </a:lnTo>
                  <a:lnTo>
                    <a:pt x="247" y="732"/>
                  </a:lnTo>
                  <a:lnTo>
                    <a:pt x="252" y="732"/>
                  </a:lnTo>
                  <a:lnTo>
                    <a:pt x="252" y="727"/>
                  </a:lnTo>
                  <a:lnTo>
                    <a:pt x="256" y="723"/>
                  </a:lnTo>
                  <a:lnTo>
                    <a:pt x="256" y="718"/>
                  </a:lnTo>
                  <a:lnTo>
                    <a:pt x="256" y="713"/>
                  </a:lnTo>
                  <a:lnTo>
                    <a:pt x="256" y="704"/>
                  </a:lnTo>
                  <a:lnTo>
                    <a:pt x="256" y="700"/>
                  </a:lnTo>
                  <a:close/>
                </a:path>
              </a:pathLst>
            </a:custGeom>
            <a:blipFill>
              <a:blip r:embed="rId77"/>
              <a:tile tx="0" ty="0" sx="100000" sy="100000" flip="none" algn="tl"/>
            </a:blip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Borno</a:t>
              </a:r>
            </a:p>
          </p:txBody>
        </p:sp>
        <p:sp>
          <p:nvSpPr>
            <p:cNvPr id="132" name="Freeform 51">
              <a:extLst>
                <a:ext uri="{FF2B5EF4-FFF2-40B4-BE49-F238E27FC236}">
                  <a16:creationId xmlns:a16="http://schemas.microsoft.com/office/drawing/2014/main" id="{7F7EFFA4-0D87-41C8-B576-402C0263DC7B}"/>
                </a:ext>
              </a:extLst>
            </p:cNvPr>
            <p:cNvSpPr>
              <a:spLocks noEditPoints="1"/>
            </p:cNvSpPr>
            <p:nvPr>
              <p:custDataLst>
                <p:tags r:id="rId44"/>
              </p:custDataLst>
            </p:nvPr>
          </p:nvSpPr>
          <p:spPr bwMode="auto">
            <a:xfrm>
              <a:off x="1149399" y="3486605"/>
              <a:ext cx="1245799" cy="916361"/>
            </a:xfrm>
            <a:custGeom>
              <a:avLst/>
              <a:gdLst/>
              <a:ahLst/>
              <a:cxnLst>
                <a:cxn ang="0">
                  <a:pos x="1248" y="69"/>
                </a:cxn>
                <a:cxn ang="0">
                  <a:pos x="1275" y="96"/>
                </a:cxn>
                <a:cxn ang="0">
                  <a:pos x="1307" y="83"/>
                </a:cxn>
                <a:cxn ang="0">
                  <a:pos x="1371" y="83"/>
                </a:cxn>
                <a:cxn ang="0">
                  <a:pos x="1389" y="119"/>
                </a:cxn>
                <a:cxn ang="0">
                  <a:pos x="1426" y="156"/>
                </a:cxn>
                <a:cxn ang="0">
                  <a:pos x="1412" y="179"/>
                </a:cxn>
                <a:cxn ang="0">
                  <a:pos x="1398" y="215"/>
                </a:cxn>
                <a:cxn ang="0">
                  <a:pos x="1362" y="215"/>
                </a:cxn>
                <a:cxn ang="0">
                  <a:pos x="1357" y="229"/>
                </a:cxn>
                <a:cxn ang="0">
                  <a:pos x="1344" y="252"/>
                </a:cxn>
                <a:cxn ang="0">
                  <a:pos x="1298" y="284"/>
                </a:cxn>
                <a:cxn ang="0">
                  <a:pos x="1252" y="339"/>
                </a:cxn>
                <a:cxn ang="0">
                  <a:pos x="1193" y="389"/>
                </a:cxn>
                <a:cxn ang="0">
                  <a:pos x="1188" y="412"/>
                </a:cxn>
                <a:cxn ang="0">
                  <a:pos x="1170" y="444"/>
                </a:cxn>
                <a:cxn ang="0">
                  <a:pos x="1174" y="457"/>
                </a:cxn>
                <a:cxn ang="0">
                  <a:pos x="1202" y="489"/>
                </a:cxn>
                <a:cxn ang="0">
                  <a:pos x="1184" y="535"/>
                </a:cxn>
                <a:cxn ang="0">
                  <a:pos x="1174" y="567"/>
                </a:cxn>
                <a:cxn ang="0">
                  <a:pos x="1165" y="640"/>
                </a:cxn>
                <a:cxn ang="0">
                  <a:pos x="1147" y="672"/>
                </a:cxn>
                <a:cxn ang="0">
                  <a:pos x="1129" y="695"/>
                </a:cxn>
                <a:cxn ang="0">
                  <a:pos x="1115" y="713"/>
                </a:cxn>
                <a:cxn ang="0">
                  <a:pos x="1115" y="718"/>
                </a:cxn>
                <a:cxn ang="0">
                  <a:pos x="1101" y="736"/>
                </a:cxn>
                <a:cxn ang="0">
                  <a:pos x="1088" y="759"/>
                </a:cxn>
                <a:cxn ang="0">
                  <a:pos x="1083" y="787"/>
                </a:cxn>
                <a:cxn ang="0">
                  <a:pos x="1060" y="800"/>
                </a:cxn>
                <a:cxn ang="0">
                  <a:pos x="1051" y="828"/>
                </a:cxn>
                <a:cxn ang="0">
                  <a:pos x="1037" y="819"/>
                </a:cxn>
                <a:cxn ang="0">
                  <a:pos x="1028" y="814"/>
                </a:cxn>
                <a:cxn ang="0">
                  <a:pos x="1005" y="805"/>
                </a:cxn>
                <a:cxn ang="0">
                  <a:pos x="1001" y="796"/>
                </a:cxn>
                <a:cxn ang="0">
                  <a:pos x="982" y="777"/>
                </a:cxn>
                <a:cxn ang="0">
                  <a:pos x="941" y="727"/>
                </a:cxn>
                <a:cxn ang="0">
                  <a:pos x="882" y="649"/>
                </a:cxn>
                <a:cxn ang="0">
                  <a:pos x="818" y="608"/>
                </a:cxn>
                <a:cxn ang="0">
                  <a:pos x="800" y="585"/>
                </a:cxn>
                <a:cxn ang="0">
                  <a:pos x="827" y="572"/>
                </a:cxn>
                <a:cxn ang="0">
                  <a:pos x="818" y="503"/>
                </a:cxn>
                <a:cxn ang="0">
                  <a:pos x="818" y="425"/>
                </a:cxn>
                <a:cxn ang="0">
                  <a:pos x="841" y="371"/>
                </a:cxn>
                <a:cxn ang="0">
                  <a:pos x="877" y="329"/>
                </a:cxn>
                <a:cxn ang="0">
                  <a:pos x="918" y="357"/>
                </a:cxn>
                <a:cxn ang="0">
                  <a:pos x="955" y="329"/>
                </a:cxn>
                <a:cxn ang="0">
                  <a:pos x="978" y="311"/>
                </a:cxn>
                <a:cxn ang="0">
                  <a:pos x="982" y="279"/>
                </a:cxn>
                <a:cxn ang="0">
                  <a:pos x="1010" y="247"/>
                </a:cxn>
                <a:cxn ang="0">
                  <a:pos x="1037" y="220"/>
                </a:cxn>
                <a:cxn ang="0">
                  <a:pos x="1060" y="197"/>
                </a:cxn>
                <a:cxn ang="0">
                  <a:pos x="1037" y="169"/>
                </a:cxn>
                <a:cxn ang="0">
                  <a:pos x="1019" y="133"/>
                </a:cxn>
                <a:cxn ang="0">
                  <a:pos x="1014" y="87"/>
                </a:cxn>
                <a:cxn ang="0">
                  <a:pos x="1056" y="69"/>
                </a:cxn>
                <a:cxn ang="0">
                  <a:pos x="1106" y="64"/>
                </a:cxn>
                <a:cxn ang="0">
                  <a:pos x="1101" y="28"/>
                </a:cxn>
                <a:cxn ang="0">
                  <a:pos x="1097" y="14"/>
                </a:cxn>
                <a:cxn ang="0">
                  <a:pos x="1129" y="5"/>
                </a:cxn>
                <a:cxn ang="0">
                  <a:pos x="1211" y="23"/>
                </a:cxn>
                <a:cxn ang="0">
                  <a:pos x="1252" y="37"/>
                </a:cxn>
                <a:cxn ang="0">
                  <a:pos x="1248" y="69"/>
                </a:cxn>
              </a:cxnLst>
              <a:rect l="0" t="0" r="r" b="b"/>
              <a:pathLst>
                <a:path w="1426" h="905">
                  <a:moveTo>
                    <a:pt x="4" y="905"/>
                  </a:moveTo>
                  <a:lnTo>
                    <a:pt x="4" y="905"/>
                  </a:lnTo>
                  <a:lnTo>
                    <a:pt x="0" y="901"/>
                  </a:lnTo>
                  <a:lnTo>
                    <a:pt x="0" y="901"/>
                  </a:lnTo>
                  <a:lnTo>
                    <a:pt x="0" y="901"/>
                  </a:lnTo>
                  <a:lnTo>
                    <a:pt x="4" y="901"/>
                  </a:lnTo>
                  <a:lnTo>
                    <a:pt x="4" y="905"/>
                  </a:lnTo>
                  <a:lnTo>
                    <a:pt x="4" y="905"/>
                  </a:lnTo>
                  <a:close/>
                  <a:moveTo>
                    <a:pt x="1248" y="69"/>
                  </a:moveTo>
                  <a:lnTo>
                    <a:pt x="1248" y="73"/>
                  </a:lnTo>
                  <a:lnTo>
                    <a:pt x="1252" y="73"/>
                  </a:lnTo>
                  <a:lnTo>
                    <a:pt x="1257" y="83"/>
                  </a:lnTo>
                  <a:lnTo>
                    <a:pt x="1257" y="83"/>
                  </a:lnTo>
                  <a:lnTo>
                    <a:pt x="1261" y="83"/>
                  </a:lnTo>
                  <a:lnTo>
                    <a:pt x="1266" y="87"/>
                  </a:lnTo>
                  <a:lnTo>
                    <a:pt x="1266" y="87"/>
                  </a:lnTo>
                  <a:lnTo>
                    <a:pt x="1275" y="92"/>
                  </a:lnTo>
                  <a:lnTo>
                    <a:pt x="1275" y="96"/>
                  </a:lnTo>
                  <a:lnTo>
                    <a:pt x="1280" y="96"/>
                  </a:lnTo>
                  <a:lnTo>
                    <a:pt x="1280" y="96"/>
                  </a:lnTo>
                  <a:lnTo>
                    <a:pt x="1284" y="96"/>
                  </a:lnTo>
                  <a:lnTo>
                    <a:pt x="1289" y="96"/>
                  </a:lnTo>
                  <a:lnTo>
                    <a:pt x="1293" y="92"/>
                  </a:lnTo>
                  <a:lnTo>
                    <a:pt x="1298" y="87"/>
                  </a:lnTo>
                  <a:lnTo>
                    <a:pt x="1302" y="87"/>
                  </a:lnTo>
                  <a:lnTo>
                    <a:pt x="1302" y="83"/>
                  </a:lnTo>
                  <a:lnTo>
                    <a:pt x="1307" y="83"/>
                  </a:lnTo>
                  <a:lnTo>
                    <a:pt x="1312" y="83"/>
                  </a:lnTo>
                  <a:lnTo>
                    <a:pt x="1321" y="78"/>
                  </a:lnTo>
                  <a:lnTo>
                    <a:pt x="1325" y="78"/>
                  </a:lnTo>
                  <a:lnTo>
                    <a:pt x="1334" y="78"/>
                  </a:lnTo>
                  <a:lnTo>
                    <a:pt x="1348" y="78"/>
                  </a:lnTo>
                  <a:lnTo>
                    <a:pt x="1353" y="78"/>
                  </a:lnTo>
                  <a:lnTo>
                    <a:pt x="1357" y="78"/>
                  </a:lnTo>
                  <a:lnTo>
                    <a:pt x="1366" y="78"/>
                  </a:lnTo>
                  <a:lnTo>
                    <a:pt x="1371" y="83"/>
                  </a:lnTo>
                  <a:lnTo>
                    <a:pt x="1376" y="87"/>
                  </a:lnTo>
                  <a:lnTo>
                    <a:pt x="1380" y="92"/>
                  </a:lnTo>
                  <a:lnTo>
                    <a:pt x="1380" y="96"/>
                  </a:lnTo>
                  <a:lnTo>
                    <a:pt x="1380" y="101"/>
                  </a:lnTo>
                  <a:lnTo>
                    <a:pt x="1385" y="101"/>
                  </a:lnTo>
                  <a:lnTo>
                    <a:pt x="1385" y="105"/>
                  </a:lnTo>
                  <a:lnTo>
                    <a:pt x="1385" y="110"/>
                  </a:lnTo>
                  <a:lnTo>
                    <a:pt x="1389" y="110"/>
                  </a:lnTo>
                  <a:lnTo>
                    <a:pt x="1389" y="119"/>
                  </a:lnTo>
                  <a:lnTo>
                    <a:pt x="1394" y="124"/>
                  </a:lnTo>
                  <a:lnTo>
                    <a:pt x="1398" y="128"/>
                  </a:lnTo>
                  <a:lnTo>
                    <a:pt x="1403" y="133"/>
                  </a:lnTo>
                  <a:lnTo>
                    <a:pt x="1412" y="133"/>
                  </a:lnTo>
                  <a:lnTo>
                    <a:pt x="1417" y="137"/>
                  </a:lnTo>
                  <a:lnTo>
                    <a:pt x="1421" y="142"/>
                  </a:lnTo>
                  <a:lnTo>
                    <a:pt x="1426" y="147"/>
                  </a:lnTo>
                  <a:lnTo>
                    <a:pt x="1426" y="151"/>
                  </a:lnTo>
                  <a:lnTo>
                    <a:pt x="1426" y="156"/>
                  </a:lnTo>
                  <a:lnTo>
                    <a:pt x="1426" y="165"/>
                  </a:lnTo>
                  <a:lnTo>
                    <a:pt x="1417" y="165"/>
                  </a:lnTo>
                  <a:lnTo>
                    <a:pt x="1412" y="165"/>
                  </a:lnTo>
                  <a:lnTo>
                    <a:pt x="1412" y="169"/>
                  </a:lnTo>
                  <a:lnTo>
                    <a:pt x="1412" y="169"/>
                  </a:lnTo>
                  <a:lnTo>
                    <a:pt x="1412" y="174"/>
                  </a:lnTo>
                  <a:lnTo>
                    <a:pt x="1408" y="174"/>
                  </a:lnTo>
                  <a:lnTo>
                    <a:pt x="1412" y="179"/>
                  </a:lnTo>
                  <a:lnTo>
                    <a:pt x="1412" y="179"/>
                  </a:lnTo>
                  <a:lnTo>
                    <a:pt x="1408" y="188"/>
                  </a:lnTo>
                  <a:lnTo>
                    <a:pt x="1408" y="192"/>
                  </a:lnTo>
                  <a:lnTo>
                    <a:pt x="1408" y="192"/>
                  </a:lnTo>
                  <a:lnTo>
                    <a:pt x="1403" y="192"/>
                  </a:lnTo>
                  <a:lnTo>
                    <a:pt x="1403" y="192"/>
                  </a:lnTo>
                  <a:lnTo>
                    <a:pt x="1403" y="197"/>
                  </a:lnTo>
                  <a:lnTo>
                    <a:pt x="1403" y="197"/>
                  </a:lnTo>
                  <a:lnTo>
                    <a:pt x="1398" y="215"/>
                  </a:lnTo>
                  <a:lnTo>
                    <a:pt x="1398" y="215"/>
                  </a:lnTo>
                  <a:lnTo>
                    <a:pt x="1385" y="211"/>
                  </a:lnTo>
                  <a:lnTo>
                    <a:pt x="1380" y="206"/>
                  </a:lnTo>
                  <a:lnTo>
                    <a:pt x="1380" y="206"/>
                  </a:lnTo>
                  <a:lnTo>
                    <a:pt x="1376" y="206"/>
                  </a:lnTo>
                  <a:lnTo>
                    <a:pt x="1371" y="201"/>
                  </a:lnTo>
                  <a:lnTo>
                    <a:pt x="1366" y="201"/>
                  </a:lnTo>
                  <a:lnTo>
                    <a:pt x="1366" y="206"/>
                  </a:lnTo>
                  <a:lnTo>
                    <a:pt x="1366" y="211"/>
                  </a:lnTo>
                  <a:lnTo>
                    <a:pt x="1362" y="215"/>
                  </a:lnTo>
                  <a:lnTo>
                    <a:pt x="1366" y="215"/>
                  </a:lnTo>
                  <a:lnTo>
                    <a:pt x="1366" y="220"/>
                  </a:lnTo>
                  <a:lnTo>
                    <a:pt x="1366" y="220"/>
                  </a:lnTo>
                  <a:lnTo>
                    <a:pt x="1366" y="224"/>
                  </a:lnTo>
                  <a:lnTo>
                    <a:pt x="1362" y="224"/>
                  </a:lnTo>
                  <a:lnTo>
                    <a:pt x="1362" y="224"/>
                  </a:lnTo>
                  <a:lnTo>
                    <a:pt x="1362" y="229"/>
                  </a:lnTo>
                  <a:lnTo>
                    <a:pt x="1362" y="229"/>
                  </a:lnTo>
                  <a:lnTo>
                    <a:pt x="1357" y="229"/>
                  </a:lnTo>
                  <a:lnTo>
                    <a:pt x="1357" y="229"/>
                  </a:lnTo>
                  <a:lnTo>
                    <a:pt x="1362" y="229"/>
                  </a:lnTo>
                  <a:lnTo>
                    <a:pt x="1362" y="229"/>
                  </a:lnTo>
                  <a:lnTo>
                    <a:pt x="1357" y="233"/>
                  </a:lnTo>
                  <a:lnTo>
                    <a:pt x="1357" y="233"/>
                  </a:lnTo>
                  <a:lnTo>
                    <a:pt x="1353" y="238"/>
                  </a:lnTo>
                  <a:lnTo>
                    <a:pt x="1348" y="247"/>
                  </a:lnTo>
                  <a:lnTo>
                    <a:pt x="1344" y="252"/>
                  </a:lnTo>
                  <a:lnTo>
                    <a:pt x="1344" y="252"/>
                  </a:lnTo>
                  <a:lnTo>
                    <a:pt x="1334" y="265"/>
                  </a:lnTo>
                  <a:lnTo>
                    <a:pt x="1334" y="265"/>
                  </a:lnTo>
                  <a:lnTo>
                    <a:pt x="1330" y="265"/>
                  </a:lnTo>
                  <a:lnTo>
                    <a:pt x="1325" y="270"/>
                  </a:lnTo>
                  <a:lnTo>
                    <a:pt x="1321" y="270"/>
                  </a:lnTo>
                  <a:lnTo>
                    <a:pt x="1316" y="270"/>
                  </a:lnTo>
                  <a:lnTo>
                    <a:pt x="1307" y="279"/>
                  </a:lnTo>
                  <a:lnTo>
                    <a:pt x="1302" y="284"/>
                  </a:lnTo>
                  <a:lnTo>
                    <a:pt x="1298" y="284"/>
                  </a:lnTo>
                  <a:lnTo>
                    <a:pt x="1298" y="293"/>
                  </a:lnTo>
                  <a:lnTo>
                    <a:pt x="1293" y="302"/>
                  </a:lnTo>
                  <a:lnTo>
                    <a:pt x="1289" y="307"/>
                  </a:lnTo>
                  <a:lnTo>
                    <a:pt x="1275" y="316"/>
                  </a:lnTo>
                  <a:lnTo>
                    <a:pt x="1275" y="316"/>
                  </a:lnTo>
                  <a:lnTo>
                    <a:pt x="1266" y="329"/>
                  </a:lnTo>
                  <a:lnTo>
                    <a:pt x="1261" y="329"/>
                  </a:lnTo>
                  <a:lnTo>
                    <a:pt x="1252" y="339"/>
                  </a:lnTo>
                  <a:lnTo>
                    <a:pt x="1252" y="339"/>
                  </a:lnTo>
                  <a:lnTo>
                    <a:pt x="1238" y="352"/>
                  </a:lnTo>
                  <a:lnTo>
                    <a:pt x="1234" y="352"/>
                  </a:lnTo>
                  <a:lnTo>
                    <a:pt x="1229" y="357"/>
                  </a:lnTo>
                  <a:lnTo>
                    <a:pt x="1229" y="357"/>
                  </a:lnTo>
                  <a:lnTo>
                    <a:pt x="1225" y="361"/>
                  </a:lnTo>
                  <a:lnTo>
                    <a:pt x="1211" y="371"/>
                  </a:lnTo>
                  <a:lnTo>
                    <a:pt x="1202" y="375"/>
                  </a:lnTo>
                  <a:lnTo>
                    <a:pt x="1202" y="375"/>
                  </a:lnTo>
                  <a:lnTo>
                    <a:pt x="1193" y="389"/>
                  </a:lnTo>
                  <a:lnTo>
                    <a:pt x="1184" y="393"/>
                  </a:lnTo>
                  <a:lnTo>
                    <a:pt x="1179" y="398"/>
                  </a:lnTo>
                  <a:lnTo>
                    <a:pt x="1174" y="403"/>
                  </a:lnTo>
                  <a:lnTo>
                    <a:pt x="1174" y="403"/>
                  </a:lnTo>
                  <a:lnTo>
                    <a:pt x="1179" y="407"/>
                  </a:lnTo>
                  <a:lnTo>
                    <a:pt x="1179" y="407"/>
                  </a:lnTo>
                  <a:lnTo>
                    <a:pt x="1184" y="412"/>
                  </a:lnTo>
                  <a:lnTo>
                    <a:pt x="1188" y="412"/>
                  </a:lnTo>
                  <a:lnTo>
                    <a:pt x="1188" y="412"/>
                  </a:lnTo>
                  <a:lnTo>
                    <a:pt x="1188" y="416"/>
                  </a:lnTo>
                  <a:lnTo>
                    <a:pt x="1184" y="416"/>
                  </a:lnTo>
                  <a:lnTo>
                    <a:pt x="1179" y="421"/>
                  </a:lnTo>
                  <a:lnTo>
                    <a:pt x="1179" y="421"/>
                  </a:lnTo>
                  <a:lnTo>
                    <a:pt x="1179" y="425"/>
                  </a:lnTo>
                  <a:lnTo>
                    <a:pt x="1184" y="425"/>
                  </a:lnTo>
                  <a:lnTo>
                    <a:pt x="1184" y="430"/>
                  </a:lnTo>
                  <a:lnTo>
                    <a:pt x="1179" y="435"/>
                  </a:lnTo>
                  <a:lnTo>
                    <a:pt x="1170" y="444"/>
                  </a:lnTo>
                  <a:lnTo>
                    <a:pt x="1170" y="444"/>
                  </a:lnTo>
                  <a:lnTo>
                    <a:pt x="1165" y="439"/>
                  </a:lnTo>
                  <a:lnTo>
                    <a:pt x="1165" y="444"/>
                  </a:lnTo>
                  <a:lnTo>
                    <a:pt x="1165" y="444"/>
                  </a:lnTo>
                  <a:lnTo>
                    <a:pt x="1170" y="448"/>
                  </a:lnTo>
                  <a:lnTo>
                    <a:pt x="1170" y="453"/>
                  </a:lnTo>
                  <a:lnTo>
                    <a:pt x="1170" y="453"/>
                  </a:lnTo>
                  <a:lnTo>
                    <a:pt x="1174" y="457"/>
                  </a:lnTo>
                  <a:lnTo>
                    <a:pt x="1174" y="457"/>
                  </a:lnTo>
                  <a:lnTo>
                    <a:pt x="1179" y="462"/>
                  </a:lnTo>
                  <a:lnTo>
                    <a:pt x="1184" y="467"/>
                  </a:lnTo>
                  <a:lnTo>
                    <a:pt x="1184" y="471"/>
                  </a:lnTo>
                  <a:lnTo>
                    <a:pt x="1188" y="476"/>
                  </a:lnTo>
                  <a:lnTo>
                    <a:pt x="1193" y="476"/>
                  </a:lnTo>
                  <a:lnTo>
                    <a:pt x="1197" y="480"/>
                  </a:lnTo>
                  <a:lnTo>
                    <a:pt x="1197" y="480"/>
                  </a:lnTo>
                  <a:lnTo>
                    <a:pt x="1197" y="485"/>
                  </a:lnTo>
                  <a:lnTo>
                    <a:pt x="1202" y="489"/>
                  </a:lnTo>
                  <a:lnTo>
                    <a:pt x="1202" y="494"/>
                  </a:lnTo>
                  <a:lnTo>
                    <a:pt x="1202" y="499"/>
                  </a:lnTo>
                  <a:lnTo>
                    <a:pt x="1197" y="503"/>
                  </a:lnTo>
                  <a:lnTo>
                    <a:pt x="1193" y="508"/>
                  </a:lnTo>
                  <a:lnTo>
                    <a:pt x="1188" y="517"/>
                  </a:lnTo>
                  <a:lnTo>
                    <a:pt x="1188" y="521"/>
                  </a:lnTo>
                  <a:lnTo>
                    <a:pt x="1184" y="521"/>
                  </a:lnTo>
                  <a:lnTo>
                    <a:pt x="1184" y="526"/>
                  </a:lnTo>
                  <a:lnTo>
                    <a:pt x="1184" y="535"/>
                  </a:lnTo>
                  <a:lnTo>
                    <a:pt x="1184" y="535"/>
                  </a:lnTo>
                  <a:lnTo>
                    <a:pt x="1179" y="540"/>
                  </a:lnTo>
                  <a:lnTo>
                    <a:pt x="1174" y="544"/>
                  </a:lnTo>
                  <a:lnTo>
                    <a:pt x="1174" y="549"/>
                  </a:lnTo>
                  <a:lnTo>
                    <a:pt x="1174" y="553"/>
                  </a:lnTo>
                  <a:lnTo>
                    <a:pt x="1174" y="558"/>
                  </a:lnTo>
                  <a:lnTo>
                    <a:pt x="1174" y="558"/>
                  </a:lnTo>
                  <a:lnTo>
                    <a:pt x="1174" y="563"/>
                  </a:lnTo>
                  <a:lnTo>
                    <a:pt x="1174" y="567"/>
                  </a:lnTo>
                  <a:lnTo>
                    <a:pt x="1174" y="572"/>
                  </a:lnTo>
                  <a:lnTo>
                    <a:pt x="1170" y="585"/>
                  </a:lnTo>
                  <a:lnTo>
                    <a:pt x="1170" y="595"/>
                  </a:lnTo>
                  <a:lnTo>
                    <a:pt x="1165" y="604"/>
                  </a:lnTo>
                  <a:lnTo>
                    <a:pt x="1165" y="613"/>
                  </a:lnTo>
                  <a:lnTo>
                    <a:pt x="1165" y="622"/>
                  </a:lnTo>
                  <a:lnTo>
                    <a:pt x="1165" y="627"/>
                  </a:lnTo>
                  <a:lnTo>
                    <a:pt x="1165" y="631"/>
                  </a:lnTo>
                  <a:lnTo>
                    <a:pt x="1165" y="640"/>
                  </a:lnTo>
                  <a:lnTo>
                    <a:pt x="1165" y="645"/>
                  </a:lnTo>
                  <a:lnTo>
                    <a:pt x="1161" y="649"/>
                  </a:lnTo>
                  <a:lnTo>
                    <a:pt x="1161" y="654"/>
                  </a:lnTo>
                  <a:lnTo>
                    <a:pt x="1156" y="659"/>
                  </a:lnTo>
                  <a:lnTo>
                    <a:pt x="1156" y="659"/>
                  </a:lnTo>
                  <a:lnTo>
                    <a:pt x="1156" y="659"/>
                  </a:lnTo>
                  <a:lnTo>
                    <a:pt x="1156" y="663"/>
                  </a:lnTo>
                  <a:lnTo>
                    <a:pt x="1152" y="668"/>
                  </a:lnTo>
                  <a:lnTo>
                    <a:pt x="1147" y="672"/>
                  </a:lnTo>
                  <a:lnTo>
                    <a:pt x="1138" y="672"/>
                  </a:lnTo>
                  <a:lnTo>
                    <a:pt x="1138" y="677"/>
                  </a:lnTo>
                  <a:lnTo>
                    <a:pt x="1138" y="677"/>
                  </a:lnTo>
                  <a:lnTo>
                    <a:pt x="1138" y="681"/>
                  </a:lnTo>
                  <a:lnTo>
                    <a:pt x="1138" y="681"/>
                  </a:lnTo>
                  <a:lnTo>
                    <a:pt x="1133" y="681"/>
                  </a:lnTo>
                  <a:lnTo>
                    <a:pt x="1129" y="686"/>
                  </a:lnTo>
                  <a:lnTo>
                    <a:pt x="1129" y="691"/>
                  </a:lnTo>
                  <a:lnTo>
                    <a:pt x="1129" y="695"/>
                  </a:lnTo>
                  <a:lnTo>
                    <a:pt x="1124" y="695"/>
                  </a:lnTo>
                  <a:lnTo>
                    <a:pt x="1129" y="700"/>
                  </a:lnTo>
                  <a:lnTo>
                    <a:pt x="1124" y="700"/>
                  </a:lnTo>
                  <a:lnTo>
                    <a:pt x="1124" y="700"/>
                  </a:lnTo>
                  <a:lnTo>
                    <a:pt x="1124" y="704"/>
                  </a:lnTo>
                  <a:lnTo>
                    <a:pt x="1124" y="704"/>
                  </a:lnTo>
                  <a:lnTo>
                    <a:pt x="1124" y="704"/>
                  </a:lnTo>
                  <a:lnTo>
                    <a:pt x="1120" y="704"/>
                  </a:lnTo>
                  <a:lnTo>
                    <a:pt x="1115" y="713"/>
                  </a:lnTo>
                  <a:lnTo>
                    <a:pt x="1115" y="713"/>
                  </a:lnTo>
                  <a:lnTo>
                    <a:pt x="1115" y="713"/>
                  </a:lnTo>
                  <a:lnTo>
                    <a:pt x="1120" y="713"/>
                  </a:lnTo>
                  <a:lnTo>
                    <a:pt x="1124" y="718"/>
                  </a:lnTo>
                  <a:lnTo>
                    <a:pt x="1124" y="718"/>
                  </a:lnTo>
                  <a:lnTo>
                    <a:pt x="1120" y="718"/>
                  </a:lnTo>
                  <a:lnTo>
                    <a:pt x="1120" y="718"/>
                  </a:lnTo>
                  <a:lnTo>
                    <a:pt x="1120" y="718"/>
                  </a:lnTo>
                  <a:lnTo>
                    <a:pt x="1115" y="718"/>
                  </a:lnTo>
                  <a:lnTo>
                    <a:pt x="1115" y="723"/>
                  </a:lnTo>
                  <a:lnTo>
                    <a:pt x="1115" y="723"/>
                  </a:lnTo>
                  <a:lnTo>
                    <a:pt x="1110" y="727"/>
                  </a:lnTo>
                  <a:lnTo>
                    <a:pt x="1110" y="727"/>
                  </a:lnTo>
                  <a:lnTo>
                    <a:pt x="1110" y="732"/>
                  </a:lnTo>
                  <a:lnTo>
                    <a:pt x="1110" y="732"/>
                  </a:lnTo>
                  <a:lnTo>
                    <a:pt x="1106" y="736"/>
                  </a:lnTo>
                  <a:lnTo>
                    <a:pt x="1106" y="732"/>
                  </a:lnTo>
                  <a:lnTo>
                    <a:pt x="1101" y="736"/>
                  </a:lnTo>
                  <a:lnTo>
                    <a:pt x="1101" y="736"/>
                  </a:lnTo>
                  <a:lnTo>
                    <a:pt x="1106" y="741"/>
                  </a:lnTo>
                  <a:lnTo>
                    <a:pt x="1106" y="745"/>
                  </a:lnTo>
                  <a:lnTo>
                    <a:pt x="1101" y="745"/>
                  </a:lnTo>
                  <a:lnTo>
                    <a:pt x="1097" y="745"/>
                  </a:lnTo>
                  <a:lnTo>
                    <a:pt x="1092" y="750"/>
                  </a:lnTo>
                  <a:lnTo>
                    <a:pt x="1088" y="755"/>
                  </a:lnTo>
                  <a:lnTo>
                    <a:pt x="1088" y="755"/>
                  </a:lnTo>
                  <a:lnTo>
                    <a:pt x="1088" y="759"/>
                  </a:lnTo>
                  <a:lnTo>
                    <a:pt x="1088" y="759"/>
                  </a:lnTo>
                  <a:lnTo>
                    <a:pt x="1088" y="764"/>
                  </a:lnTo>
                  <a:lnTo>
                    <a:pt x="1088" y="764"/>
                  </a:lnTo>
                  <a:lnTo>
                    <a:pt x="1092" y="768"/>
                  </a:lnTo>
                  <a:lnTo>
                    <a:pt x="1097" y="773"/>
                  </a:lnTo>
                  <a:lnTo>
                    <a:pt x="1097" y="777"/>
                  </a:lnTo>
                  <a:lnTo>
                    <a:pt x="1092" y="782"/>
                  </a:lnTo>
                  <a:lnTo>
                    <a:pt x="1083" y="787"/>
                  </a:lnTo>
                  <a:lnTo>
                    <a:pt x="1083" y="787"/>
                  </a:lnTo>
                  <a:lnTo>
                    <a:pt x="1078" y="787"/>
                  </a:lnTo>
                  <a:lnTo>
                    <a:pt x="1074" y="787"/>
                  </a:lnTo>
                  <a:lnTo>
                    <a:pt x="1074" y="782"/>
                  </a:lnTo>
                  <a:lnTo>
                    <a:pt x="1069" y="782"/>
                  </a:lnTo>
                  <a:lnTo>
                    <a:pt x="1069" y="782"/>
                  </a:lnTo>
                  <a:lnTo>
                    <a:pt x="1065" y="787"/>
                  </a:lnTo>
                  <a:lnTo>
                    <a:pt x="1065" y="787"/>
                  </a:lnTo>
                  <a:lnTo>
                    <a:pt x="1060" y="791"/>
                  </a:lnTo>
                  <a:lnTo>
                    <a:pt x="1060" y="800"/>
                  </a:lnTo>
                  <a:lnTo>
                    <a:pt x="1056" y="809"/>
                  </a:lnTo>
                  <a:lnTo>
                    <a:pt x="1056" y="819"/>
                  </a:lnTo>
                  <a:lnTo>
                    <a:pt x="1060" y="819"/>
                  </a:lnTo>
                  <a:lnTo>
                    <a:pt x="1060" y="823"/>
                  </a:lnTo>
                  <a:lnTo>
                    <a:pt x="1060" y="823"/>
                  </a:lnTo>
                  <a:lnTo>
                    <a:pt x="1060" y="823"/>
                  </a:lnTo>
                  <a:lnTo>
                    <a:pt x="1056" y="823"/>
                  </a:lnTo>
                  <a:lnTo>
                    <a:pt x="1051" y="823"/>
                  </a:lnTo>
                  <a:lnTo>
                    <a:pt x="1051" y="828"/>
                  </a:lnTo>
                  <a:lnTo>
                    <a:pt x="1046" y="828"/>
                  </a:lnTo>
                  <a:lnTo>
                    <a:pt x="1042" y="832"/>
                  </a:lnTo>
                  <a:lnTo>
                    <a:pt x="1042" y="832"/>
                  </a:lnTo>
                  <a:lnTo>
                    <a:pt x="1037" y="828"/>
                  </a:lnTo>
                  <a:lnTo>
                    <a:pt x="1033" y="828"/>
                  </a:lnTo>
                  <a:lnTo>
                    <a:pt x="1033" y="823"/>
                  </a:lnTo>
                  <a:lnTo>
                    <a:pt x="1033" y="819"/>
                  </a:lnTo>
                  <a:lnTo>
                    <a:pt x="1037" y="814"/>
                  </a:lnTo>
                  <a:lnTo>
                    <a:pt x="1037" y="819"/>
                  </a:lnTo>
                  <a:lnTo>
                    <a:pt x="1037" y="814"/>
                  </a:lnTo>
                  <a:lnTo>
                    <a:pt x="1037" y="814"/>
                  </a:lnTo>
                  <a:lnTo>
                    <a:pt x="1037" y="809"/>
                  </a:lnTo>
                  <a:lnTo>
                    <a:pt x="1033" y="805"/>
                  </a:lnTo>
                  <a:lnTo>
                    <a:pt x="1033" y="805"/>
                  </a:lnTo>
                  <a:lnTo>
                    <a:pt x="1033" y="809"/>
                  </a:lnTo>
                  <a:lnTo>
                    <a:pt x="1033" y="809"/>
                  </a:lnTo>
                  <a:lnTo>
                    <a:pt x="1028" y="814"/>
                  </a:lnTo>
                  <a:lnTo>
                    <a:pt x="1028" y="814"/>
                  </a:lnTo>
                  <a:lnTo>
                    <a:pt x="1024" y="814"/>
                  </a:lnTo>
                  <a:lnTo>
                    <a:pt x="1024" y="814"/>
                  </a:lnTo>
                  <a:lnTo>
                    <a:pt x="1019" y="819"/>
                  </a:lnTo>
                  <a:lnTo>
                    <a:pt x="1014" y="819"/>
                  </a:lnTo>
                  <a:lnTo>
                    <a:pt x="1014" y="814"/>
                  </a:lnTo>
                  <a:lnTo>
                    <a:pt x="1014" y="814"/>
                  </a:lnTo>
                  <a:lnTo>
                    <a:pt x="1010" y="814"/>
                  </a:lnTo>
                  <a:lnTo>
                    <a:pt x="1010" y="814"/>
                  </a:lnTo>
                  <a:lnTo>
                    <a:pt x="1005" y="805"/>
                  </a:lnTo>
                  <a:lnTo>
                    <a:pt x="1005" y="805"/>
                  </a:lnTo>
                  <a:lnTo>
                    <a:pt x="1010" y="800"/>
                  </a:lnTo>
                  <a:lnTo>
                    <a:pt x="1010" y="800"/>
                  </a:lnTo>
                  <a:lnTo>
                    <a:pt x="1010" y="800"/>
                  </a:lnTo>
                  <a:lnTo>
                    <a:pt x="1010" y="796"/>
                  </a:lnTo>
                  <a:lnTo>
                    <a:pt x="1010" y="796"/>
                  </a:lnTo>
                  <a:lnTo>
                    <a:pt x="1005" y="796"/>
                  </a:lnTo>
                  <a:lnTo>
                    <a:pt x="1001" y="796"/>
                  </a:lnTo>
                  <a:lnTo>
                    <a:pt x="1001" y="796"/>
                  </a:lnTo>
                  <a:lnTo>
                    <a:pt x="996" y="796"/>
                  </a:lnTo>
                  <a:lnTo>
                    <a:pt x="996" y="791"/>
                  </a:lnTo>
                  <a:lnTo>
                    <a:pt x="987" y="791"/>
                  </a:lnTo>
                  <a:lnTo>
                    <a:pt x="982" y="787"/>
                  </a:lnTo>
                  <a:lnTo>
                    <a:pt x="982" y="782"/>
                  </a:lnTo>
                  <a:lnTo>
                    <a:pt x="987" y="777"/>
                  </a:lnTo>
                  <a:lnTo>
                    <a:pt x="987" y="777"/>
                  </a:lnTo>
                  <a:lnTo>
                    <a:pt x="982" y="777"/>
                  </a:lnTo>
                  <a:lnTo>
                    <a:pt x="982" y="777"/>
                  </a:lnTo>
                  <a:lnTo>
                    <a:pt x="973" y="773"/>
                  </a:lnTo>
                  <a:lnTo>
                    <a:pt x="973" y="768"/>
                  </a:lnTo>
                  <a:lnTo>
                    <a:pt x="969" y="768"/>
                  </a:lnTo>
                  <a:lnTo>
                    <a:pt x="969" y="768"/>
                  </a:lnTo>
                  <a:lnTo>
                    <a:pt x="969" y="768"/>
                  </a:lnTo>
                  <a:lnTo>
                    <a:pt x="964" y="768"/>
                  </a:lnTo>
                  <a:lnTo>
                    <a:pt x="960" y="755"/>
                  </a:lnTo>
                  <a:lnTo>
                    <a:pt x="941" y="732"/>
                  </a:lnTo>
                  <a:lnTo>
                    <a:pt x="941" y="727"/>
                  </a:lnTo>
                  <a:lnTo>
                    <a:pt x="928" y="723"/>
                  </a:lnTo>
                  <a:lnTo>
                    <a:pt x="918" y="718"/>
                  </a:lnTo>
                  <a:lnTo>
                    <a:pt x="914" y="718"/>
                  </a:lnTo>
                  <a:lnTo>
                    <a:pt x="905" y="704"/>
                  </a:lnTo>
                  <a:lnTo>
                    <a:pt x="891" y="686"/>
                  </a:lnTo>
                  <a:lnTo>
                    <a:pt x="882" y="672"/>
                  </a:lnTo>
                  <a:lnTo>
                    <a:pt x="882" y="659"/>
                  </a:lnTo>
                  <a:lnTo>
                    <a:pt x="882" y="654"/>
                  </a:lnTo>
                  <a:lnTo>
                    <a:pt x="882" y="649"/>
                  </a:lnTo>
                  <a:lnTo>
                    <a:pt x="886" y="636"/>
                  </a:lnTo>
                  <a:lnTo>
                    <a:pt x="886" y="631"/>
                  </a:lnTo>
                  <a:lnTo>
                    <a:pt x="882" y="617"/>
                  </a:lnTo>
                  <a:lnTo>
                    <a:pt x="873" y="613"/>
                  </a:lnTo>
                  <a:lnTo>
                    <a:pt x="859" y="613"/>
                  </a:lnTo>
                  <a:lnTo>
                    <a:pt x="850" y="613"/>
                  </a:lnTo>
                  <a:lnTo>
                    <a:pt x="841" y="613"/>
                  </a:lnTo>
                  <a:lnTo>
                    <a:pt x="832" y="613"/>
                  </a:lnTo>
                  <a:lnTo>
                    <a:pt x="818" y="608"/>
                  </a:lnTo>
                  <a:lnTo>
                    <a:pt x="818" y="604"/>
                  </a:lnTo>
                  <a:lnTo>
                    <a:pt x="809" y="599"/>
                  </a:lnTo>
                  <a:lnTo>
                    <a:pt x="800" y="595"/>
                  </a:lnTo>
                  <a:lnTo>
                    <a:pt x="795" y="595"/>
                  </a:lnTo>
                  <a:lnTo>
                    <a:pt x="790" y="595"/>
                  </a:lnTo>
                  <a:lnTo>
                    <a:pt x="790" y="590"/>
                  </a:lnTo>
                  <a:lnTo>
                    <a:pt x="790" y="585"/>
                  </a:lnTo>
                  <a:lnTo>
                    <a:pt x="795" y="585"/>
                  </a:lnTo>
                  <a:lnTo>
                    <a:pt x="800" y="585"/>
                  </a:lnTo>
                  <a:lnTo>
                    <a:pt x="804" y="585"/>
                  </a:lnTo>
                  <a:lnTo>
                    <a:pt x="804" y="576"/>
                  </a:lnTo>
                  <a:lnTo>
                    <a:pt x="800" y="572"/>
                  </a:lnTo>
                  <a:lnTo>
                    <a:pt x="795" y="572"/>
                  </a:lnTo>
                  <a:lnTo>
                    <a:pt x="804" y="567"/>
                  </a:lnTo>
                  <a:lnTo>
                    <a:pt x="809" y="563"/>
                  </a:lnTo>
                  <a:lnTo>
                    <a:pt x="813" y="567"/>
                  </a:lnTo>
                  <a:lnTo>
                    <a:pt x="818" y="572"/>
                  </a:lnTo>
                  <a:lnTo>
                    <a:pt x="827" y="572"/>
                  </a:lnTo>
                  <a:lnTo>
                    <a:pt x="836" y="563"/>
                  </a:lnTo>
                  <a:lnTo>
                    <a:pt x="832" y="553"/>
                  </a:lnTo>
                  <a:lnTo>
                    <a:pt x="827" y="549"/>
                  </a:lnTo>
                  <a:lnTo>
                    <a:pt x="827" y="540"/>
                  </a:lnTo>
                  <a:lnTo>
                    <a:pt x="818" y="526"/>
                  </a:lnTo>
                  <a:lnTo>
                    <a:pt x="818" y="517"/>
                  </a:lnTo>
                  <a:lnTo>
                    <a:pt x="818" y="512"/>
                  </a:lnTo>
                  <a:lnTo>
                    <a:pt x="818" y="508"/>
                  </a:lnTo>
                  <a:lnTo>
                    <a:pt x="818" y="503"/>
                  </a:lnTo>
                  <a:lnTo>
                    <a:pt x="818" y="499"/>
                  </a:lnTo>
                  <a:lnTo>
                    <a:pt x="813" y="485"/>
                  </a:lnTo>
                  <a:lnTo>
                    <a:pt x="809" y="467"/>
                  </a:lnTo>
                  <a:lnTo>
                    <a:pt x="809" y="457"/>
                  </a:lnTo>
                  <a:lnTo>
                    <a:pt x="809" y="453"/>
                  </a:lnTo>
                  <a:lnTo>
                    <a:pt x="804" y="444"/>
                  </a:lnTo>
                  <a:lnTo>
                    <a:pt x="809" y="439"/>
                  </a:lnTo>
                  <a:lnTo>
                    <a:pt x="818" y="430"/>
                  </a:lnTo>
                  <a:lnTo>
                    <a:pt x="818" y="425"/>
                  </a:lnTo>
                  <a:lnTo>
                    <a:pt x="818" y="421"/>
                  </a:lnTo>
                  <a:lnTo>
                    <a:pt x="822" y="421"/>
                  </a:lnTo>
                  <a:lnTo>
                    <a:pt x="832" y="416"/>
                  </a:lnTo>
                  <a:lnTo>
                    <a:pt x="827" y="403"/>
                  </a:lnTo>
                  <a:lnTo>
                    <a:pt x="822" y="398"/>
                  </a:lnTo>
                  <a:lnTo>
                    <a:pt x="822" y="393"/>
                  </a:lnTo>
                  <a:lnTo>
                    <a:pt x="832" y="393"/>
                  </a:lnTo>
                  <a:lnTo>
                    <a:pt x="841" y="384"/>
                  </a:lnTo>
                  <a:lnTo>
                    <a:pt x="841" y="371"/>
                  </a:lnTo>
                  <a:lnTo>
                    <a:pt x="845" y="357"/>
                  </a:lnTo>
                  <a:lnTo>
                    <a:pt x="845" y="348"/>
                  </a:lnTo>
                  <a:lnTo>
                    <a:pt x="841" y="343"/>
                  </a:lnTo>
                  <a:lnTo>
                    <a:pt x="841" y="334"/>
                  </a:lnTo>
                  <a:lnTo>
                    <a:pt x="841" y="329"/>
                  </a:lnTo>
                  <a:lnTo>
                    <a:pt x="850" y="329"/>
                  </a:lnTo>
                  <a:lnTo>
                    <a:pt x="868" y="329"/>
                  </a:lnTo>
                  <a:lnTo>
                    <a:pt x="873" y="334"/>
                  </a:lnTo>
                  <a:lnTo>
                    <a:pt x="877" y="329"/>
                  </a:lnTo>
                  <a:lnTo>
                    <a:pt x="882" y="329"/>
                  </a:lnTo>
                  <a:lnTo>
                    <a:pt x="886" y="329"/>
                  </a:lnTo>
                  <a:lnTo>
                    <a:pt x="886" y="334"/>
                  </a:lnTo>
                  <a:lnTo>
                    <a:pt x="891" y="334"/>
                  </a:lnTo>
                  <a:lnTo>
                    <a:pt x="896" y="339"/>
                  </a:lnTo>
                  <a:lnTo>
                    <a:pt x="900" y="348"/>
                  </a:lnTo>
                  <a:lnTo>
                    <a:pt x="905" y="352"/>
                  </a:lnTo>
                  <a:lnTo>
                    <a:pt x="909" y="357"/>
                  </a:lnTo>
                  <a:lnTo>
                    <a:pt x="918" y="357"/>
                  </a:lnTo>
                  <a:lnTo>
                    <a:pt x="918" y="352"/>
                  </a:lnTo>
                  <a:lnTo>
                    <a:pt x="923" y="352"/>
                  </a:lnTo>
                  <a:lnTo>
                    <a:pt x="928" y="352"/>
                  </a:lnTo>
                  <a:lnTo>
                    <a:pt x="928" y="348"/>
                  </a:lnTo>
                  <a:lnTo>
                    <a:pt x="932" y="343"/>
                  </a:lnTo>
                  <a:lnTo>
                    <a:pt x="946" y="334"/>
                  </a:lnTo>
                  <a:lnTo>
                    <a:pt x="950" y="329"/>
                  </a:lnTo>
                  <a:lnTo>
                    <a:pt x="950" y="329"/>
                  </a:lnTo>
                  <a:lnTo>
                    <a:pt x="955" y="329"/>
                  </a:lnTo>
                  <a:lnTo>
                    <a:pt x="960" y="329"/>
                  </a:lnTo>
                  <a:lnTo>
                    <a:pt x="964" y="329"/>
                  </a:lnTo>
                  <a:lnTo>
                    <a:pt x="973" y="334"/>
                  </a:lnTo>
                  <a:lnTo>
                    <a:pt x="973" y="334"/>
                  </a:lnTo>
                  <a:lnTo>
                    <a:pt x="973" y="329"/>
                  </a:lnTo>
                  <a:lnTo>
                    <a:pt x="973" y="329"/>
                  </a:lnTo>
                  <a:lnTo>
                    <a:pt x="978" y="325"/>
                  </a:lnTo>
                  <a:lnTo>
                    <a:pt x="978" y="320"/>
                  </a:lnTo>
                  <a:lnTo>
                    <a:pt x="978" y="311"/>
                  </a:lnTo>
                  <a:lnTo>
                    <a:pt x="978" y="307"/>
                  </a:lnTo>
                  <a:lnTo>
                    <a:pt x="973" y="302"/>
                  </a:lnTo>
                  <a:lnTo>
                    <a:pt x="973" y="293"/>
                  </a:lnTo>
                  <a:lnTo>
                    <a:pt x="973" y="293"/>
                  </a:lnTo>
                  <a:lnTo>
                    <a:pt x="973" y="288"/>
                  </a:lnTo>
                  <a:lnTo>
                    <a:pt x="973" y="288"/>
                  </a:lnTo>
                  <a:lnTo>
                    <a:pt x="973" y="284"/>
                  </a:lnTo>
                  <a:lnTo>
                    <a:pt x="978" y="279"/>
                  </a:lnTo>
                  <a:lnTo>
                    <a:pt x="982" y="279"/>
                  </a:lnTo>
                  <a:lnTo>
                    <a:pt x="987" y="275"/>
                  </a:lnTo>
                  <a:lnTo>
                    <a:pt x="987" y="270"/>
                  </a:lnTo>
                  <a:lnTo>
                    <a:pt x="992" y="265"/>
                  </a:lnTo>
                  <a:lnTo>
                    <a:pt x="992" y="265"/>
                  </a:lnTo>
                  <a:lnTo>
                    <a:pt x="996" y="261"/>
                  </a:lnTo>
                  <a:lnTo>
                    <a:pt x="1001" y="261"/>
                  </a:lnTo>
                  <a:lnTo>
                    <a:pt x="1005" y="252"/>
                  </a:lnTo>
                  <a:lnTo>
                    <a:pt x="1010" y="252"/>
                  </a:lnTo>
                  <a:lnTo>
                    <a:pt x="1010" y="247"/>
                  </a:lnTo>
                  <a:lnTo>
                    <a:pt x="1014" y="243"/>
                  </a:lnTo>
                  <a:lnTo>
                    <a:pt x="1014" y="243"/>
                  </a:lnTo>
                  <a:lnTo>
                    <a:pt x="1014" y="238"/>
                  </a:lnTo>
                  <a:lnTo>
                    <a:pt x="1014" y="233"/>
                  </a:lnTo>
                  <a:lnTo>
                    <a:pt x="1019" y="233"/>
                  </a:lnTo>
                  <a:lnTo>
                    <a:pt x="1019" y="229"/>
                  </a:lnTo>
                  <a:lnTo>
                    <a:pt x="1028" y="224"/>
                  </a:lnTo>
                  <a:lnTo>
                    <a:pt x="1037" y="220"/>
                  </a:lnTo>
                  <a:lnTo>
                    <a:pt x="1037" y="220"/>
                  </a:lnTo>
                  <a:lnTo>
                    <a:pt x="1046" y="220"/>
                  </a:lnTo>
                  <a:lnTo>
                    <a:pt x="1051" y="220"/>
                  </a:lnTo>
                  <a:lnTo>
                    <a:pt x="1056" y="220"/>
                  </a:lnTo>
                  <a:lnTo>
                    <a:pt x="1060" y="220"/>
                  </a:lnTo>
                  <a:lnTo>
                    <a:pt x="1060" y="215"/>
                  </a:lnTo>
                  <a:lnTo>
                    <a:pt x="1060" y="211"/>
                  </a:lnTo>
                  <a:lnTo>
                    <a:pt x="1060" y="201"/>
                  </a:lnTo>
                  <a:lnTo>
                    <a:pt x="1060" y="201"/>
                  </a:lnTo>
                  <a:lnTo>
                    <a:pt x="1060" y="197"/>
                  </a:lnTo>
                  <a:lnTo>
                    <a:pt x="1056" y="197"/>
                  </a:lnTo>
                  <a:lnTo>
                    <a:pt x="1051" y="197"/>
                  </a:lnTo>
                  <a:lnTo>
                    <a:pt x="1046" y="192"/>
                  </a:lnTo>
                  <a:lnTo>
                    <a:pt x="1046" y="188"/>
                  </a:lnTo>
                  <a:lnTo>
                    <a:pt x="1046" y="179"/>
                  </a:lnTo>
                  <a:lnTo>
                    <a:pt x="1042" y="179"/>
                  </a:lnTo>
                  <a:lnTo>
                    <a:pt x="1037" y="174"/>
                  </a:lnTo>
                  <a:lnTo>
                    <a:pt x="1037" y="169"/>
                  </a:lnTo>
                  <a:lnTo>
                    <a:pt x="1037" y="169"/>
                  </a:lnTo>
                  <a:lnTo>
                    <a:pt x="1037" y="165"/>
                  </a:lnTo>
                  <a:lnTo>
                    <a:pt x="1033" y="156"/>
                  </a:lnTo>
                  <a:lnTo>
                    <a:pt x="1033" y="156"/>
                  </a:lnTo>
                  <a:lnTo>
                    <a:pt x="1033" y="151"/>
                  </a:lnTo>
                  <a:lnTo>
                    <a:pt x="1028" y="147"/>
                  </a:lnTo>
                  <a:lnTo>
                    <a:pt x="1028" y="142"/>
                  </a:lnTo>
                  <a:lnTo>
                    <a:pt x="1024" y="137"/>
                  </a:lnTo>
                  <a:lnTo>
                    <a:pt x="1019" y="133"/>
                  </a:lnTo>
                  <a:lnTo>
                    <a:pt x="1019" y="133"/>
                  </a:lnTo>
                  <a:lnTo>
                    <a:pt x="1005" y="119"/>
                  </a:lnTo>
                  <a:lnTo>
                    <a:pt x="1001" y="119"/>
                  </a:lnTo>
                  <a:lnTo>
                    <a:pt x="1001" y="110"/>
                  </a:lnTo>
                  <a:lnTo>
                    <a:pt x="996" y="110"/>
                  </a:lnTo>
                  <a:lnTo>
                    <a:pt x="992" y="101"/>
                  </a:lnTo>
                  <a:lnTo>
                    <a:pt x="996" y="101"/>
                  </a:lnTo>
                  <a:lnTo>
                    <a:pt x="1001" y="101"/>
                  </a:lnTo>
                  <a:lnTo>
                    <a:pt x="1005" y="96"/>
                  </a:lnTo>
                  <a:lnTo>
                    <a:pt x="1014" y="87"/>
                  </a:lnTo>
                  <a:lnTo>
                    <a:pt x="1014" y="87"/>
                  </a:lnTo>
                  <a:lnTo>
                    <a:pt x="1014" y="83"/>
                  </a:lnTo>
                  <a:lnTo>
                    <a:pt x="1019" y="83"/>
                  </a:lnTo>
                  <a:lnTo>
                    <a:pt x="1028" y="73"/>
                  </a:lnTo>
                  <a:lnTo>
                    <a:pt x="1033" y="73"/>
                  </a:lnTo>
                  <a:lnTo>
                    <a:pt x="1037" y="69"/>
                  </a:lnTo>
                  <a:lnTo>
                    <a:pt x="1037" y="69"/>
                  </a:lnTo>
                  <a:lnTo>
                    <a:pt x="1051" y="69"/>
                  </a:lnTo>
                  <a:lnTo>
                    <a:pt x="1056" y="69"/>
                  </a:lnTo>
                  <a:lnTo>
                    <a:pt x="1065" y="69"/>
                  </a:lnTo>
                  <a:lnTo>
                    <a:pt x="1078" y="69"/>
                  </a:lnTo>
                  <a:lnTo>
                    <a:pt x="1083" y="69"/>
                  </a:lnTo>
                  <a:lnTo>
                    <a:pt x="1083" y="69"/>
                  </a:lnTo>
                  <a:lnTo>
                    <a:pt x="1083" y="69"/>
                  </a:lnTo>
                  <a:lnTo>
                    <a:pt x="1092" y="69"/>
                  </a:lnTo>
                  <a:lnTo>
                    <a:pt x="1101" y="69"/>
                  </a:lnTo>
                  <a:lnTo>
                    <a:pt x="1101" y="64"/>
                  </a:lnTo>
                  <a:lnTo>
                    <a:pt x="1106" y="64"/>
                  </a:lnTo>
                  <a:lnTo>
                    <a:pt x="1110" y="60"/>
                  </a:lnTo>
                  <a:lnTo>
                    <a:pt x="1115" y="51"/>
                  </a:lnTo>
                  <a:lnTo>
                    <a:pt x="1115" y="46"/>
                  </a:lnTo>
                  <a:lnTo>
                    <a:pt x="1115" y="41"/>
                  </a:lnTo>
                  <a:lnTo>
                    <a:pt x="1110" y="37"/>
                  </a:lnTo>
                  <a:lnTo>
                    <a:pt x="1106" y="32"/>
                  </a:lnTo>
                  <a:lnTo>
                    <a:pt x="1101" y="32"/>
                  </a:lnTo>
                  <a:lnTo>
                    <a:pt x="1101" y="28"/>
                  </a:lnTo>
                  <a:lnTo>
                    <a:pt x="1101" y="28"/>
                  </a:lnTo>
                  <a:lnTo>
                    <a:pt x="1092" y="32"/>
                  </a:lnTo>
                  <a:lnTo>
                    <a:pt x="1083" y="32"/>
                  </a:lnTo>
                  <a:lnTo>
                    <a:pt x="1083" y="28"/>
                  </a:lnTo>
                  <a:lnTo>
                    <a:pt x="1083" y="23"/>
                  </a:lnTo>
                  <a:lnTo>
                    <a:pt x="1083" y="23"/>
                  </a:lnTo>
                  <a:lnTo>
                    <a:pt x="1083" y="23"/>
                  </a:lnTo>
                  <a:lnTo>
                    <a:pt x="1088" y="19"/>
                  </a:lnTo>
                  <a:lnTo>
                    <a:pt x="1092" y="19"/>
                  </a:lnTo>
                  <a:lnTo>
                    <a:pt x="1097" y="14"/>
                  </a:lnTo>
                  <a:lnTo>
                    <a:pt x="1101" y="9"/>
                  </a:lnTo>
                  <a:lnTo>
                    <a:pt x="1101" y="5"/>
                  </a:lnTo>
                  <a:lnTo>
                    <a:pt x="1101" y="0"/>
                  </a:lnTo>
                  <a:lnTo>
                    <a:pt x="1106" y="0"/>
                  </a:lnTo>
                  <a:lnTo>
                    <a:pt x="1110" y="0"/>
                  </a:lnTo>
                  <a:lnTo>
                    <a:pt x="1115" y="0"/>
                  </a:lnTo>
                  <a:lnTo>
                    <a:pt x="1120" y="0"/>
                  </a:lnTo>
                  <a:lnTo>
                    <a:pt x="1124" y="5"/>
                  </a:lnTo>
                  <a:lnTo>
                    <a:pt x="1129" y="5"/>
                  </a:lnTo>
                  <a:lnTo>
                    <a:pt x="1142" y="5"/>
                  </a:lnTo>
                  <a:lnTo>
                    <a:pt x="1147" y="5"/>
                  </a:lnTo>
                  <a:lnTo>
                    <a:pt x="1161" y="9"/>
                  </a:lnTo>
                  <a:lnTo>
                    <a:pt x="1165" y="9"/>
                  </a:lnTo>
                  <a:lnTo>
                    <a:pt x="1170" y="9"/>
                  </a:lnTo>
                  <a:lnTo>
                    <a:pt x="1174" y="14"/>
                  </a:lnTo>
                  <a:lnTo>
                    <a:pt x="1193" y="19"/>
                  </a:lnTo>
                  <a:lnTo>
                    <a:pt x="1197" y="19"/>
                  </a:lnTo>
                  <a:lnTo>
                    <a:pt x="1211" y="23"/>
                  </a:lnTo>
                  <a:lnTo>
                    <a:pt x="1216" y="23"/>
                  </a:lnTo>
                  <a:lnTo>
                    <a:pt x="1229" y="23"/>
                  </a:lnTo>
                  <a:lnTo>
                    <a:pt x="1234" y="23"/>
                  </a:lnTo>
                  <a:lnTo>
                    <a:pt x="1234" y="28"/>
                  </a:lnTo>
                  <a:lnTo>
                    <a:pt x="1238" y="28"/>
                  </a:lnTo>
                  <a:lnTo>
                    <a:pt x="1243" y="28"/>
                  </a:lnTo>
                  <a:lnTo>
                    <a:pt x="1248" y="32"/>
                  </a:lnTo>
                  <a:lnTo>
                    <a:pt x="1252" y="32"/>
                  </a:lnTo>
                  <a:lnTo>
                    <a:pt x="1252" y="37"/>
                  </a:lnTo>
                  <a:lnTo>
                    <a:pt x="1248" y="41"/>
                  </a:lnTo>
                  <a:lnTo>
                    <a:pt x="1248" y="46"/>
                  </a:lnTo>
                  <a:lnTo>
                    <a:pt x="1248" y="46"/>
                  </a:lnTo>
                  <a:lnTo>
                    <a:pt x="1243" y="46"/>
                  </a:lnTo>
                  <a:lnTo>
                    <a:pt x="1243" y="51"/>
                  </a:lnTo>
                  <a:lnTo>
                    <a:pt x="1243" y="55"/>
                  </a:lnTo>
                  <a:lnTo>
                    <a:pt x="1243" y="60"/>
                  </a:lnTo>
                  <a:lnTo>
                    <a:pt x="1243" y="64"/>
                  </a:lnTo>
                  <a:lnTo>
                    <a:pt x="1248" y="69"/>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Cross </a:t>
              </a: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River</a:t>
              </a:r>
            </a:p>
          </p:txBody>
        </p:sp>
        <p:sp>
          <p:nvSpPr>
            <p:cNvPr id="133" name="Freeform 52">
              <a:extLst>
                <a:ext uri="{FF2B5EF4-FFF2-40B4-BE49-F238E27FC236}">
                  <a16:creationId xmlns:a16="http://schemas.microsoft.com/office/drawing/2014/main" id="{0648791F-4B37-4588-807E-1D7B8AD0924C}"/>
                </a:ext>
              </a:extLst>
            </p:cNvPr>
            <p:cNvSpPr>
              <a:spLocks/>
            </p:cNvSpPr>
            <p:nvPr>
              <p:custDataLst>
                <p:tags r:id="rId45"/>
              </p:custDataLst>
            </p:nvPr>
          </p:nvSpPr>
          <p:spPr bwMode="auto">
            <a:xfrm>
              <a:off x="897695" y="3636609"/>
              <a:ext cx="582598" cy="571798"/>
            </a:xfrm>
            <a:custGeom>
              <a:avLst/>
              <a:gdLst/>
              <a:ahLst/>
              <a:cxnLst>
                <a:cxn ang="0">
                  <a:pos x="251" y="178"/>
                </a:cxn>
                <a:cxn ang="0">
                  <a:pos x="274" y="178"/>
                </a:cxn>
                <a:cxn ang="0">
                  <a:pos x="310" y="192"/>
                </a:cxn>
                <a:cxn ang="0">
                  <a:pos x="342" y="224"/>
                </a:cxn>
                <a:cxn ang="0">
                  <a:pos x="361" y="246"/>
                </a:cxn>
                <a:cxn ang="0">
                  <a:pos x="356" y="278"/>
                </a:cxn>
                <a:cxn ang="0">
                  <a:pos x="388" y="283"/>
                </a:cxn>
                <a:cxn ang="0">
                  <a:pos x="425" y="269"/>
                </a:cxn>
                <a:cxn ang="0">
                  <a:pos x="443" y="246"/>
                </a:cxn>
                <a:cxn ang="0">
                  <a:pos x="461" y="233"/>
                </a:cxn>
                <a:cxn ang="0">
                  <a:pos x="484" y="196"/>
                </a:cxn>
                <a:cxn ang="0">
                  <a:pos x="475" y="173"/>
                </a:cxn>
                <a:cxn ang="0">
                  <a:pos x="452" y="150"/>
                </a:cxn>
                <a:cxn ang="0">
                  <a:pos x="434" y="100"/>
                </a:cxn>
                <a:cxn ang="0">
                  <a:pos x="425" y="68"/>
                </a:cxn>
                <a:cxn ang="0">
                  <a:pos x="448" y="54"/>
                </a:cxn>
                <a:cxn ang="0">
                  <a:pos x="470" y="82"/>
                </a:cxn>
                <a:cxn ang="0">
                  <a:pos x="498" y="59"/>
                </a:cxn>
                <a:cxn ang="0">
                  <a:pos x="534" y="41"/>
                </a:cxn>
                <a:cxn ang="0">
                  <a:pos x="562" y="22"/>
                </a:cxn>
                <a:cxn ang="0">
                  <a:pos x="603" y="4"/>
                </a:cxn>
                <a:cxn ang="0">
                  <a:pos x="649" y="45"/>
                </a:cxn>
                <a:cxn ang="0">
                  <a:pos x="667" y="128"/>
                </a:cxn>
                <a:cxn ang="0">
                  <a:pos x="649" y="201"/>
                </a:cxn>
                <a:cxn ang="0">
                  <a:pos x="626" y="274"/>
                </a:cxn>
                <a:cxn ang="0">
                  <a:pos x="612" y="329"/>
                </a:cxn>
                <a:cxn ang="0">
                  <a:pos x="585" y="402"/>
                </a:cxn>
                <a:cxn ang="0">
                  <a:pos x="580" y="438"/>
                </a:cxn>
                <a:cxn ang="0">
                  <a:pos x="521" y="457"/>
                </a:cxn>
                <a:cxn ang="0">
                  <a:pos x="466" y="475"/>
                </a:cxn>
                <a:cxn ang="0">
                  <a:pos x="443" y="512"/>
                </a:cxn>
                <a:cxn ang="0">
                  <a:pos x="406" y="525"/>
                </a:cxn>
                <a:cxn ang="0">
                  <a:pos x="374" y="512"/>
                </a:cxn>
                <a:cxn ang="0">
                  <a:pos x="352" y="525"/>
                </a:cxn>
                <a:cxn ang="0">
                  <a:pos x="320" y="548"/>
                </a:cxn>
                <a:cxn ang="0">
                  <a:pos x="274" y="566"/>
                </a:cxn>
                <a:cxn ang="0">
                  <a:pos x="228" y="548"/>
                </a:cxn>
                <a:cxn ang="0">
                  <a:pos x="187" y="521"/>
                </a:cxn>
                <a:cxn ang="0">
                  <a:pos x="150" y="512"/>
                </a:cxn>
                <a:cxn ang="0">
                  <a:pos x="146" y="489"/>
                </a:cxn>
                <a:cxn ang="0">
                  <a:pos x="132" y="429"/>
                </a:cxn>
                <a:cxn ang="0">
                  <a:pos x="160" y="420"/>
                </a:cxn>
                <a:cxn ang="0">
                  <a:pos x="118" y="406"/>
                </a:cxn>
                <a:cxn ang="0">
                  <a:pos x="77" y="370"/>
                </a:cxn>
                <a:cxn ang="0">
                  <a:pos x="54" y="324"/>
                </a:cxn>
                <a:cxn ang="0">
                  <a:pos x="27" y="274"/>
                </a:cxn>
                <a:cxn ang="0">
                  <a:pos x="4" y="228"/>
                </a:cxn>
                <a:cxn ang="0">
                  <a:pos x="32" y="182"/>
                </a:cxn>
                <a:cxn ang="0">
                  <a:pos x="45" y="150"/>
                </a:cxn>
                <a:cxn ang="0">
                  <a:pos x="64" y="132"/>
                </a:cxn>
                <a:cxn ang="0">
                  <a:pos x="96" y="155"/>
                </a:cxn>
                <a:cxn ang="0">
                  <a:pos x="109" y="178"/>
                </a:cxn>
                <a:cxn ang="0">
                  <a:pos x="105" y="205"/>
                </a:cxn>
                <a:cxn ang="0">
                  <a:pos x="123" y="219"/>
                </a:cxn>
                <a:cxn ang="0">
                  <a:pos x="146" y="205"/>
                </a:cxn>
                <a:cxn ang="0">
                  <a:pos x="146" y="182"/>
                </a:cxn>
                <a:cxn ang="0">
                  <a:pos x="173" y="182"/>
                </a:cxn>
                <a:cxn ang="0">
                  <a:pos x="205" y="182"/>
                </a:cxn>
              </a:cxnLst>
              <a:rect l="0" t="0" r="r" b="b"/>
              <a:pathLst>
                <a:path w="667" h="566">
                  <a:moveTo>
                    <a:pt x="228" y="187"/>
                  </a:moveTo>
                  <a:lnTo>
                    <a:pt x="228" y="187"/>
                  </a:lnTo>
                  <a:lnTo>
                    <a:pt x="228" y="182"/>
                  </a:lnTo>
                  <a:lnTo>
                    <a:pt x="233" y="182"/>
                  </a:lnTo>
                  <a:lnTo>
                    <a:pt x="237" y="182"/>
                  </a:lnTo>
                  <a:lnTo>
                    <a:pt x="242" y="182"/>
                  </a:lnTo>
                  <a:lnTo>
                    <a:pt x="246" y="178"/>
                  </a:lnTo>
                  <a:lnTo>
                    <a:pt x="251" y="178"/>
                  </a:lnTo>
                  <a:lnTo>
                    <a:pt x="251" y="173"/>
                  </a:lnTo>
                  <a:lnTo>
                    <a:pt x="256" y="173"/>
                  </a:lnTo>
                  <a:lnTo>
                    <a:pt x="260" y="173"/>
                  </a:lnTo>
                  <a:lnTo>
                    <a:pt x="260" y="169"/>
                  </a:lnTo>
                  <a:lnTo>
                    <a:pt x="265" y="169"/>
                  </a:lnTo>
                  <a:lnTo>
                    <a:pt x="269" y="169"/>
                  </a:lnTo>
                  <a:lnTo>
                    <a:pt x="274" y="173"/>
                  </a:lnTo>
                  <a:lnTo>
                    <a:pt x="274" y="178"/>
                  </a:lnTo>
                  <a:lnTo>
                    <a:pt x="278" y="178"/>
                  </a:lnTo>
                  <a:lnTo>
                    <a:pt x="283" y="182"/>
                  </a:lnTo>
                  <a:lnTo>
                    <a:pt x="292" y="182"/>
                  </a:lnTo>
                  <a:lnTo>
                    <a:pt x="297" y="182"/>
                  </a:lnTo>
                  <a:lnTo>
                    <a:pt x="297" y="187"/>
                  </a:lnTo>
                  <a:lnTo>
                    <a:pt x="301" y="192"/>
                  </a:lnTo>
                  <a:lnTo>
                    <a:pt x="306" y="192"/>
                  </a:lnTo>
                  <a:lnTo>
                    <a:pt x="310" y="192"/>
                  </a:lnTo>
                  <a:lnTo>
                    <a:pt x="315" y="196"/>
                  </a:lnTo>
                  <a:lnTo>
                    <a:pt x="324" y="205"/>
                  </a:lnTo>
                  <a:lnTo>
                    <a:pt x="329" y="210"/>
                  </a:lnTo>
                  <a:lnTo>
                    <a:pt x="333" y="210"/>
                  </a:lnTo>
                  <a:lnTo>
                    <a:pt x="333" y="214"/>
                  </a:lnTo>
                  <a:lnTo>
                    <a:pt x="338" y="219"/>
                  </a:lnTo>
                  <a:lnTo>
                    <a:pt x="338" y="219"/>
                  </a:lnTo>
                  <a:lnTo>
                    <a:pt x="342" y="224"/>
                  </a:lnTo>
                  <a:lnTo>
                    <a:pt x="352" y="228"/>
                  </a:lnTo>
                  <a:lnTo>
                    <a:pt x="356" y="228"/>
                  </a:lnTo>
                  <a:lnTo>
                    <a:pt x="361" y="228"/>
                  </a:lnTo>
                  <a:lnTo>
                    <a:pt x="361" y="233"/>
                  </a:lnTo>
                  <a:lnTo>
                    <a:pt x="361" y="233"/>
                  </a:lnTo>
                  <a:lnTo>
                    <a:pt x="361" y="237"/>
                  </a:lnTo>
                  <a:lnTo>
                    <a:pt x="361" y="242"/>
                  </a:lnTo>
                  <a:lnTo>
                    <a:pt x="361" y="246"/>
                  </a:lnTo>
                  <a:lnTo>
                    <a:pt x="356" y="251"/>
                  </a:lnTo>
                  <a:lnTo>
                    <a:pt x="352" y="256"/>
                  </a:lnTo>
                  <a:lnTo>
                    <a:pt x="347" y="260"/>
                  </a:lnTo>
                  <a:lnTo>
                    <a:pt x="347" y="265"/>
                  </a:lnTo>
                  <a:lnTo>
                    <a:pt x="352" y="269"/>
                  </a:lnTo>
                  <a:lnTo>
                    <a:pt x="356" y="269"/>
                  </a:lnTo>
                  <a:lnTo>
                    <a:pt x="356" y="269"/>
                  </a:lnTo>
                  <a:lnTo>
                    <a:pt x="356" y="278"/>
                  </a:lnTo>
                  <a:lnTo>
                    <a:pt x="361" y="278"/>
                  </a:lnTo>
                  <a:lnTo>
                    <a:pt x="361" y="283"/>
                  </a:lnTo>
                  <a:lnTo>
                    <a:pt x="361" y="283"/>
                  </a:lnTo>
                  <a:lnTo>
                    <a:pt x="370" y="288"/>
                  </a:lnTo>
                  <a:lnTo>
                    <a:pt x="374" y="288"/>
                  </a:lnTo>
                  <a:lnTo>
                    <a:pt x="379" y="283"/>
                  </a:lnTo>
                  <a:lnTo>
                    <a:pt x="384" y="283"/>
                  </a:lnTo>
                  <a:lnTo>
                    <a:pt x="388" y="283"/>
                  </a:lnTo>
                  <a:lnTo>
                    <a:pt x="388" y="278"/>
                  </a:lnTo>
                  <a:lnTo>
                    <a:pt x="393" y="278"/>
                  </a:lnTo>
                  <a:lnTo>
                    <a:pt x="397" y="278"/>
                  </a:lnTo>
                  <a:lnTo>
                    <a:pt x="402" y="274"/>
                  </a:lnTo>
                  <a:lnTo>
                    <a:pt x="406" y="274"/>
                  </a:lnTo>
                  <a:lnTo>
                    <a:pt x="411" y="269"/>
                  </a:lnTo>
                  <a:lnTo>
                    <a:pt x="420" y="269"/>
                  </a:lnTo>
                  <a:lnTo>
                    <a:pt x="425" y="269"/>
                  </a:lnTo>
                  <a:lnTo>
                    <a:pt x="425" y="265"/>
                  </a:lnTo>
                  <a:lnTo>
                    <a:pt x="429" y="265"/>
                  </a:lnTo>
                  <a:lnTo>
                    <a:pt x="429" y="260"/>
                  </a:lnTo>
                  <a:lnTo>
                    <a:pt x="434" y="256"/>
                  </a:lnTo>
                  <a:lnTo>
                    <a:pt x="434" y="251"/>
                  </a:lnTo>
                  <a:lnTo>
                    <a:pt x="438" y="251"/>
                  </a:lnTo>
                  <a:lnTo>
                    <a:pt x="438" y="246"/>
                  </a:lnTo>
                  <a:lnTo>
                    <a:pt x="443" y="246"/>
                  </a:lnTo>
                  <a:lnTo>
                    <a:pt x="443" y="246"/>
                  </a:lnTo>
                  <a:lnTo>
                    <a:pt x="448" y="246"/>
                  </a:lnTo>
                  <a:lnTo>
                    <a:pt x="448" y="242"/>
                  </a:lnTo>
                  <a:lnTo>
                    <a:pt x="448" y="242"/>
                  </a:lnTo>
                  <a:lnTo>
                    <a:pt x="448" y="237"/>
                  </a:lnTo>
                  <a:lnTo>
                    <a:pt x="452" y="237"/>
                  </a:lnTo>
                  <a:lnTo>
                    <a:pt x="457" y="233"/>
                  </a:lnTo>
                  <a:lnTo>
                    <a:pt x="461" y="233"/>
                  </a:lnTo>
                  <a:lnTo>
                    <a:pt x="466" y="228"/>
                  </a:lnTo>
                  <a:lnTo>
                    <a:pt x="470" y="228"/>
                  </a:lnTo>
                  <a:lnTo>
                    <a:pt x="470" y="224"/>
                  </a:lnTo>
                  <a:lnTo>
                    <a:pt x="470" y="219"/>
                  </a:lnTo>
                  <a:lnTo>
                    <a:pt x="475" y="214"/>
                  </a:lnTo>
                  <a:lnTo>
                    <a:pt x="475" y="210"/>
                  </a:lnTo>
                  <a:lnTo>
                    <a:pt x="484" y="201"/>
                  </a:lnTo>
                  <a:lnTo>
                    <a:pt x="484" y="196"/>
                  </a:lnTo>
                  <a:lnTo>
                    <a:pt x="489" y="192"/>
                  </a:lnTo>
                  <a:lnTo>
                    <a:pt x="489" y="187"/>
                  </a:lnTo>
                  <a:lnTo>
                    <a:pt x="493" y="182"/>
                  </a:lnTo>
                  <a:lnTo>
                    <a:pt x="493" y="182"/>
                  </a:lnTo>
                  <a:lnTo>
                    <a:pt x="489" y="182"/>
                  </a:lnTo>
                  <a:lnTo>
                    <a:pt x="489" y="178"/>
                  </a:lnTo>
                  <a:lnTo>
                    <a:pt x="480" y="178"/>
                  </a:lnTo>
                  <a:lnTo>
                    <a:pt x="475" y="173"/>
                  </a:lnTo>
                  <a:lnTo>
                    <a:pt x="470" y="173"/>
                  </a:lnTo>
                  <a:lnTo>
                    <a:pt x="466" y="164"/>
                  </a:lnTo>
                  <a:lnTo>
                    <a:pt x="466" y="160"/>
                  </a:lnTo>
                  <a:lnTo>
                    <a:pt x="461" y="160"/>
                  </a:lnTo>
                  <a:lnTo>
                    <a:pt x="461" y="160"/>
                  </a:lnTo>
                  <a:lnTo>
                    <a:pt x="457" y="160"/>
                  </a:lnTo>
                  <a:lnTo>
                    <a:pt x="457" y="155"/>
                  </a:lnTo>
                  <a:lnTo>
                    <a:pt x="452" y="150"/>
                  </a:lnTo>
                  <a:lnTo>
                    <a:pt x="448" y="146"/>
                  </a:lnTo>
                  <a:lnTo>
                    <a:pt x="448" y="141"/>
                  </a:lnTo>
                  <a:lnTo>
                    <a:pt x="448" y="141"/>
                  </a:lnTo>
                  <a:lnTo>
                    <a:pt x="443" y="137"/>
                  </a:lnTo>
                  <a:lnTo>
                    <a:pt x="443" y="128"/>
                  </a:lnTo>
                  <a:lnTo>
                    <a:pt x="438" y="118"/>
                  </a:lnTo>
                  <a:lnTo>
                    <a:pt x="438" y="105"/>
                  </a:lnTo>
                  <a:lnTo>
                    <a:pt x="434" y="100"/>
                  </a:lnTo>
                  <a:lnTo>
                    <a:pt x="434" y="96"/>
                  </a:lnTo>
                  <a:lnTo>
                    <a:pt x="425" y="96"/>
                  </a:lnTo>
                  <a:lnTo>
                    <a:pt x="425" y="96"/>
                  </a:lnTo>
                  <a:lnTo>
                    <a:pt x="420" y="86"/>
                  </a:lnTo>
                  <a:lnTo>
                    <a:pt x="420" y="82"/>
                  </a:lnTo>
                  <a:lnTo>
                    <a:pt x="425" y="77"/>
                  </a:lnTo>
                  <a:lnTo>
                    <a:pt x="425" y="73"/>
                  </a:lnTo>
                  <a:lnTo>
                    <a:pt x="425" y="68"/>
                  </a:lnTo>
                  <a:lnTo>
                    <a:pt x="425" y="64"/>
                  </a:lnTo>
                  <a:lnTo>
                    <a:pt x="429" y="59"/>
                  </a:lnTo>
                  <a:lnTo>
                    <a:pt x="434" y="59"/>
                  </a:lnTo>
                  <a:lnTo>
                    <a:pt x="434" y="54"/>
                  </a:lnTo>
                  <a:lnTo>
                    <a:pt x="438" y="54"/>
                  </a:lnTo>
                  <a:lnTo>
                    <a:pt x="443" y="54"/>
                  </a:lnTo>
                  <a:lnTo>
                    <a:pt x="448" y="54"/>
                  </a:lnTo>
                  <a:lnTo>
                    <a:pt x="448" y="54"/>
                  </a:lnTo>
                  <a:lnTo>
                    <a:pt x="452" y="54"/>
                  </a:lnTo>
                  <a:lnTo>
                    <a:pt x="457" y="59"/>
                  </a:lnTo>
                  <a:lnTo>
                    <a:pt x="466" y="64"/>
                  </a:lnTo>
                  <a:lnTo>
                    <a:pt x="466" y="68"/>
                  </a:lnTo>
                  <a:lnTo>
                    <a:pt x="470" y="73"/>
                  </a:lnTo>
                  <a:lnTo>
                    <a:pt x="470" y="73"/>
                  </a:lnTo>
                  <a:lnTo>
                    <a:pt x="470" y="77"/>
                  </a:lnTo>
                  <a:lnTo>
                    <a:pt x="470" y="82"/>
                  </a:lnTo>
                  <a:lnTo>
                    <a:pt x="475" y="82"/>
                  </a:lnTo>
                  <a:lnTo>
                    <a:pt x="480" y="77"/>
                  </a:lnTo>
                  <a:lnTo>
                    <a:pt x="480" y="73"/>
                  </a:lnTo>
                  <a:lnTo>
                    <a:pt x="484" y="73"/>
                  </a:lnTo>
                  <a:lnTo>
                    <a:pt x="489" y="68"/>
                  </a:lnTo>
                  <a:lnTo>
                    <a:pt x="489" y="64"/>
                  </a:lnTo>
                  <a:lnTo>
                    <a:pt x="493" y="64"/>
                  </a:lnTo>
                  <a:lnTo>
                    <a:pt x="498" y="59"/>
                  </a:lnTo>
                  <a:lnTo>
                    <a:pt x="498" y="54"/>
                  </a:lnTo>
                  <a:lnTo>
                    <a:pt x="502" y="54"/>
                  </a:lnTo>
                  <a:lnTo>
                    <a:pt x="507" y="54"/>
                  </a:lnTo>
                  <a:lnTo>
                    <a:pt x="507" y="50"/>
                  </a:lnTo>
                  <a:lnTo>
                    <a:pt x="512" y="50"/>
                  </a:lnTo>
                  <a:lnTo>
                    <a:pt x="516" y="50"/>
                  </a:lnTo>
                  <a:lnTo>
                    <a:pt x="525" y="45"/>
                  </a:lnTo>
                  <a:lnTo>
                    <a:pt x="534" y="41"/>
                  </a:lnTo>
                  <a:lnTo>
                    <a:pt x="534" y="36"/>
                  </a:lnTo>
                  <a:lnTo>
                    <a:pt x="539" y="36"/>
                  </a:lnTo>
                  <a:lnTo>
                    <a:pt x="539" y="32"/>
                  </a:lnTo>
                  <a:lnTo>
                    <a:pt x="548" y="32"/>
                  </a:lnTo>
                  <a:lnTo>
                    <a:pt x="557" y="32"/>
                  </a:lnTo>
                  <a:lnTo>
                    <a:pt x="557" y="27"/>
                  </a:lnTo>
                  <a:lnTo>
                    <a:pt x="562" y="27"/>
                  </a:lnTo>
                  <a:lnTo>
                    <a:pt x="562" y="22"/>
                  </a:lnTo>
                  <a:lnTo>
                    <a:pt x="566" y="22"/>
                  </a:lnTo>
                  <a:lnTo>
                    <a:pt x="576" y="18"/>
                  </a:lnTo>
                  <a:lnTo>
                    <a:pt x="580" y="13"/>
                  </a:lnTo>
                  <a:lnTo>
                    <a:pt x="585" y="13"/>
                  </a:lnTo>
                  <a:lnTo>
                    <a:pt x="589" y="9"/>
                  </a:lnTo>
                  <a:lnTo>
                    <a:pt x="594" y="9"/>
                  </a:lnTo>
                  <a:lnTo>
                    <a:pt x="598" y="4"/>
                  </a:lnTo>
                  <a:lnTo>
                    <a:pt x="603" y="4"/>
                  </a:lnTo>
                  <a:lnTo>
                    <a:pt x="603" y="4"/>
                  </a:lnTo>
                  <a:lnTo>
                    <a:pt x="626" y="4"/>
                  </a:lnTo>
                  <a:lnTo>
                    <a:pt x="626" y="4"/>
                  </a:lnTo>
                  <a:lnTo>
                    <a:pt x="640" y="0"/>
                  </a:lnTo>
                  <a:lnTo>
                    <a:pt x="644" y="9"/>
                  </a:lnTo>
                  <a:lnTo>
                    <a:pt x="644" y="18"/>
                  </a:lnTo>
                  <a:lnTo>
                    <a:pt x="644" y="32"/>
                  </a:lnTo>
                  <a:lnTo>
                    <a:pt x="649" y="45"/>
                  </a:lnTo>
                  <a:lnTo>
                    <a:pt x="653" y="50"/>
                  </a:lnTo>
                  <a:lnTo>
                    <a:pt x="658" y="68"/>
                  </a:lnTo>
                  <a:lnTo>
                    <a:pt x="662" y="82"/>
                  </a:lnTo>
                  <a:lnTo>
                    <a:pt x="662" y="86"/>
                  </a:lnTo>
                  <a:lnTo>
                    <a:pt x="662" y="96"/>
                  </a:lnTo>
                  <a:lnTo>
                    <a:pt x="662" y="100"/>
                  </a:lnTo>
                  <a:lnTo>
                    <a:pt x="667" y="118"/>
                  </a:lnTo>
                  <a:lnTo>
                    <a:pt x="667" y="128"/>
                  </a:lnTo>
                  <a:lnTo>
                    <a:pt x="667" y="141"/>
                  </a:lnTo>
                  <a:lnTo>
                    <a:pt x="667" y="150"/>
                  </a:lnTo>
                  <a:lnTo>
                    <a:pt x="662" y="150"/>
                  </a:lnTo>
                  <a:lnTo>
                    <a:pt x="658" y="160"/>
                  </a:lnTo>
                  <a:lnTo>
                    <a:pt x="658" y="173"/>
                  </a:lnTo>
                  <a:lnTo>
                    <a:pt x="653" y="178"/>
                  </a:lnTo>
                  <a:lnTo>
                    <a:pt x="653" y="187"/>
                  </a:lnTo>
                  <a:lnTo>
                    <a:pt x="649" y="201"/>
                  </a:lnTo>
                  <a:lnTo>
                    <a:pt x="644" y="210"/>
                  </a:lnTo>
                  <a:lnTo>
                    <a:pt x="644" y="224"/>
                  </a:lnTo>
                  <a:lnTo>
                    <a:pt x="640" y="228"/>
                  </a:lnTo>
                  <a:lnTo>
                    <a:pt x="635" y="233"/>
                  </a:lnTo>
                  <a:lnTo>
                    <a:pt x="630" y="237"/>
                  </a:lnTo>
                  <a:lnTo>
                    <a:pt x="630" y="246"/>
                  </a:lnTo>
                  <a:lnTo>
                    <a:pt x="626" y="265"/>
                  </a:lnTo>
                  <a:lnTo>
                    <a:pt x="626" y="274"/>
                  </a:lnTo>
                  <a:lnTo>
                    <a:pt x="626" y="278"/>
                  </a:lnTo>
                  <a:lnTo>
                    <a:pt x="626" y="283"/>
                  </a:lnTo>
                  <a:lnTo>
                    <a:pt x="626" y="283"/>
                  </a:lnTo>
                  <a:lnTo>
                    <a:pt x="617" y="292"/>
                  </a:lnTo>
                  <a:lnTo>
                    <a:pt x="612" y="297"/>
                  </a:lnTo>
                  <a:lnTo>
                    <a:pt x="612" y="310"/>
                  </a:lnTo>
                  <a:lnTo>
                    <a:pt x="612" y="315"/>
                  </a:lnTo>
                  <a:lnTo>
                    <a:pt x="612" y="329"/>
                  </a:lnTo>
                  <a:lnTo>
                    <a:pt x="608" y="338"/>
                  </a:lnTo>
                  <a:lnTo>
                    <a:pt x="603" y="342"/>
                  </a:lnTo>
                  <a:lnTo>
                    <a:pt x="594" y="352"/>
                  </a:lnTo>
                  <a:lnTo>
                    <a:pt x="585" y="361"/>
                  </a:lnTo>
                  <a:lnTo>
                    <a:pt x="585" y="370"/>
                  </a:lnTo>
                  <a:lnTo>
                    <a:pt x="589" y="379"/>
                  </a:lnTo>
                  <a:lnTo>
                    <a:pt x="589" y="393"/>
                  </a:lnTo>
                  <a:lnTo>
                    <a:pt x="585" y="402"/>
                  </a:lnTo>
                  <a:lnTo>
                    <a:pt x="580" y="402"/>
                  </a:lnTo>
                  <a:lnTo>
                    <a:pt x="571" y="411"/>
                  </a:lnTo>
                  <a:lnTo>
                    <a:pt x="571" y="416"/>
                  </a:lnTo>
                  <a:lnTo>
                    <a:pt x="571" y="425"/>
                  </a:lnTo>
                  <a:lnTo>
                    <a:pt x="576" y="425"/>
                  </a:lnTo>
                  <a:lnTo>
                    <a:pt x="576" y="425"/>
                  </a:lnTo>
                  <a:lnTo>
                    <a:pt x="580" y="429"/>
                  </a:lnTo>
                  <a:lnTo>
                    <a:pt x="580" y="438"/>
                  </a:lnTo>
                  <a:lnTo>
                    <a:pt x="576" y="443"/>
                  </a:lnTo>
                  <a:lnTo>
                    <a:pt x="562" y="448"/>
                  </a:lnTo>
                  <a:lnTo>
                    <a:pt x="557" y="448"/>
                  </a:lnTo>
                  <a:lnTo>
                    <a:pt x="557" y="452"/>
                  </a:lnTo>
                  <a:lnTo>
                    <a:pt x="544" y="457"/>
                  </a:lnTo>
                  <a:lnTo>
                    <a:pt x="534" y="457"/>
                  </a:lnTo>
                  <a:lnTo>
                    <a:pt x="530" y="457"/>
                  </a:lnTo>
                  <a:lnTo>
                    <a:pt x="521" y="457"/>
                  </a:lnTo>
                  <a:lnTo>
                    <a:pt x="507" y="457"/>
                  </a:lnTo>
                  <a:lnTo>
                    <a:pt x="498" y="461"/>
                  </a:lnTo>
                  <a:lnTo>
                    <a:pt x="493" y="466"/>
                  </a:lnTo>
                  <a:lnTo>
                    <a:pt x="489" y="475"/>
                  </a:lnTo>
                  <a:lnTo>
                    <a:pt x="484" y="480"/>
                  </a:lnTo>
                  <a:lnTo>
                    <a:pt x="480" y="475"/>
                  </a:lnTo>
                  <a:lnTo>
                    <a:pt x="470" y="475"/>
                  </a:lnTo>
                  <a:lnTo>
                    <a:pt x="466" y="475"/>
                  </a:lnTo>
                  <a:lnTo>
                    <a:pt x="461" y="480"/>
                  </a:lnTo>
                  <a:lnTo>
                    <a:pt x="461" y="489"/>
                  </a:lnTo>
                  <a:lnTo>
                    <a:pt x="461" y="489"/>
                  </a:lnTo>
                  <a:lnTo>
                    <a:pt x="461" y="498"/>
                  </a:lnTo>
                  <a:lnTo>
                    <a:pt x="457" y="507"/>
                  </a:lnTo>
                  <a:lnTo>
                    <a:pt x="448" y="512"/>
                  </a:lnTo>
                  <a:lnTo>
                    <a:pt x="448" y="512"/>
                  </a:lnTo>
                  <a:lnTo>
                    <a:pt x="443" y="512"/>
                  </a:lnTo>
                  <a:lnTo>
                    <a:pt x="438" y="512"/>
                  </a:lnTo>
                  <a:lnTo>
                    <a:pt x="434" y="512"/>
                  </a:lnTo>
                  <a:lnTo>
                    <a:pt x="425" y="512"/>
                  </a:lnTo>
                  <a:lnTo>
                    <a:pt x="425" y="512"/>
                  </a:lnTo>
                  <a:lnTo>
                    <a:pt x="425" y="512"/>
                  </a:lnTo>
                  <a:lnTo>
                    <a:pt x="416" y="512"/>
                  </a:lnTo>
                  <a:lnTo>
                    <a:pt x="411" y="516"/>
                  </a:lnTo>
                  <a:lnTo>
                    <a:pt x="406" y="525"/>
                  </a:lnTo>
                  <a:lnTo>
                    <a:pt x="406" y="525"/>
                  </a:lnTo>
                  <a:lnTo>
                    <a:pt x="402" y="530"/>
                  </a:lnTo>
                  <a:lnTo>
                    <a:pt x="397" y="530"/>
                  </a:lnTo>
                  <a:lnTo>
                    <a:pt x="393" y="530"/>
                  </a:lnTo>
                  <a:lnTo>
                    <a:pt x="384" y="521"/>
                  </a:lnTo>
                  <a:lnTo>
                    <a:pt x="384" y="516"/>
                  </a:lnTo>
                  <a:lnTo>
                    <a:pt x="379" y="512"/>
                  </a:lnTo>
                  <a:lnTo>
                    <a:pt x="374" y="512"/>
                  </a:lnTo>
                  <a:lnTo>
                    <a:pt x="370" y="507"/>
                  </a:lnTo>
                  <a:lnTo>
                    <a:pt x="365" y="507"/>
                  </a:lnTo>
                  <a:lnTo>
                    <a:pt x="361" y="512"/>
                  </a:lnTo>
                  <a:lnTo>
                    <a:pt x="361" y="512"/>
                  </a:lnTo>
                  <a:lnTo>
                    <a:pt x="361" y="512"/>
                  </a:lnTo>
                  <a:lnTo>
                    <a:pt x="356" y="521"/>
                  </a:lnTo>
                  <a:lnTo>
                    <a:pt x="356" y="525"/>
                  </a:lnTo>
                  <a:lnTo>
                    <a:pt x="352" y="525"/>
                  </a:lnTo>
                  <a:lnTo>
                    <a:pt x="352" y="530"/>
                  </a:lnTo>
                  <a:lnTo>
                    <a:pt x="338" y="534"/>
                  </a:lnTo>
                  <a:lnTo>
                    <a:pt x="338" y="534"/>
                  </a:lnTo>
                  <a:lnTo>
                    <a:pt x="338" y="534"/>
                  </a:lnTo>
                  <a:lnTo>
                    <a:pt x="333" y="534"/>
                  </a:lnTo>
                  <a:lnTo>
                    <a:pt x="329" y="539"/>
                  </a:lnTo>
                  <a:lnTo>
                    <a:pt x="324" y="544"/>
                  </a:lnTo>
                  <a:lnTo>
                    <a:pt x="320" y="548"/>
                  </a:lnTo>
                  <a:lnTo>
                    <a:pt x="315" y="548"/>
                  </a:lnTo>
                  <a:lnTo>
                    <a:pt x="310" y="553"/>
                  </a:lnTo>
                  <a:lnTo>
                    <a:pt x="297" y="557"/>
                  </a:lnTo>
                  <a:lnTo>
                    <a:pt x="288" y="557"/>
                  </a:lnTo>
                  <a:lnTo>
                    <a:pt x="283" y="562"/>
                  </a:lnTo>
                  <a:lnTo>
                    <a:pt x="278" y="566"/>
                  </a:lnTo>
                  <a:lnTo>
                    <a:pt x="274" y="566"/>
                  </a:lnTo>
                  <a:lnTo>
                    <a:pt x="274" y="566"/>
                  </a:lnTo>
                  <a:lnTo>
                    <a:pt x="269" y="566"/>
                  </a:lnTo>
                  <a:lnTo>
                    <a:pt x="265" y="562"/>
                  </a:lnTo>
                  <a:lnTo>
                    <a:pt x="260" y="557"/>
                  </a:lnTo>
                  <a:lnTo>
                    <a:pt x="256" y="557"/>
                  </a:lnTo>
                  <a:lnTo>
                    <a:pt x="251" y="553"/>
                  </a:lnTo>
                  <a:lnTo>
                    <a:pt x="242" y="553"/>
                  </a:lnTo>
                  <a:lnTo>
                    <a:pt x="233" y="548"/>
                  </a:lnTo>
                  <a:lnTo>
                    <a:pt x="228" y="548"/>
                  </a:lnTo>
                  <a:lnTo>
                    <a:pt x="224" y="544"/>
                  </a:lnTo>
                  <a:lnTo>
                    <a:pt x="214" y="539"/>
                  </a:lnTo>
                  <a:lnTo>
                    <a:pt x="210" y="539"/>
                  </a:lnTo>
                  <a:lnTo>
                    <a:pt x="205" y="539"/>
                  </a:lnTo>
                  <a:lnTo>
                    <a:pt x="205" y="534"/>
                  </a:lnTo>
                  <a:lnTo>
                    <a:pt x="205" y="534"/>
                  </a:lnTo>
                  <a:lnTo>
                    <a:pt x="187" y="525"/>
                  </a:lnTo>
                  <a:lnTo>
                    <a:pt x="187" y="521"/>
                  </a:lnTo>
                  <a:lnTo>
                    <a:pt x="182" y="516"/>
                  </a:lnTo>
                  <a:lnTo>
                    <a:pt x="178" y="516"/>
                  </a:lnTo>
                  <a:lnTo>
                    <a:pt x="173" y="512"/>
                  </a:lnTo>
                  <a:lnTo>
                    <a:pt x="169" y="512"/>
                  </a:lnTo>
                  <a:lnTo>
                    <a:pt x="164" y="512"/>
                  </a:lnTo>
                  <a:lnTo>
                    <a:pt x="150" y="516"/>
                  </a:lnTo>
                  <a:lnTo>
                    <a:pt x="150" y="512"/>
                  </a:lnTo>
                  <a:lnTo>
                    <a:pt x="150" y="512"/>
                  </a:lnTo>
                  <a:lnTo>
                    <a:pt x="146" y="507"/>
                  </a:lnTo>
                  <a:lnTo>
                    <a:pt x="146" y="502"/>
                  </a:lnTo>
                  <a:lnTo>
                    <a:pt x="146" y="502"/>
                  </a:lnTo>
                  <a:lnTo>
                    <a:pt x="146" y="502"/>
                  </a:lnTo>
                  <a:lnTo>
                    <a:pt x="146" y="498"/>
                  </a:lnTo>
                  <a:lnTo>
                    <a:pt x="146" y="498"/>
                  </a:lnTo>
                  <a:lnTo>
                    <a:pt x="146" y="493"/>
                  </a:lnTo>
                  <a:lnTo>
                    <a:pt x="146" y="489"/>
                  </a:lnTo>
                  <a:lnTo>
                    <a:pt x="141" y="475"/>
                  </a:lnTo>
                  <a:lnTo>
                    <a:pt x="141" y="470"/>
                  </a:lnTo>
                  <a:lnTo>
                    <a:pt x="137" y="448"/>
                  </a:lnTo>
                  <a:lnTo>
                    <a:pt x="137" y="443"/>
                  </a:lnTo>
                  <a:lnTo>
                    <a:pt x="137" y="438"/>
                  </a:lnTo>
                  <a:lnTo>
                    <a:pt x="132" y="434"/>
                  </a:lnTo>
                  <a:lnTo>
                    <a:pt x="132" y="429"/>
                  </a:lnTo>
                  <a:lnTo>
                    <a:pt x="132" y="429"/>
                  </a:lnTo>
                  <a:lnTo>
                    <a:pt x="137" y="429"/>
                  </a:lnTo>
                  <a:lnTo>
                    <a:pt x="137" y="429"/>
                  </a:lnTo>
                  <a:lnTo>
                    <a:pt x="146" y="429"/>
                  </a:lnTo>
                  <a:lnTo>
                    <a:pt x="146" y="429"/>
                  </a:lnTo>
                  <a:lnTo>
                    <a:pt x="155" y="429"/>
                  </a:lnTo>
                  <a:lnTo>
                    <a:pt x="160" y="429"/>
                  </a:lnTo>
                  <a:lnTo>
                    <a:pt x="160" y="425"/>
                  </a:lnTo>
                  <a:lnTo>
                    <a:pt x="160" y="420"/>
                  </a:lnTo>
                  <a:lnTo>
                    <a:pt x="150" y="420"/>
                  </a:lnTo>
                  <a:lnTo>
                    <a:pt x="150" y="416"/>
                  </a:lnTo>
                  <a:lnTo>
                    <a:pt x="141" y="416"/>
                  </a:lnTo>
                  <a:lnTo>
                    <a:pt x="141" y="416"/>
                  </a:lnTo>
                  <a:lnTo>
                    <a:pt x="132" y="411"/>
                  </a:lnTo>
                  <a:lnTo>
                    <a:pt x="123" y="406"/>
                  </a:lnTo>
                  <a:lnTo>
                    <a:pt x="118" y="406"/>
                  </a:lnTo>
                  <a:lnTo>
                    <a:pt x="118" y="406"/>
                  </a:lnTo>
                  <a:lnTo>
                    <a:pt x="109" y="402"/>
                  </a:lnTo>
                  <a:lnTo>
                    <a:pt x="105" y="397"/>
                  </a:lnTo>
                  <a:lnTo>
                    <a:pt x="105" y="397"/>
                  </a:lnTo>
                  <a:lnTo>
                    <a:pt x="100" y="397"/>
                  </a:lnTo>
                  <a:lnTo>
                    <a:pt x="82" y="379"/>
                  </a:lnTo>
                  <a:lnTo>
                    <a:pt x="82" y="374"/>
                  </a:lnTo>
                  <a:lnTo>
                    <a:pt x="77" y="374"/>
                  </a:lnTo>
                  <a:lnTo>
                    <a:pt x="77" y="370"/>
                  </a:lnTo>
                  <a:lnTo>
                    <a:pt x="77" y="361"/>
                  </a:lnTo>
                  <a:lnTo>
                    <a:pt x="77" y="356"/>
                  </a:lnTo>
                  <a:lnTo>
                    <a:pt x="77" y="347"/>
                  </a:lnTo>
                  <a:lnTo>
                    <a:pt x="77" y="347"/>
                  </a:lnTo>
                  <a:lnTo>
                    <a:pt x="64" y="333"/>
                  </a:lnTo>
                  <a:lnTo>
                    <a:pt x="59" y="333"/>
                  </a:lnTo>
                  <a:lnTo>
                    <a:pt x="59" y="324"/>
                  </a:lnTo>
                  <a:lnTo>
                    <a:pt x="54" y="324"/>
                  </a:lnTo>
                  <a:lnTo>
                    <a:pt x="45" y="310"/>
                  </a:lnTo>
                  <a:lnTo>
                    <a:pt x="41" y="301"/>
                  </a:lnTo>
                  <a:lnTo>
                    <a:pt x="41" y="297"/>
                  </a:lnTo>
                  <a:lnTo>
                    <a:pt x="36" y="292"/>
                  </a:lnTo>
                  <a:lnTo>
                    <a:pt x="36" y="288"/>
                  </a:lnTo>
                  <a:lnTo>
                    <a:pt x="41" y="283"/>
                  </a:lnTo>
                  <a:lnTo>
                    <a:pt x="32" y="278"/>
                  </a:lnTo>
                  <a:lnTo>
                    <a:pt x="27" y="274"/>
                  </a:lnTo>
                  <a:lnTo>
                    <a:pt x="22" y="274"/>
                  </a:lnTo>
                  <a:lnTo>
                    <a:pt x="13" y="256"/>
                  </a:lnTo>
                  <a:lnTo>
                    <a:pt x="9" y="246"/>
                  </a:lnTo>
                  <a:lnTo>
                    <a:pt x="9" y="246"/>
                  </a:lnTo>
                  <a:lnTo>
                    <a:pt x="9" y="242"/>
                  </a:lnTo>
                  <a:lnTo>
                    <a:pt x="4" y="233"/>
                  </a:lnTo>
                  <a:lnTo>
                    <a:pt x="0" y="228"/>
                  </a:lnTo>
                  <a:lnTo>
                    <a:pt x="4" y="228"/>
                  </a:lnTo>
                  <a:lnTo>
                    <a:pt x="13" y="214"/>
                  </a:lnTo>
                  <a:lnTo>
                    <a:pt x="18" y="205"/>
                  </a:lnTo>
                  <a:lnTo>
                    <a:pt x="18" y="205"/>
                  </a:lnTo>
                  <a:lnTo>
                    <a:pt x="18" y="196"/>
                  </a:lnTo>
                  <a:lnTo>
                    <a:pt x="27" y="192"/>
                  </a:lnTo>
                  <a:lnTo>
                    <a:pt x="27" y="187"/>
                  </a:lnTo>
                  <a:lnTo>
                    <a:pt x="32" y="182"/>
                  </a:lnTo>
                  <a:lnTo>
                    <a:pt x="32" y="182"/>
                  </a:lnTo>
                  <a:lnTo>
                    <a:pt x="32" y="178"/>
                  </a:lnTo>
                  <a:lnTo>
                    <a:pt x="32" y="178"/>
                  </a:lnTo>
                  <a:lnTo>
                    <a:pt x="32" y="173"/>
                  </a:lnTo>
                  <a:lnTo>
                    <a:pt x="36" y="169"/>
                  </a:lnTo>
                  <a:lnTo>
                    <a:pt x="36" y="160"/>
                  </a:lnTo>
                  <a:lnTo>
                    <a:pt x="41" y="160"/>
                  </a:lnTo>
                  <a:lnTo>
                    <a:pt x="41" y="160"/>
                  </a:lnTo>
                  <a:lnTo>
                    <a:pt x="45" y="150"/>
                  </a:lnTo>
                  <a:lnTo>
                    <a:pt x="45" y="146"/>
                  </a:lnTo>
                  <a:lnTo>
                    <a:pt x="45" y="141"/>
                  </a:lnTo>
                  <a:lnTo>
                    <a:pt x="50" y="141"/>
                  </a:lnTo>
                  <a:lnTo>
                    <a:pt x="50" y="141"/>
                  </a:lnTo>
                  <a:lnTo>
                    <a:pt x="54" y="137"/>
                  </a:lnTo>
                  <a:lnTo>
                    <a:pt x="54" y="132"/>
                  </a:lnTo>
                  <a:lnTo>
                    <a:pt x="59" y="128"/>
                  </a:lnTo>
                  <a:lnTo>
                    <a:pt x="64" y="132"/>
                  </a:lnTo>
                  <a:lnTo>
                    <a:pt x="68" y="132"/>
                  </a:lnTo>
                  <a:lnTo>
                    <a:pt x="73" y="137"/>
                  </a:lnTo>
                  <a:lnTo>
                    <a:pt x="77" y="141"/>
                  </a:lnTo>
                  <a:lnTo>
                    <a:pt x="77" y="141"/>
                  </a:lnTo>
                  <a:lnTo>
                    <a:pt x="82" y="141"/>
                  </a:lnTo>
                  <a:lnTo>
                    <a:pt x="86" y="146"/>
                  </a:lnTo>
                  <a:lnTo>
                    <a:pt x="91" y="150"/>
                  </a:lnTo>
                  <a:lnTo>
                    <a:pt x="96" y="155"/>
                  </a:lnTo>
                  <a:lnTo>
                    <a:pt x="96" y="160"/>
                  </a:lnTo>
                  <a:lnTo>
                    <a:pt x="96" y="160"/>
                  </a:lnTo>
                  <a:lnTo>
                    <a:pt x="96" y="164"/>
                  </a:lnTo>
                  <a:lnTo>
                    <a:pt x="100" y="164"/>
                  </a:lnTo>
                  <a:lnTo>
                    <a:pt x="105" y="164"/>
                  </a:lnTo>
                  <a:lnTo>
                    <a:pt x="105" y="169"/>
                  </a:lnTo>
                  <a:lnTo>
                    <a:pt x="109" y="173"/>
                  </a:lnTo>
                  <a:lnTo>
                    <a:pt x="109" y="178"/>
                  </a:lnTo>
                  <a:lnTo>
                    <a:pt x="109" y="182"/>
                  </a:lnTo>
                  <a:lnTo>
                    <a:pt x="105" y="182"/>
                  </a:lnTo>
                  <a:lnTo>
                    <a:pt x="105" y="187"/>
                  </a:lnTo>
                  <a:lnTo>
                    <a:pt x="100" y="192"/>
                  </a:lnTo>
                  <a:lnTo>
                    <a:pt x="100" y="196"/>
                  </a:lnTo>
                  <a:lnTo>
                    <a:pt x="105" y="201"/>
                  </a:lnTo>
                  <a:lnTo>
                    <a:pt x="105" y="205"/>
                  </a:lnTo>
                  <a:lnTo>
                    <a:pt x="105" y="205"/>
                  </a:lnTo>
                  <a:lnTo>
                    <a:pt x="105" y="210"/>
                  </a:lnTo>
                  <a:lnTo>
                    <a:pt x="109" y="210"/>
                  </a:lnTo>
                  <a:lnTo>
                    <a:pt x="109" y="214"/>
                  </a:lnTo>
                  <a:lnTo>
                    <a:pt x="114" y="219"/>
                  </a:lnTo>
                  <a:lnTo>
                    <a:pt x="114" y="224"/>
                  </a:lnTo>
                  <a:lnTo>
                    <a:pt x="118" y="224"/>
                  </a:lnTo>
                  <a:lnTo>
                    <a:pt x="118" y="224"/>
                  </a:lnTo>
                  <a:lnTo>
                    <a:pt x="123" y="219"/>
                  </a:lnTo>
                  <a:lnTo>
                    <a:pt x="128" y="214"/>
                  </a:lnTo>
                  <a:lnTo>
                    <a:pt x="132" y="210"/>
                  </a:lnTo>
                  <a:lnTo>
                    <a:pt x="137" y="210"/>
                  </a:lnTo>
                  <a:lnTo>
                    <a:pt x="137" y="205"/>
                  </a:lnTo>
                  <a:lnTo>
                    <a:pt x="141" y="205"/>
                  </a:lnTo>
                  <a:lnTo>
                    <a:pt x="141" y="205"/>
                  </a:lnTo>
                  <a:lnTo>
                    <a:pt x="141" y="205"/>
                  </a:lnTo>
                  <a:lnTo>
                    <a:pt x="146" y="205"/>
                  </a:lnTo>
                  <a:lnTo>
                    <a:pt x="146" y="201"/>
                  </a:lnTo>
                  <a:lnTo>
                    <a:pt x="141" y="196"/>
                  </a:lnTo>
                  <a:lnTo>
                    <a:pt x="141" y="192"/>
                  </a:lnTo>
                  <a:lnTo>
                    <a:pt x="141" y="192"/>
                  </a:lnTo>
                  <a:lnTo>
                    <a:pt x="141" y="182"/>
                  </a:lnTo>
                  <a:lnTo>
                    <a:pt x="141" y="182"/>
                  </a:lnTo>
                  <a:lnTo>
                    <a:pt x="141" y="182"/>
                  </a:lnTo>
                  <a:lnTo>
                    <a:pt x="146" y="182"/>
                  </a:lnTo>
                  <a:lnTo>
                    <a:pt x="150" y="182"/>
                  </a:lnTo>
                  <a:lnTo>
                    <a:pt x="155" y="178"/>
                  </a:lnTo>
                  <a:lnTo>
                    <a:pt x="160" y="178"/>
                  </a:lnTo>
                  <a:lnTo>
                    <a:pt x="160" y="182"/>
                  </a:lnTo>
                  <a:lnTo>
                    <a:pt x="164" y="182"/>
                  </a:lnTo>
                  <a:lnTo>
                    <a:pt x="164" y="182"/>
                  </a:lnTo>
                  <a:lnTo>
                    <a:pt x="169" y="182"/>
                  </a:lnTo>
                  <a:lnTo>
                    <a:pt x="173" y="182"/>
                  </a:lnTo>
                  <a:lnTo>
                    <a:pt x="173" y="182"/>
                  </a:lnTo>
                  <a:lnTo>
                    <a:pt x="178" y="182"/>
                  </a:lnTo>
                  <a:lnTo>
                    <a:pt x="182" y="182"/>
                  </a:lnTo>
                  <a:lnTo>
                    <a:pt x="187" y="182"/>
                  </a:lnTo>
                  <a:lnTo>
                    <a:pt x="187" y="182"/>
                  </a:lnTo>
                  <a:lnTo>
                    <a:pt x="187" y="182"/>
                  </a:lnTo>
                  <a:lnTo>
                    <a:pt x="192" y="182"/>
                  </a:lnTo>
                  <a:lnTo>
                    <a:pt x="205" y="182"/>
                  </a:lnTo>
                  <a:lnTo>
                    <a:pt x="205" y="182"/>
                  </a:lnTo>
                  <a:lnTo>
                    <a:pt x="210" y="187"/>
                  </a:lnTo>
                  <a:lnTo>
                    <a:pt x="210" y="192"/>
                  </a:lnTo>
                  <a:lnTo>
                    <a:pt x="214" y="192"/>
                  </a:lnTo>
                  <a:lnTo>
                    <a:pt x="219" y="192"/>
                  </a:lnTo>
                  <a:lnTo>
                    <a:pt x="224" y="192"/>
                  </a:lnTo>
                  <a:lnTo>
                    <a:pt x="228" y="187"/>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Delta</a:t>
              </a:r>
            </a:p>
          </p:txBody>
        </p:sp>
        <p:sp>
          <p:nvSpPr>
            <p:cNvPr id="134" name="Freeform 53">
              <a:extLst>
                <a:ext uri="{FF2B5EF4-FFF2-40B4-BE49-F238E27FC236}">
                  <a16:creationId xmlns:a16="http://schemas.microsoft.com/office/drawing/2014/main" id="{49A1B362-CCA2-451B-96FA-C9ED5433E28F}"/>
                </a:ext>
              </a:extLst>
            </p:cNvPr>
            <p:cNvSpPr>
              <a:spLocks/>
            </p:cNvSpPr>
            <p:nvPr>
              <p:custDataLst>
                <p:tags r:id="rId46"/>
              </p:custDataLst>
            </p:nvPr>
          </p:nvSpPr>
          <p:spPr bwMode="auto">
            <a:xfrm>
              <a:off x="1690478" y="3490045"/>
              <a:ext cx="385139" cy="455483"/>
            </a:xfrm>
            <a:custGeom>
              <a:avLst/>
              <a:gdLst/>
              <a:ahLst/>
              <a:cxnLst>
                <a:cxn ang="0">
                  <a:pos x="28" y="297"/>
                </a:cxn>
                <a:cxn ang="0">
                  <a:pos x="55" y="306"/>
                </a:cxn>
                <a:cxn ang="0">
                  <a:pos x="83" y="325"/>
                </a:cxn>
                <a:cxn ang="0">
                  <a:pos x="87" y="302"/>
                </a:cxn>
                <a:cxn ang="0">
                  <a:pos x="83" y="283"/>
                </a:cxn>
                <a:cxn ang="0">
                  <a:pos x="101" y="261"/>
                </a:cxn>
                <a:cxn ang="0">
                  <a:pos x="106" y="233"/>
                </a:cxn>
                <a:cxn ang="0">
                  <a:pos x="74" y="201"/>
                </a:cxn>
                <a:cxn ang="0">
                  <a:pos x="87" y="151"/>
                </a:cxn>
                <a:cxn ang="0">
                  <a:pos x="83" y="87"/>
                </a:cxn>
                <a:cxn ang="0">
                  <a:pos x="74" y="46"/>
                </a:cxn>
                <a:cxn ang="0">
                  <a:pos x="142" y="55"/>
                </a:cxn>
                <a:cxn ang="0">
                  <a:pos x="151" y="69"/>
                </a:cxn>
                <a:cxn ang="0">
                  <a:pos x="165" y="87"/>
                </a:cxn>
                <a:cxn ang="0">
                  <a:pos x="179" y="96"/>
                </a:cxn>
                <a:cxn ang="0">
                  <a:pos x="197" y="82"/>
                </a:cxn>
                <a:cxn ang="0">
                  <a:pos x="202" y="46"/>
                </a:cxn>
                <a:cxn ang="0">
                  <a:pos x="215" y="23"/>
                </a:cxn>
                <a:cxn ang="0">
                  <a:pos x="247" y="23"/>
                </a:cxn>
                <a:cxn ang="0">
                  <a:pos x="284" y="5"/>
                </a:cxn>
                <a:cxn ang="0">
                  <a:pos x="302" y="5"/>
                </a:cxn>
                <a:cxn ang="0">
                  <a:pos x="311" y="23"/>
                </a:cxn>
                <a:cxn ang="0">
                  <a:pos x="325" y="41"/>
                </a:cxn>
                <a:cxn ang="0">
                  <a:pos x="339" y="64"/>
                </a:cxn>
                <a:cxn ang="0">
                  <a:pos x="362" y="91"/>
                </a:cxn>
                <a:cxn ang="0">
                  <a:pos x="371" y="110"/>
                </a:cxn>
                <a:cxn ang="0">
                  <a:pos x="380" y="133"/>
                </a:cxn>
                <a:cxn ang="0">
                  <a:pos x="394" y="151"/>
                </a:cxn>
                <a:cxn ang="0">
                  <a:pos x="398" y="169"/>
                </a:cxn>
                <a:cxn ang="0">
                  <a:pos x="375" y="174"/>
                </a:cxn>
                <a:cxn ang="0">
                  <a:pos x="352" y="187"/>
                </a:cxn>
                <a:cxn ang="0">
                  <a:pos x="348" y="206"/>
                </a:cxn>
                <a:cxn ang="0">
                  <a:pos x="330" y="219"/>
                </a:cxn>
                <a:cxn ang="0">
                  <a:pos x="311" y="238"/>
                </a:cxn>
                <a:cxn ang="0">
                  <a:pos x="311" y="256"/>
                </a:cxn>
                <a:cxn ang="0">
                  <a:pos x="311" y="283"/>
                </a:cxn>
                <a:cxn ang="0">
                  <a:pos x="298" y="283"/>
                </a:cxn>
                <a:cxn ang="0">
                  <a:pos x="270" y="297"/>
                </a:cxn>
                <a:cxn ang="0">
                  <a:pos x="256" y="311"/>
                </a:cxn>
                <a:cxn ang="0">
                  <a:pos x="229" y="288"/>
                </a:cxn>
                <a:cxn ang="0">
                  <a:pos x="211" y="288"/>
                </a:cxn>
                <a:cxn ang="0">
                  <a:pos x="179" y="297"/>
                </a:cxn>
                <a:cxn ang="0">
                  <a:pos x="170" y="347"/>
                </a:cxn>
                <a:cxn ang="0">
                  <a:pos x="160" y="375"/>
                </a:cxn>
                <a:cxn ang="0">
                  <a:pos x="142" y="398"/>
                </a:cxn>
                <a:cxn ang="0">
                  <a:pos x="110" y="389"/>
                </a:cxn>
                <a:cxn ang="0">
                  <a:pos x="92" y="352"/>
                </a:cxn>
                <a:cxn ang="0">
                  <a:pos x="69" y="352"/>
                </a:cxn>
                <a:cxn ang="0">
                  <a:pos x="46" y="347"/>
                </a:cxn>
                <a:cxn ang="0">
                  <a:pos x="14" y="347"/>
                </a:cxn>
                <a:cxn ang="0">
                  <a:pos x="0" y="325"/>
                </a:cxn>
                <a:cxn ang="0">
                  <a:pos x="14" y="297"/>
                </a:cxn>
              </a:cxnLst>
              <a:rect l="0" t="0" r="r" b="b"/>
              <a:pathLst>
                <a:path w="398" h="407">
                  <a:moveTo>
                    <a:pt x="19" y="288"/>
                  </a:moveTo>
                  <a:lnTo>
                    <a:pt x="23" y="288"/>
                  </a:lnTo>
                  <a:lnTo>
                    <a:pt x="23" y="293"/>
                  </a:lnTo>
                  <a:lnTo>
                    <a:pt x="23" y="293"/>
                  </a:lnTo>
                  <a:lnTo>
                    <a:pt x="28" y="297"/>
                  </a:lnTo>
                  <a:lnTo>
                    <a:pt x="32" y="297"/>
                  </a:lnTo>
                  <a:lnTo>
                    <a:pt x="37" y="297"/>
                  </a:lnTo>
                  <a:lnTo>
                    <a:pt x="42" y="297"/>
                  </a:lnTo>
                  <a:lnTo>
                    <a:pt x="46" y="297"/>
                  </a:lnTo>
                  <a:lnTo>
                    <a:pt x="55" y="306"/>
                  </a:lnTo>
                  <a:lnTo>
                    <a:pt x="69" y="311"/>
                  </a:lnTo>
                  <a:lnTo>
                    <a:pt x="74" y="315"/>
                  </a:lnTo>
                  <a:lnTo>
                    <a:pt x="74" y="320"/>
                  </a:lnTo>
                  <a:lnTo>
                    <a:pt x="78" y="320"/>
                  </a:lnTo>
                  <a:lnTo>
                    <a:pt x="83" y="325"/>
                  </a:lnTo>
                  <a:lnTo>
                    <a:pt x="92" y="325"/>
                  </a:lnTo>
                  <a:lnTo>
                    <a:pt x="92" y="315"/>
                  </a:lnTo>
                  <a:lnTo>
                    <a:pt x="92" y="306"/>
                  </a:lnTo>
                  <a:lnTo>
                    <a:pt x="92" y="306"/>
                  </a:lnTo>
                  <a:lnTo>
                    <a:pt x="87" y="302"/>
                  </a:lnTo>
                  <a:lnTo>
                    <a:pt x="87" y="297"/>
                  </a:lnTo>
                  <a:lnTo>
                    <a:pt x="87" y="293"/>
                  </a:lnTo>
                  <a:lnTo>
                    <a:pt x="83" y="288"/>
                  </a:lnTo>
                  <a:lnTo>
                    <a:pt x="83" y="283"/>
                  </a:lnTo>
                  <a:lnTo>
                    <a:pt x="83" y="283"/>
                  </a:lnTo>
                  <a:lnTo>
                    <a:pt x="87" y="279"/>
                  </a:lnTo>
                  <a:lnTo>
                    <a:pt x="92" y="274"/>
                  </a:lnTo>
                  <a:lnTo>
                    <a:pt x="96" y="270"/>
                  </a:lnTo>
                  <a:lnTo>
                    <a:pt x="96" y="270"/>
                  </a:lnTo>
                  <a:lnTo>
                    <a:pt x="101" y="261"/>
                  </a:lnTo>
                  <a:lnTo>
                    <a:pt x="101" y="261"/>
                  </a:lnTo>
                  <a:lnTo>
                    <a:pt x="106" y="256"/>
                  </a:lnTo>
                  <a:lnTo>
                    <a:pt x="106" y="247"/>
                  </a:lnTo>
                  <a:lnTo>
                    <a:pt x="106" y="238"/>
                  </a:lnTo>
                  <a:lnTo>
                    <a:pt x="106" y="233"/>
                  </a:lnTo>
                  <a:lnTo>
                    <a:pt x="101" y="215"/>
                  </a:lnTo>
                  <a:lnTo>
                    <a:pt x="101" y="210"/>
                  </a:lnTo>
                  <a:lnTo>
                    <a:pt x="92" y="210"/>
                  </a:lnTo>
                  <a:lnTo>
                    <a:pt x="83" y="206"/>
                  </a:lnTo>
                  <a:lnTo>
                    <a:pt x="74" y="201"/>
                  </a:lnTo>
                  <a:lnTo>
                    <a:pt x="74" y="192"/>
                  </a:lnTo>
                  <a:lnTo>
                    <a:pt x="69" y="178"/>
                  </a:lnTo>
                  <a:lnTo>
                    <a:pt x="74" y="174"/>
                  </a:lnTo>
                  <a:lnTo>
                    <a:pt x="78" y="160"/>
                  </a:lnTo>
                  <a:lnTo>
                    <a:pt x="87" y="151"/>
                  </a:lnTo>
                  <a:lnTo>
                    <a:pt x="87" y="142"/>
                  </a:lnTo>
                  <a:lnTo>
                    <a:pt x="83" y="128"/>
                  </a:lnTo>
                  <a:lnTo>
                    <a:pt x="83" y="114"/>
                  </a:lnTo>
                  <a:lnTo>
                    <a:pt x="87" y="105"/>
                  </a:lnTo>
                  <a:lnTo>
                    <a:pt x="83" y="87"/>
                  </a:lnTo>
                  <a:lnTo>
                    <a:pt x="78" y="73"/>
                  </a:lnTo>
                  <a:lnTo>
                    <a:pt x="74" y="64"/>
                  </a:lnTo>
                  <a:lnTo>
                    <a:pt x="69" y="59"/>
                  </a:lnTo>
                  <a:lnTo>
                    <a:pt x="69" y="50"/>
                  </a:lnTo>
                  <a:lnTo>
                    <a:pt x="74" y="46"/>
                  </a:lnTo>
                  <a:lnTo>
                    <a:pt x="87" y="50"/>
                  </a:lnTo>
                  <a:lnTo>
                    <a:pt x="101" y="46"/>
                  </a:lnTo>
                  <a:lnTo>
                    <a:pt x="119" y="41"/>
                  </a:lnTo>
                  <a:lnTo>
                    <a:pt x="142" y="46"/>
                  </a:lnTo>
                  <a:lnTo>
                    <a:pt x="142" y="55"/>
                  </a:lnTo>
                  <a:lnTo>
                    <a:pt x="142" y="59"/>
                  </a:lnTo>
                  <a:lnTo>
                    <a:pt x="142" y="64"/>
                  </a:lnTo>
                  <a:lnTo>
                    <a:pt x="147" y="64"/>
                  </a:lnTo>
                  <a:lnTo>
                    <a:pt x="147" y="69"/>
                  </a:lnTo>
                  <a:lnTo>
                    <a:pt x="151" y="69"/>
                  </a:lnTo>
                  <a:lnTo>
                    <a:pt x="151" y="73"/>
                  </a:lnTo>
                  <a:lnTo>
                    <a:pt x="156" y="78"/>
                  </a:lnTo>
                  <a:lnTo>
                    <a:pt x="156" y="82"/>
                  </a:lnTo>
                  <a:lnTo>
                    <a:pt x="160" y="82"/>
                  </a:lnTo>
                  <a:lnTo>
                    <a:pt x="165" y="87"/>
                  </a:lnTo>
                  <a:lnTo>
                    <a:pt x="170" y="87"/>
                  </a:lnTo>
                  <a:lnTo>
                    <a:pt x="174" y="91"/>
                  </a:lnTo>
                  <a:lnTo>
                    <a:pt x="179" y="91"/>
                  </a:lnTo>
                  <a:lnTo>
                    <a:pt x="179" y="96"/>
                  </a:lnTo>
                  <a:lnTo>
                    <a:pt x="179" y="96"/>
                  </a:lnTo>
                  <a:lnTo>
                    <a:pt x="183" y="96"/>
                  </a:lnTo>
                  <a:lnTo>
                    <a:pt x="188" y="96"/>
                  </a:lnTo>
                  <a:lnTo>
                    <a:pt x="192" y="91"/>
                  </a:lnTo>
                  <a:lnTo>
                    <a:pt x="197" y="87"/>
                  </a:lnTo>
                  <a:lnTo>
                    <a:pt x="197" y="82"/>
                  </a:lnTo>
                  <a:lnTo>
                    <a:pt x="197" y="73"/>
                  </a:lnTo>
                  <a:lnTo>
                    <a:pt x="202" y="64"/>
                  </a:lnTo>
                  <a:lnTo>
                    <a:pt x="202" y="59"/>
                  </a:lnTo>
                  <a:lnTo>
                    <a:pt x="202" y="55"/>
                  </a:lnTo>
                  <a:lnTo>
                    <a:pt x="202" y="46"/>
                  </a:lnTo>
                  <a:lnTo>
                    <a:pt x="202" y="41"/>
                  </a:lnTo>
                  <a:lnTo>
                    <a:pt x="202" y="37"/>
                  </a:lnTo>
                  <a:lnTo>
                    <a:pt x="202" y="32"/>
                  </a:lnTo>
                  <a:lnTo>
                    <a:pt x="211" y="27"/>
                  </a:lnTo>
                  <a:lnTo>
                    <a:pt x="215" y="23"/>
                  </a:lnTo>
                  <a:lnTo>
                    <a:pt x="220" y="23"/>
                  </a:lnTo>
                  <a:lnTo>
                    <a:pt x="220" y="23"/>
                  </a:lnTo>
                  <a:lnTo>
                    <a:pt x="224" y="23"/>
                  </a:lnTo>
                  <a:lnTo>
                    <a:pt x="238" y="23"/>
                  </a:lnTo>
                  <a:lnTo>
                    <a:pt x="247" y="23"/>
                  </a:lnTo>
                  <a:lnTo>
                    <a:pt x="256" y="18"/>
                  </a:lnTo>
                  <a:lnTo>
                    <a:pt x="266" y="9"/>
                  </a:lnTo>
                  <a:lnTo>
                    <a:pt x="270" y="5"/>
                  </a:lnTo>
                  <a:lnTo>
                    <a:pt x="275" y="5"/>
                  </a:lnTo>
                  <a:lnTo>
                    <a:pt x="284" y="5"/>
                  </a:lnTo>
                  <a:lnTo>
                    <a:pt x="284" y="0"/>
                  </a:lnTo>
                  <a:lnTo>
                    <a:pt x="288" y="0"/>
                  </a:lnTo>
                  <a:lnTo>
                    <a:pt x="293" y="0"/>
                  </a:lnTo>
                  <a:lnTo>
                    <a:pt x="298" y="0"/>
                  </a:lnTo>
                  <a:lnTo>
                    <a:pt x="302" y="5"/>
                  </a:lnTo>
                  <a:lnTo>
                    <a:pt x="307" y="9"/>
                  </a:lnTo>
                  <a:lnTo>
                    <a:pt x="307" y="14"/>
                  </a:lnTo>
                  <a:lnTo>
                    <a:pt x="311" y="14"/>
                  </a:lnTo>
                  <a:lnTo>
                    <a:pt x="311" y="18"/>
                  </a:lnTo>
                  <a:lnTo>
                    <a:pt x="311" y="23"/>
                  </a:lnTo>
                  <a:lnTo>
                    <a:pt x="316" y="27"/>
                  </a:lnTo>
                  <a:lnTo>
                    <a:pt x="320" y="32"/>
                  </a:lnTo>
                  <a:lnTo>
                    <a:pt x="320" y="37"/>
                  </a:lnTo>
                  <a:lnTo>
                    <a:pt x="320" y="41"/>
                  </a:lnTo>
                  <a:lnTo>
                    <a:pt x="325" y="41"/>
                  </a:lnTo>
                  <a:lnTo>
                    <a:pt x="330" y="46"/>
                  </a:lnTo>
                  <a:lnTo>
                    <a:pt x="330" y="50"/>
                  </a:lnTo>
                  <a:lnTo>
                    <a:pt x="330" y="55"/>
                  </a:lnTo>
                  <a:lnTo>
                    <a:pt x="334" y="64"/>
                  </a:lnTo>
                  <a:lnTo>
                    <a:pt x="339" y="64"/>
                  </a:lnTo>
                  <a:lnTo>
                    <a:pt x="339" y="73"/>
                  </a:lnTo>
                  <a:lnTo>
                    <a:pt x="343" y="73"/>
                  </a:lnTo>
                  <a:lnTo>
                    <a:pt x="357" y="87"/>
                  </a:lnTo>
                  <a:lnTo>
                    <a:pt x="357" y="87"/>
                  </a:lnTo>
                  <a:lnTo>
                    <a:pt x="362" y="91"/>
                  </a:lnTo>
                  <a:lnTo>
                    <a:pt x="366" y="96"/>
                  </a:lnTo>
                  <a:lnTo>
                    <a:pt x="366" y="101"/>
                  </a:lnTo>
                  <a:lnTo>
                    <a:pt x="371" y="105"/>
                  </a:lnTo>
                  <a:lnTo>
                    <a:pt x="371" y="110"/>
                  </a:lnTo>
                  <a:lnTo>
                    <a:pt x="371" y="110"/>
                  </a:lnTo>
                  <a:lnTo>
                    <a:pt x="375" y="119"/>
                  </a:lnTo>
                  <a:lnTo>
                    <a:pt x="375" y="123"/>
                  </a:lnTo>
                  <a:lnTo>
                    <a:pt x="375" y="123"/>
                  </a:lnTo>
                  <a:lnTo>
                    <a:pt x="375" y="128"/>
                  </a:lnTo>
                  <a:lnTo>
                    <a:pt x="380" y="133"/>
                  </a:lnTo>
                  <a:lnTo>
                    <a:pt x="384" y="133"/>
                  </a:lnTo>
                  <a:lnTo>
                    <a:pt x="384" y="142"/>
                  </a:lnTo>
                  <a:lnTo>
                    <a:pt x="384" y="146"/>
                  </a:lnTo>
                  <a:lnTo>
                    <a:pt x="389" y="151"/>
                  </a:lnTo>
                  <a:lnTo>
                    <a:pt x="394" y="151"/>
                  </a:lnTo>
                  <a:lnTo>
                    <a:pt x="398" y="151"/>
                  </a:lnTo>
                  <a:lnTo>
                    <a:pt x="398" y="155"/>
                  </a:lnTo>
                  <a:lnTo>
                    <a:pt x="398" y="155"/>
                  </a:lnTo>
                  <a:lnTo>
                    <a:pt x="398" y="165"/>
                  </a:lnTo>
                  <a:lnTo>
                    <a:pt x="398" y="169"/>
                  </a:lnTo>
                  <a:lnTo>
                    <a:pt x="398" y="174"/>
                  </a:lnTo>
                  <a:lnTo>
                    <a:pt x="394" y="174"/>
                  </a:lnTo>
                  <a:lnTo>
                    <a:pt x="389" y="174"/>
                  </a:lnTo>
                  <a:lnTo>
                    <a:pt x="384" y="174"/>
                  </a:lnTo>
                  <a:lnTo>
                    <a:pt x="375" y="174"/>
                  </a:lnTo>
                  <a:lnTo>
                    <a:pt x="375" y="174"/>
                  </a:lnTo>
                  <a:lnTo>
                    <a:pt x="366" y="178"/>
                  </a:lnTo>
                  <a:lnTo>
                    <a:pt x="357" y="183"/>
                  </a:lnTo>
                  <a:lnTo>
                    <a:pt x="357" y="187"/>
                  </a:lnTo>
                  <a:lnTo>
                    <a:pt x="352" y="187"/>
                  </a:lnTo>
                  <a:lnTo>
                    <a:pt x="352" y="192"/>
                  </a:lnTo>
                  <a:lnTo>
                    <a:pt x="352" y="197"/>
                  </a:lnTo>
                  <a:lnTo>
                    <a:pt x="352" y="197"/>
                  </a:lnTo>
                  <a:lnTo>
                    <a:pt x="348" y="201"/>
                  </a:lnTo>
                  <a:lnTo>
                    <a:pt x="348" y="206"/>
                  </a:lnTo>
                  <a:lnTo>
                    <a:pt x="343" y="206"/>
                  </a:lnTo>
                  <a:lnTo>
                    <a:pt x="339" y="215"/>
                  </a:lnTo>
                  <a:lnTo>
                    <a:pt x="334" y="215"/>
                  </a:lnTo>
                  <a:lnTo>
                    <a:pt x="330" y="219"/>
                  </a:lnTo>
                  <a:lnTo>
                    <a:pt x="330" y="219"/>
                  </a:lnTo>
                  <a:lnTo>
                    <a:pt x="325" y="224"/>
                  </a:lnTo>
                  <a:lnTo>
                    <a:pt x="325" y="229"/>
                  </a:lnTo>
                  <a:lnTo>
                    <a:pt x="320" y="233"/>
                  </a:lnTo>
                  <a:lnTo>
                    <a:pt x="316" y="233"/>
                  </a:lnTo>
                  <a:lnTo>
                    <a:pt x="311" y="238"/>
                  </a:lnTo>
                  <a:lnTo>
                    <a:pt x="311" y="242"/>
                  </a:lnTo>
                  <a:lnTo>
                    <a:pt x="311" y="242"/>
                  </a:lnTo>
                  <a:lnTo>
                    <a:pt x="311" y="247"/>
                  </a:lnTo>
                  <a:lnTo>
                    <a:pt x="311" y="247"/>
                  </a:lnTo>
                  <a:lnTo>
                    <a:pt x="311" y="256"/>
                  </a:lnTo>
                  <a:lnTo>
                    <a:pt x="316" y="261"/>
                  </a:lnTo>
                  <a:lnTo>
                    <a:pt x="316" y="265"/>
                  </a:lnTo>
                  <a:lnTo>
                    <a:pt x="316" y="274"/>
                  </a:lnTo>
                  <a:lnTo>
                    <a:pt x="316" y="279"/>
                  </a:lnTo>
                  <a:lnTo>
                    <a:pt x="311" y="283"/>
                  </a:lnTo>
                  <a:lnTo>
                    <a:pt x="311" y="283"/>
                  </a:lnTo>
                  <a:lnTo>
                    <a:pt x="311" y="288"/>
                  </a:lnTo>
                  <a:lnTo>
                    <a:pt x="311" y="288"/>
                  </a:lnTo>
                  <a:lnTo>
                    <a:pt x="302" y="283"/>
                  </a:lnTo>
                  <a:lnTo>
                    <a:pt x="298" y="283"/>
                  </a:lnTo>
                  <a:lnTo>
                    <a:pt x="293" y="283"/>
                  </a:lnTo>
                  <a:lnTo>
                    <a:pt x="288" y="283"/>
                  </a:lnTo>
                  <a:lnTo>
                    <a:pt x="288" y="283"/>
                  </a:lnTo>
                  <a:lnTo>
                    <a:pt x="284" y="288"/>
                  </a:lnTo>
                  <a:lnTo>
                    <a:pt x="270" y="297"/>
                  </a:lnTo>
                  <a:lnTo>
                    <a:pt x="266" y="302"/>
                  </a:lnTo>
                  <a:lnTo>
                    <a:pt x="266" y="306"/>
                  </a:lnTo>
                  <a:lnTo>
                    <a:pt x="261" y="306"/>
                  </a:lnTo>
                  <a:lnTo>
                    <a:pt x="256" y="306"/>
                  </a:lnTo>
                  <a:lnTo>
                    <a:pt x="256" y="311"/>
                  </a:lnTo>
                  <a:lnTo>
                    <a:pt x="247" y="311"/>
                  </a:lnTo>
                  <a:lnTo>
                    <a:pt x="243" y="306"/>
                  </a:lnTo>
                  <a:lnTo>
                    <a:pt x="238" y="302"/>
                  </a:lnTo>
                  <a:lnTo>
                    <a:pt x="234" y="293"/>
                  </a:lnTo>
                  <a:lnTo>
                    <a:pt x="229" y="288"/>
                  </a:lnTo>
                  <a:lnTo>
                    <a:pt x="224" y="288"/>
                  </a:lnTo>
                  <a:lnTo>
                    <a:pt x="224" y="283"/>
                  </a:lnTo>
                  <a:lnTo>
                    <a:pt x="220" y="283"/>
                  </a:lnTo>
                  <a:lnTo>
                    <a:pt x="215" y="283"/>
                  </a:lnTo>
                  <a:lnTo>
                    <a:pt x="211" y="288"/>
                  </a:lnTo>
                  <a:lnTo>
                    <a:pt x="206" y="283"/>
                  </a:lnTo>
                  <a:lnTo>
                    <a:pt x="188" y="283"/>
                  </a:lnTo>
                  <a:lnTo>
                    <a:pt x="179" y="283"/>
                  </a:lnTo>
                  <a:lnTo>
                    <a:pt x="179" y="288"/>
                  </a:lnTo>
                  <a:lnTo>
                    <a:pt x="179" y="297"/>
                  </a:lnTo>
                  <a:lnTo>
                    <a:pt x="183" y="302"/>
                  </a:lnTo>
                  <a:lnTo>
                    <a:pt x="183" y="311"/>
                  </a:lnTo>
                  <a:lnTo>
                    <a:pt x="179" y="325"/>
                  </a:lnTo>
                  <a:lnTo>
                    <a:pt x="179" y="338"/>
                  </a:lnTo>
                  <a:lnTo>
                    <a:pt x="170" y="347"/>
                  </a:lnTo>
                  <a:lnTo>
                    <a:pt x="160" y="347"/>
                  </a:lnTo>
                  <a:lnTo>
                    <a:pt x="160" y="352"/>
                  </a:lnTo>
                  <a:lnTo>
                    <a:pt x="165" y="357"/>
                  </a:lnTo>
                  <a:lnTo>
                    <a:pt x="170" y="370"/>
                  </a:lnTo>
                  <a:lnTo>
                    <a:pt x="160" y="375"/>
                  </a:lnTo>
                  <a:lnTo>
                    <a:pt x="156" y="375"/>
                  </a:lnTo>
                  <a:lnTo>
                    <a:pt x="156" y="379"/>
                  </a:lnTo>
                  <a:lnTo>
                    <a:pt x="156" y="384"/>
                  </a:lnTo>
                  <a:lnTo>
                    <a:pt x="147" y="393"/>
                  </a:lnTo>
                  <a:lnTo>
                    <a:pt x="142" y="398"/>
                  </a:lnTo>
                  <a:lnTo>
                    <a:pt x="147" y="407"/>
                  </a:lnTo>
                  <a:lnTo>
                    <a:pt x="138" y="402"/>
                  </a:lnTo>
                  <a:lnTo>
                    <a:pt x="128" y="402"/>
                  </a:lnTo>
                  <a:lnTo>
                    <a:pt x="119" y="398"/>
                  </a:lnTo>
                  <a:lnTo>
                    <a:pt x="110" y="389"/>
                  </a:lnTo>
                  <a:lnTo>
                    <a:pt x="101" y="379"/>
                  </a:lnTo>
                  <a:lnTo>
                    <a:pt x="101" y="370"/>
                  </a:lnTo>
                  <a:lnTo>
                    <a:pt x="101" y="366"/>
                  </a:lnTo>
                  <a:lnTo>
                    <a:pt x="96" y="357"/>
                  </a:lnTo>
                  <a:lnTo>
                    <a:pt x="92" y="352"/>
                  </a:lnTo>
                  <a:lnTo>
                    <a:pt x="83" y="352"/>
                  </a:lnTo>
                  <a:lnTo>
                    <a:pt x="78" y="352"/>
                  </a:lnTo>
                  <a:lnTo>
                    <a:pt x="74" y="352"/>
                  </a:lnTo>
                  <a:lnTo>
                    <a:pt x="69" y="352"/>
                  </a:lnTo>
                  <a:lnTo>
                    <a:pt x="69" y="352"/>
                  </a:lnTo>
                  <a:lnTo>
                    <a:pt x="64" y="352"/>
                  </a:lnTo>
                  <a:lnTo>
                    <a:pt x="60" y="352"/>
                  </a:lnTo>
                  <a:lnTo>
                    <a:pt x="60" y="347"/>
                  </a:lnTo>
                  <a:lnTo>
                    <a:pt x="55" y="347"/>
                  </a:lnTo>
                  <a:lnTo>
                    <a:pt x="46" y="347"/>
                  </a:lnTo>
                  <a:lnTo>
                    <a:pt x="42" y="347"/>
                  </a:lnTo>
                  <a:lnTo>
                    <a:pt x="37" y="347"/>
                  </a:lnTo>
                  <a:lnTo>
                    <a:pt x="28" y="347"/>
                  </a:lnTo>
                  <a:lnTo>
                    <a:pt x="19" y="347"/>
                  </a:lnTo>
                  <a:lnTo>
                    <a:pt x="14" y="347"/>
                  </a:lnTo>
                  <a:lnTo>
                    <a:pt x="10" y="347"/>
                  </a:lnTo>
                  <a:lnTo>
                    <a:pt x="0" y="343"/>
                  </a:lnTo>
                  <a:lnTo>
                    <a:pt x="0" y="338"/>
                  </a:lnTo>
                  <a:lnTo>
                    <a:pt x="0" y="329"/>
                  </a:lnTo>
                  <a:lnTo>
                    <a:pt x="0" y="325"/>
                  </a:lnTo>
                  <a:lnTo>
                    <a:pt x="0" y="320"/>
                  </a:lnTo>
                  <a:lnTo>
                    <a:pt x="5" y="311"/>
                  </a:lnTo>
                  <a:lnTo>
                    <a:pt x="5" y="306"/>
                  </a:lnTo>
                  <a:lnTo>
                    <a:pt x="10" y="302"/>
                  </a:lnTo>
                  <a:lnTo>
                    <a:pt x="14" y="297"/>
                  </a:lnTo>
                  <a:lnTo>
                    <a:pt x="14" y="293"/>
                  </a:lnTo>
                  <a:lnTo>
                    <a:pt x="19" y="288"/>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Ebonyi</a:t>
              </a:r>
            </a:p>
          </p:txBody>
        </p:sp>
        <p:sp>
          <p:nvSpPr>
            <p:cNvPr id="135" name="Freeform 54">
              <a:extLst>
                <a:ext uri="{FF2B5EF4-FFF2-40B4-BE49-F238E27FC236}">
                  <a16:creationId xmlns:a16="http://schemas.microsoft.com/office/drawing/2014/main" id="{92EA7A2A-9DB8-40EA-885A-51776D0392FB}"/>
                </a:ext>
              </a:extLst>
            </p:cNvPr>
            <p:cNvSpPr>
              <a:spLocks/>
            </p:cNvSpPr>
            <p:nvPr>
              <p:custDataLst>
                <p:tags r:id="rId47"/>
              </p:custDataLst>
            </p:nvPr>
          </p:nvSpPr>
          <p:spPr bwMode="auto">
            <a:xfrm>
              <a:off x="914663" y="3219271"/>
              <a:ext cx="565628" cy="708434"/>
            </a:xfrm>
            <a:custGeom>
              <a:avLst/>
              <a:gdLst/>
              <a:ahLst/>
              <a:cxnLst>
                <a:cxn ang="0">
                  <a:pos x="320" y="192"/>
                </a:cxn>
                <a:cxn ang="0">
                  <a:pos x="338" y="142"/>
                </a:cxn>
                <a:cxn ang="0">
                  <a:pos x="352" y="101"/>
                </a:cxn>
                <a:cxn ang="0">
                  <a:pos x="366" y="73"/>
                </a:cxn>
                <a:cxn ang="0">
                  <a:pos x="366" y="46"/>
                </a:cxn>
                <a:cxn ang="0">
                  <a:pos x="384" y="23"/>
                </a:cxn>
                <a:cxn ang="0">
                  <a:pos x="407" y="0"/>
                </a:cxn>
                <a:cxn ang="0">
                  <a:pos x="430" y="18"/>
                </a:cxn>
                <a:cxn ang="0">
                  <a:pos x="425" y="50"/>
                </a:cxn>
                <a:cxn ang="0">
                  <a:pos x="466" y="46"/>
                </a:cxn>
                <a:cxn ang="0">
                  <a:pos x="503" y="64"/>
                </a:cxn>
                <a:cxn ang="0">
                  <a:pos x="530" y="73"/>
                </a:cxn>
                <a:cxn ang="0">
                  <a:pos x="553" y="87"/>
                </a:cxn>
                <a:cxn ang="0">
                  <a:pos x="576" y="119"/>
                </a:cxn>
                <a:cxn ang="0">
                  <a:pos x="626" y="114"/>
                </a:cxn>
                <a:cxn ang="0">
                  <a:pos x="644" y="142"/>
                </a:cxn>
                <a:cxn ang="0">
                  <a:pos x="644" y="192"/>
                </a:cxn>
                <a:cxn ang="0">
                  <a:pos x="631" y="247"/>
                </a:cxn>
                <a:cxn ang="0">
                  <a:pos x="612" y="293"/>
                </a:cxn>
                <a:cxn ang="0">
                  <a:pos x="626" y="366"/>
                </a:cxn>
                <a:cxn ang="0">
                  <a:pos x="608" y="416"/>
                </a:cxn>
                <a:cxn ang="0">
                  <a:pos x="548" y="434"/>
                </a:cxn>
                <a:cxn ang="0">
                  <a:pos x="507" y="457"/>
                </a:cxn>
                <a:cxn ang="0">
                  <a:pos x="471" y="480"/>
                </a:cxn>
                <a:cxn ang="0">
                  <a:pos x="448" y="476"/>
                </a:cxn>
                <a:cxn ang="0">
                  <a:pos x="407" y="476"/>
                </a:cxn>
                <a:cxn ang="0">
                  <a:pos x="420" y="517"/>
                </a:cxn>
                <a:cxn ang="0">
                  <a:pos x="443" y="572"/>
                </a:cxn>
                <a:cxn ang="0">
                  <a:pos x="475" y="594"/>
                </a:cxn>
                <a:cxn ang="0">
                  <a:pos x="448" y="640"/>
                </a:cxn>
                <a:cxn ang="0">
                  <a:pos x="420" y="658"/>
                </a:cxn>
                <a:cxn ang="0">
                  <a:pos x="388" y="686"/>
                </a:cxn>
                <a:cxn ang="0">
                  <a:pos x="343" y="695"/>
                </a:cxn>
                <a:cxn ang="0">
                  <a:pos x="338" y="663"/>
                </a:cxn>
                <a:cxn ang="0">
                  <a:pos x="320" y="631"/>
                </a:cxn>
                <a:cxn ang="0">
                  <a:pos x="279" y="599"/>
                </a:cxn>
                <a:cxn ang="0">
                  <a:pos x="242" y="585"/>
                </a:cxn>
                <a:cxn ang="0">
                  <a:pos x="210" y="599"/>
                </a:cxn>
                <a:cxn ang="0">
                  <a:pos x="169" y="594"/>
                </a:cxn>
                <a:cxn ang="0">
                  <a:pos x="142" y="594"/>
                </a:cxn>
                <a:cxn ang="0">
                  <a:pos x="123" y="608"/>
                </a:cxn>
                <a:cxn ang="0">
                  <a:pos x="105" y="631"/>
                </a:cxn>
                <a:cxn ang="0">
                  <a:pos x="87" y="613"/>
                </a:cxn>
                <a:cxn ang="0">
                  <a:pos x="82" y="576"/>
                </a:cxn>
                <a:cxn ang="0">
                  <a:pos x="55" y="549"/>
                </a:cxn>
                <a:cxn ang="0">
                  <a:pos x="14" y="521"/>
                </a:cxn>
                <a:cxn ang="0">
                  <a:pos x="0" y="485"/>
                </a:cxn>
                <a:cxn ang="0">
                  <a:pos x="27" y="457"/>
                </a:cxn>
                <a:cxn ang="0">
                  <a:pos x="50" y="412"/>
                </a:cxn>
                <a:cxn ang="0">
                  <a:pos x="41" y="380"/>
                </a:cxn>
                <a:cxn ang="0">
                  <a:pos x="46" y="325"/>
                </a:cxn>
                <a:cxn ang="0">
                  <a:pos x="68" y="306"/>
                </a:cxn>
                <a:cxn ang="0">
                  <a:pos x="96" y="265"/>
                </a:cxn>
                <a:cxn ang="0">
                  <a:pos x="187" y="270"/>
                </a:cxn>
                <a:cxn ang="0">
                  <a:pos x="210" y="288"/>
                </a:cxn>
                <a:cxn ang="0">
                  <a:pos x="206" y="316"/>
                </a:cxn>
                <a:cxn ang="0">
                  <a:pos x="233" y="316"/>
                </a:cxn>
                <a:cxn ang="0">
                  <a:pos x="265" y="320"/>
                </a:cxn>
                <a:cxn ang="0">
                  <a:pos x="283" y="279"/>
                </a:cxn>
                <a:cxn ang="0">
                  <a:pos x="297" y="233"/>
                </a:cxn>
              </a:cxnLst>
              <a:rect l="0" t="0" r="r" b="b"/>
              <a:pathLst>
                <a:path w="649" h="700">
                  <a:moveTo>
                    <a:pt x="302" y="220"/>
                  </a:moveTo>
                  <a:lnTo>
                    <a:pt x="302" y="220"/>
                  </a:lnTo>
                  <a:lnTo>
                    <a:pt x="306" y="210"/>
                  </a:lnTo>
                  <a:lnTo>
                    <a:pt x="306" y="206"/>
                  </a:lnTo>
                  <a:lnTo>
                    <a:pt x="311" y="206"/>
                  </a:lnTo>
                  <a:lnTo>
                    <a:pt x="311" y="201"/>
                  </a:lnTo>
                  <a:lnTo>
                    <a:pt x="315" y="201"/>
                  </a:lnTo>
                  <a:lnTo>
                    <a:pt x="315" y="201"/>
                  </a:lnTo>
                  <a:lnTo>
                    <a:pt x="320" y="197"/>
                  </a:lnTo>
                  <a:lnTo>
                    <a:pt x="320" y="192"/>
                  </a:lnTo>
                  <a:lnTo>
                    <a:pt x="320" y="188"/>
                  </a:lnTo>
                  <a:lnTo>
                    <a:pt x="324" y="183"/>
                  </a:lnTo>
                  <a:lnTo>
                    <a:pt x="324" y="178"/>
                  </a:lnTo>
                  <a:lnTo>
                    <a:pt x="329" y="169"/>
                  </a:lnTo>
                  <a:lnTo>
                    <a:pt x="334" y="165"/>
                  </a:lnTo>
                  <a:lnTo>
                    <a:pt x="334" y="160"/>
                  </a:lnTo>
                  <a:lnTo>
                    <a:pt x="334" y="156"/>
                  </a:lnTo>
                  <a:lnTo>
                    <a:pt x="338" y="151"/>
                  </a:lnTo>
                  <a:lnTo>
                    <a:pt x="338" y="146"/>
                  </a:lnTo>
                  <a:lnTo>
                    <a:pt x="338" y="142"/>
                  </a:lnTo>
                  <a:lnTo>
                    <a:pt x="338" y="137"/>
                  </a:lnTo>
                  <a:lnTo>
                    <a:pt x="343" y="133"/>
                  </a:lnTo>
                  <a:lnTo>
                    <a:pt x="343" y="133"/>
                  </a:lnTo>
                  <a:lnTo>
                    <a:pt x="343" y="128"/>
                  </a:lnTo>
                  <a:lnTo>
                    <a:pt x="343" y="124"/>
                  </a:lnTo>
                  <a:lnTo>
                    <a:pt x="347" y="114"/>
                  </a:lnTo>
                  <a:lnTo>
                    <a:pt x="347" y="114"/>
                  </a:lnTo>
                  <a:lnTo>
                    <a:pt x="347" y="110"/>
                  </a:lnTo>
                  <a:lnTo>
                    <a:pt x="352" y="105"/>
                  </a:lnTo>
                  <a:lnTo>
                    <a:pt x="352" y="101"/>
                  </a:lnTo>
                  <a:lnTo>
                    <a:pt x="356" y="101"/>
                  </a:lnTo>
                  <a:lnTo>
                    <a:pt x="361" y="96"/>
                  </a:lnTo>
                  <a:lnTo>
                    <a:pt x="366" y="96"/>
                  </a:lnTo>
                  <a:lnTo>
                    <a:pt x="370" y="96"/>
                  </a:lnTo>
                  <a:lnTo>
                    <a:pt x="370" y="92"/>
                  </a:lnTo>
                  <a:lnTo>
                    <a:pt x="370" y="92"/>
                  </a:lnTo>
                  <a:lnTo>
                    <a:pt x="370" y="87"/>
                  </a:lnTo>
                  <a:lnTo>
                    <a:pt x="370" y="82"/>
                  </a:lnTo>
                  <a:lnTo>
                    <a:pt x="366" y="78"/>
                  </a:lnTo>
                  <a:lnTo>
                    <a:pt x="366" y="73"/>
                  </a:lnTo>
                  <a:lnTo>
                    <a:pt x="366" y="69"/>
                  </a:lnTo>
                  <a:lnTo>
                    <a:pt x="370" y="69"/>
                  </a:lnTo>
                  <a:lnTo>
                    <a:pt x="370" y="64"/>
                  </a:lnTo>
                  <a:lnTo>
                    <a:pt x="370" y="60"/>
                  </a:lnTo>
                  <a:lnTo>
                    <a:pt x="375" y="60"/>
                  </a:lnTo>
                  <a:lnTo>
                    <a:pt x="375" y="55"/>
                  </a:lnTo>
                  <a:lnTo>
                    <a:pt x="370" y="55"/>
                  </a:lnTo>
                  <a:lnTo>
                    <a:pt x="370" y="50"/>
                  </a:lnTo>
                  <a:lnTo>
                    <a:pt x="366" y="46"/>
                  </a:lnTo>
                  <a:lnTo>
                    <a:pt x="366" y="46"/>
                  </a:lnTo>
                  <a:lnTo>
                    <a:pt x="366" y="46"/>
                  </a:lnTo>
                  <a:lnTo>
                    <a:pt x="361" y="46"/>
                  </a:lnTo>
                  <a:lnTo>
                    <a:pt x="361" y="41"/>
                  </a:lnTo>
                  <a:lnTo>
                    <a:pt x="361" y="37"/>
                  </a:lnTo>
                  <a:lnTo>
                    <a:pt x="361" y="32"/>
                  </a:lnTo>
                  <a:lnTo>
                    <a:pt x="366" y="28"/>
                  </a:lnTo>
                  <a:lnTo>
                    <a:pt x="366" y="28"/>
                  </a:lnTo>
                  <a:lnTo>
                    <a:pt x="370" y="23"/>
                  </a:lnTo>
                  <a:lnTo>
                    <a:pt x="375" y="23"/>
                  </a:lnTo>
                  <a:lnTo>
                    <a:pt x="384" y="23"/>
                  </a:lnTo>
                  <a:lnTo>
                    <a:pt x="384" y="23"/>
                  </a:lnTo>
                  <a:lnTo>
                    <a:pt x="388" y="18"/>
                  </a:lnTo>
                  <a:lnTo>
                    <a:pt x="388" y="14"/>
                  </a:lnTo>
                  <a:lnTo>
                    <a:pt x="393" y="9"/>
                  </a:lnTo>
                  <a:lnTo>
                    <a:pt x="393" y="5"/>
                  </a:lnTo>
                  <a:lnTo>
                    <a:pt x="398" y="5"/>
                  </a:lnTo>
                  <a:lnTo>
                    <a:pt x="402" y="5"/>
                  </a:lnTo>
                  <a:lnTo>
                    <a:pt x="407" y="5"/>
                  </a:lnTo>
                  <a:lnTo>
                    <a:pt x="407" y="0"/>
                  </a:lnTo>
                  <a:lnTo>
                    <a:pt x="407" y="0"/>
                  </a:lnTo>
                  <a:lnTo>
                    <a:pt x="407" y="5"/>
                  </a:lnTo>
                  <a:lnTo>
                    <a:pt x="411" y="5"/>
                  </a:lnTo>
                  <a:lnTo>
                    <a:pt x="411" y="5"/>
                  </a:lnTo>
                  <a:lnTo>
                    <a:pt x="411" y="9"/>
                  </a:lnTo>
                  <a:lnTo>
                    <a:pt x="411" y="14"/>
                  </a:lnTo>
                  <a:lnTo>
                    <a:pt x="416" y="14"/>
                  </a:lnTo>
                  <a:lnTo>
                    <a:pt x="416" y="18"/>
                  </a:lnTo>
                  <a:lnTo>
                    <a:pt x="420" y="18"/>
                  </a:lnTo>
                  <a:lnTo>
                    <a:pt x="430" y="14"/>
                  </a:lnTo>
                  <a:lnTo>
                    <a:pt x="430" y="18"/>
                  </a:lnTo>
                  <a:lnTo>
                    <a:pt x="434" y="18"/>
                  </a:lnTo>
                  <a:lnTo>
                    <a:pt x="430" y="23"/>
                  </a:lnTo>
                  <a:lnTo>
                    <a:pt x="430" y="23"/>
                  </a:lnTo>
                  <a:lnTo>
                    <a:pt x="430" y="28"/>
                  </a:lnTo>
                  <a:lnTo>
                    <a:pt x="430" y="32"/>
                  </a:lnTo>
                  <a:lnTo>
                    <a:pt x="425" y="32"/>
                  </a:lnTo>
                  <a:lnTo>
                    <a:pt x="425" y="41"/>
                  </a:lnTo>
                  <a:lnTo>
                    <a:pt x="425" y="46"/>
                  </a:lnTo>
                  <a:lnTo>
                    <a:pt x="425" y="46"/>
                  </a:lnTo>
                  <a:lnTo>
                    <a:pt x="425" y="50"/>
                  </a:lnTo>
                  <a:lnTo>
                    <a:pt x="430" y="55"/>
                  </a:lnTo>
                  <a:lnTo>
                    <a:pt x="430" y="55"/>
                  </a:lnTo>
                  <a:lnTo>
                    <a:pt x="434" y="55"/>
                  </a:lnTo>
                  <a:lnTo>
                    <a:pt x="439" y="55"/>
                  </a:lnTo>
                  <a:lnTo>
                    <a:pt x="448" y="55"/>
                  </a:lnTo>
                  <a:lnTo>
                    <a:pt x="452" y="55"/>
                  </a:lnTo>
                  <a:lnTo>
                    <a:pt x="452" y="55"/>
                  </a:lnTo>
                  <a:lnTo>
                    <a:pt x="452" y="50"/>
                  </a:lnTo>
                  <a:lnTo>
                    <a:pt x="457" y="50"/>
                  </a:lnTo>
                  <a:lnTo>
                    <a:pt x="466" y="46"/>
                  </a:lnTo>
                  <a:lnTo>
                    <a:pt x="471" y="46"/>
                  </a:lnTo>
                  <a:lnTo>
                    <a:pt x="475" y="46"/>
                  </a:lnTo>
                  <a:lnTo>
                    <a:pt x="480" y="46"/>
                  </a:lnTo>
                  <a:lnTo>
                    <a:pt x="489" y="46"/>
                  </a:lnTo>
                  <a:lnTo>
                    <a:pt x="494" y="50"/>
                  </a:lnTo>
                  <a:lnTo>
                    <a:pt x="498" y="50"/>
                  </a:lnTo>
                  <a:lnTo>
                    <a:pt x="498" y="55"/>
                  </a:lnTo>
                  <a:lnTo>
                    <a:pt x="498" y="55"/>
                  </a:lnTo>
                  <a:lnTo>
                    <a:pt x="498" y="60"/>
                  </a:lnTo>
                  <a:lnTo>
                    <a:pt x="503" y="64"/>
                  </a:lnTo>
                  <a:lnTo>
                    <a:pt x="503" y="69"/>
                  </a:lnTo>
                  <a:lnTo>
                    <a:pt x="507" y="69"/>
                  </a:lnTo>
                  <a:lnTo>
                    <a:pt x="507" y="69"/>
                  </a:lnTo>
                  <a:lnTo>
                    <a:pt x="512" y="69"/>
                  </a:lnTo>
                  <a:lnTo>
                    <a:pt x="516" y="73"/>
                  </a:lnTo>
                  <a:lnTo>
                    <a:pt x="516" y="73"/>
                  </a:lnTo>
                  <a:lnTo>
                    <a:pt x="521" y="73"/>
                  </a:lnTo>
                  <a:lnTo>
                    <a:pt x="526" y="69"/>
                  </a:lnTo>
                  <a:lnTo>
                    <a:pt x="530" y="69"/>
                  </a:lnTo>
                  <a:lnTo>
                    <a:pt x="530" y="73"/>
                  </a:lnTo>
                  <a:lnTo>
                    <a:pt x="535" y="73"/>
                  </a:lnTo>
                  <a:lnTo>
                    <a:pt x="535" y="78"/>
                  </a:lnTo>
                  <a:lnTo>
                    <a:pt x="535" y="82"/>
                  </a:lnTo>
                  <a:lnTo>
                    <a:pt x="535" y="87"/>
                  </a:lnTo>
                  <a:lnTo>
                    <a:pt x="535" y="92"/>
                  </a:lnTo>
                  <a:lnTo>
                    <a:pt x="539" y="92"/>
                  </a:lnTo>
                  <a:lnTo>
                    <a:pt x="539" y="92"/>
                  </a:lnTo>
                  <a:lnTo>
                    <a:pt x="544" y="92"/>
                  </a:lnTo>
                  <a:lnTo>
                    <a:pt x="548" y="92"/>
                  </a:lnTo>
                  <a:lnTo>
                    <a:pt x="553" y="87"/>
                  </a:lnTo>
                  <a:lnTo>
                    <a:pt x="553" y="92"/>
                  </a:lnTo>
                  <a:lnTo>
                    <a:pt x="558" y="92"/>
                  </a:lnTo>
                  <a:lnTo>
                    <a:pt x="558" y="96"/>
                  </a:lnTo>
                  <a:lnTo>
                    <a:pt x="562" y="101"/>
                  </a:lnTo>
                  <a:lnTo>
                    <a:pt x="562" y="110"/>
                  </a:lnTo>
                  <a:lnTo>
                    <a:pt x="562" y="114"/>
                  </a:lnTo>
                  <a:lnTo>
                    <a:pt x="567" y="114"/>
                  </a:lnTo>
                  <a:lnTo>
                    <a:pt x="567" y="119"/>
                  </a:lnTo>
                  <a:lnTo>
                    <a:pt x="571" y="119"/>
                  </a:lnTo>
                  <a:lnTo>
                    <a:pt x="576" y="119"/>
                  </a:lnTo>
                  <a:lnTo>
                    <a:pt x="580" y="119"/>
                  </a:lnTo>
                  <a:lnTo>
                    <a:pt x="585" y="119"/>
                  </a:lnTo>
                  <a:lnTo>
                    <a:pt x="585" y="114"/>
                  </a:lnTo>
                  <a:lnTo>
                    <a:pt x="590" y="114"/>
                  </a:lnTo>
                  <a:lnTo>
                    <a:pt x="603" y="114"/>
                  </a:lnTo>
                  <a:lnTo>
                    <a:pt x="608" y="114"/>
                  </a:lnTo>
                  <a:lnTo>
                    <a:pt x="608" y="114"/>
                  </a:lnTo>
                  <a:lnTo>
                    <a:pt x="617" y="110"/>
                  </a:lnTo>
                  <a:lnTo>
                    <a:pt x="626" y="114"/>
                  </a:lnTo>
                  <a:lnTo>
                    <a:pt x="626" y="114"/>
                  </a:lnTo>
                  <a:lnTo>
                    <a:pt x="631" y="114"/>
                  </a:lnTo>
                  <a:lnTo>
                    <a:pt x="631" y="119"/>
                  </a:lnTo>
                  <a:lnTo>
                    <a:pt x="635" y="119"/>
                  </a:lnTo>
                  <a:lnTo>
                    <a:pt x="635" y="124"/>
                  </a:lnTo>
                  <a:lnTo>
                    <a:pt x="635" y="128"/>
                  </a:lnTo>
                  <a:lnTo>
                    <a:pt x="640" y="133"/>
                  </a:lnTo>
                  <a:lnTo>
                    <a:pt x="640" y="133"/>
                  </a:lnTo>
                  <a:lnTo>
                    <a:pt x="640" y="137"/>
                  </a:lnTo>
                  <a:lnTo>
                    <a:pt x="644" y="137"/>
                  </a:lnTo>
                  <a:lnTo>
                    <a:pt x="644" y="142"/>
                  </a:lnTo>
                  <a:lnTo>
                    <a:pt x="649" y="146"/>
                  </a:lnTo>
                  <a:lnTo>
                    <a:pt x="649" y="151"/>
                  </a:lnTo>
                  <a:lnTo>
                    <a:pt x="649" y="156"/>
                  </a:lnTo>
                  <a:lnTo>
                    <a:pt x="649" y="156"/>
                  </a:lnTo>
                  <a:lnTo>
                    <a:pt x="649" y="160"/>
                  </a:lnTo>
                  <a:lnTo>
                    <a:pt x="649" y="165"/>
                  </a:lnTo>
                  <a:lnTo>
                    <a:pt x="649" y="169"/>
                  </a:lnTo>
                  <a:lnTo>
                    <a:pt x="649" y="178"/>
                  </a:lnTo>
                  <a:lnTo>
                    <a:pt x="649" y="183"/>
                  </a:lnTo>
                  <a:lnTo>
                    <a:pt x="644" y="192"/>
                  </a:lnTo>
                  <a:lnTo>
                    <a:pt x="644" y="197"/>
                  </a:lnTo>
                  <a:lnTo>
                    <a:pt x="644" y="201"/>
                  </a:lnTo>
                  <a:lnTo>
                    <a:pt x="640" y="201"/>
                  </a:lnTo>
                  <a:lnTo>
                    <a:pt x="640" y="201"/>
                  </a:lnTo>
                  <a:lnTo>
                    <a:pt x="640" y="206"/>
                  </a:lnTo>
                  <a:lnTo>
                    <a:pt x="635" y="215"/>
                  </a:lnTo>
                  <a:lnTo>
                    <a:pt x="635" y="224"/>
                  </a:lnTo>
                  <a:lnTo>
                    <a:pt x="635" y="233"/>
                  </a:lnTo>
                  <a:lnTo>
                    <a:pt x="635" y="238"/>
                  </a:lnTo>
                  <a:lnTo>
                    <a:pt x="631" y="247"/>
                  </a:lnTo>
                  <a:lnTo>
                    <a:pt x="626" y="252"/>
                  </a:lnTo>
                  <a:lnTo>
                    <a:pt x="626" y="256"/>
                  </a:lnTo>
                  <a:lnTo>
                    <a:pt x="626" y="261"/>
                  </a:lnTo>
                  <a:lnTo>
                    <a:pt x="626" y="265"/>
                  </a:lnTo>
                  <a:lnTo>
                    <a:pt x="622" y="270"/>
                  </a:lnTo>
                  <a:lnTo>
                    <a:pt x="617" y="279"/>
                  </a:lnTo>
                  <a:lnTo>
                    <a:pt x="617" y="284"/>
                  </a:lnTo>
                  <a:lnTo>
                    <a:pt x="617" y="288"/>
                  </a:lnTo>
                  <a:lnTo>
                    <a:pt x="612" y="288"/>
                  </a:lnTo>
                  <a:lnTo>
                    <a:pt x="612" y="293"/>
                  </a:lnTo>
                  <a:lnTo>
                    <a:pt x="617" y="297"/>
                  </a:lnTo>
                  <a:lnTo>
                    <a:pt x="617" y="302"/>
                  </a:lnTo>
                  <a:lnTo>
                    <a:pt x="617" y="306"/>
                  </a:lnTo>
                  <a:lnTo>
                    <a:pt x="612" y="320"/>
                  </a:lnTo>
                  <a:lnTo>
                    <a:pt x="612" y="325"/>
                  </a:lnTo>
                  <a:lnTo>
                    <a:pt x="617" y="338"/>
                  </a:lnTo>
                  <a:lnTo>
                    <a:pt x="622" y="348"/>
                  </a:lnTo>
                  <a:lnTo>
                    <a:pt x="622" y="352"/>
                  </a:lnTo>
                  <a:lnTo>
                    <a:pt x="626" y="361"/>
                  </a:lnTo>
                  <a:lnTo>
                    <a:pt x="626" y="366"/>
                  </a:lnTo>
                  <a:lnTo>
                    <a:pt x="626" y="370"/>
                  </a:lnTo>
                  <a:lnTo>
                    <a:pt x="626" y="375"/>
                  </a:lnTo>
                  <a:lnTo>
                    <a:pt x="626" y="380"/>
                  </a:lnTo>
                  <a:lnTo>
                    <a:pt x="626" y="393"/>
                  </a:lnTo>
                  <a:lnTo>
                    <a:pt x="626" y="398"/>
                  </a:lnTo>
                  <a:lnTo>
                    <a:pt x="631" y="412"/>
                  </a:lnTo>
                  <a:lnTo>
                    <a:pt x="626" y="412"/>
                  </a:lnTo>
                  <a:lnTo>
                    <a:pt x="626" y="412"/>
                  </a:lnTo>
                  <a:lnTo>
                    <a:pt x="622" y="412"/>
                  </a:lnTo>
                  <a:lnTo>
                    <a:pt x="608" y="416"/>
                  </a:lnTo>
                  <a:lnTo>
                    <a:pt x="608" y="416"/>
                  </a:lnTo>
                  <a:lnTo>
                    <a:pt x="585" y="416"/>
                  </a:lnTo>
                  <a:lnTo>
                    <a:pt x="585" y="416"/>
                  </a:lnTo>
                  <a:lnTo>
                    <a:pt x="580" y="416"/>
                  </a:lnTo>
                  <a:lnTo>
                    <a:pt x="576" y="421"/>
                  </a:lnTo>
                  <a:lnTo>
                    <a:pt x="571" y="421"/>
                  </a:lnTo>
                  <a:lnTo>
                    <a:pt x="567" y="425"/>
                  </a:lnTo>
                  <a:lnTo>
                    <a:pt x="562" y="425"/>
                  </a:lnTo>
                  <a:lnTo>
                    <a:pt x="558" y="430"/>
                  </a:lnTo>
                  <a:lnTo>
                    <a:pt x="548" y="434"/>
                  </a:lnTo>
                  <a:lnTo>
                    <a:pt x="544" y="434"/>
                  </a:lnTo>
                  <a:lnTo>
                    <a:pt x="544" y="439"/>
                  </a:lnTo>
                  <a:lnTo>
                    <a:pt x="539" y="439"/>
                  </a:lnTo>
                  <a:lnTo>
                    <a:pt x="539" y="444"/>
                  </a:lnTo>
                  <a:lnTo>
                    <a:pt x="530" y="444"/>
                  </a:lnTo>
                  <a:lnTo>
                    <a:pt x="521" y="444"/>
                  </a:lnTo>
                  <a:lnTo>
                    <a:pt x="521" y="448"/>
                  </a:lnTo>
                  <a:lnTo>
                    <a:pt x="516" y="448"/>
                  </a:lnTo>
                  <a:lnTo>
                    <a:pt x="516" y="453"/>
                  </a:lnTo>
                  <a:lnTo>
                    <a:pt x="507" y="457"/>
                  </a:lnTo>
                  <a:lnTo>
                    <a:pt x="498" y="462"/>
                  </a:lnTo>
                  <a:lnTo>
                    <a:pt x="494" y="462"/>
                  </a:lnTo>
                  <a:lnTo>
                    <a:pt x="489" y="462"/>
                  </a:lnTo>
                  <a:lnTo>
                    <a:pt x="489" y="466"/>
                  </a:lnTo>
                  <a:lnTo>
                    <a:pt x="484" y="466"/>
                  </a:lnTo>
                  <a:lnTo>
                    <a:pt x="480" y="466"/>
                  </a:lnTo>
                  <a:lnTo>
                    <a:pt x="480" y="471"/>
                  </a:lnTo>
                  <a:lnTo>
                    <a:pt x="475" y="476"/>
                  </a:lnTo>
                  <a:lnTo>
                    <a:pt x="471" y="476"/>
                  </a:lnTo>
                  <a:lnTo>
                    <a:pt x="471" y="480"/>
                  </a:lnTo>
                  <a:lnTo>
                    <a:pt x="466" y="485"/>
                  </a:lnTo>
                  <a:lnTo>
                    <a:pt x="462" y="485"/>
                  </a:lnTo>
                  <a:lnTo>
                    <a:pt x="462" y="489"/>
                  </a:lnTo>
                  <a:lnTo>
                    <a:pt x="457" y="494"/>
                  </a:lnTo>
                  <a:lnTo>
                    <a:pt x="452" y="494"/>
                  </a:lnTo>
                  <a:lnTo>
                    <a:pt x="452" y="489"/>
                  </a:lnTo>
                  <a:lnTo>
                    <a:pt x="452" y="485"/>
                  </a:lnTo>
                  <a:lnTo>
                    <a:pt x="452" y="485"/>
                  </a:lnTo>
                  <a:lnTo>
                    <a:pt x="448" y="480"/>
                  </a:lnTo>
                  <a:lnTo>
                    <a:pt x="448" y="476"/>
                  </a:lnTo>
                  <a:lnTo>
                    <a:pt x="439" y="471"/>
                  </a:lnTo>
                  <a:lnTo>
                    <a:pt x="434" y="466"/>
                  </a:lnTo>
                  <a:lnTo>
                    <a:pt x="430" y="466"/>
                  </a:lnTo>
                  <a:lnTo>
                    <a:pt x="430" y="466"/>
                  </a:lnTo>
                  <a:lnTo>
                    <a:pt x="425" y="466"/>
                  </a:lnTo>
                  <a:lnTo>
                    <a:pt x="420" y="466"/>
                  </a:lnTo>
                  <a:lnTo>
                    <a:pt x="416" y="466"/>
                  </a:lnTo>
                  <a:lnTo>
                    <a:pt x="416" y="471"/>
                  </a:lnTo>
                  <a:lnTo>
                    <a:pt x="411" y="471"/>
                  </a:lnTo>
                  <a:lnTo>
                    <a:pt x="407" y="476"/>
                  </a:lnTo>
                  <a:lnTo>
                    <a:pt x="407" y="480"/>
                  </a:lnTo>
                  <a:lnTo>
                    <a:pt x="407" y="485"/>
                  </a:lnTo>
                  <a:lnTo>
                    <a:pt x="407" y="489"/>
                  </a:lnTo>
                  <a:lnTo>
                    <a:pt x="402" y="494"/>
                  </a:lnTo>
                  <a:lnTo>
                    <a:pt x="402" y="498"/>
                  </a:lnTo>
                  <a:lnTo>
                    <a:pt x="407" y="508"/>
                  </a:lnTo>
                  <a:lnTo>
                    <a:pt x="407" y="508"/>
                  </a:lnTo>
                  <a:lnTo>
                    <a:pt x="416" y="508"/>
                  </a:lnTo>
                  <a:lnTo>
                    <a:pt x="416" y="512"/>
                  </a:lnTo>
                  <a:lnTo>
                    <a:pt x="420" y="517"/>
                  </a:lnTo>
                  <a:lnTo>
                    <a:pt x="420" y="530"/>
                  </a:lnTo>
                  <a:lnTo>
                    <a:pt x="425" y="540"/>
                  </a:lnTo>
                  <a:lnTo>
                    <a:pt x="425" y="549"/>
                  </a:lnTo>
                  <a:lnTo>
                    <a:pt x="430" y="553"/>
                  </a:lnTo>
                  <a:lnTo>
                    <a:pt x="430" y="553"/>
                  </a:lnTo>
                  <a:lnTo>
                    <a:pt x="430" y="558"/>
                  </a:lnTo>
                  <a:lnTo>
                    <a:pt x="434" y="562"/>
                  </a:lnTo>
                  <a:lnTo>
                    <a:pt x="439" y="567"/>
                  </a:lnTo>
                  <a:lnTo>
                    <a:pt x="439" y="572"/>
                  </a:lnTo>
                  <a:lnTo>
                    <a:pt x="443" y="572"/>
                  </a:lnTo>
                  <a:lnTo>
                    <a:pt x="443" y="572"/>
                  </a:lnTo>
                  <a:lnTo>
                    <a:pt x="448" y="572"/>
                  </a:lnTo>
                  <a:lnTo>
                    <a:pt x="448" y="576"/>
                  </a:lnTo>
                  <a:lnTo>
                    <a:pt x="452" y="585"/>
                  </a:lnTo>
                  <a:lnTo>
                    <a:pt x="457" y="585"/>
                  </a:lnTo>
                  <a:lnTo>
                    <a:pt x="462" y="590"/>
                  </a:lnTo>
                  <a:lnTo>
                    <a:pt x="471" y="590"/>
                  </a:lnTo>
                  <a:lnTo>
                    <a:pt x="471" y="594"/>
                  </a:lnTo>
                  <a:lnTo>
                    <a:pt x="475" y="594"/>
                  </a:lnTo>
                  <a:lnTo>
                    <a:pt x="475" y="594"/>
                  </a:lnTo>
                  <a:lnTo>
                    <a:pt x="471" y="599"/>
                  </a:lnTo>
                  <a:lnTo>
                    <a:pt x="471" y="604"/>
                  </a:lnTo>
                  <a:lnTo>
                    <a:pt x="466" y="608"/>
                  </a:lnTo>
                  <a:lnTo>
                    <a:pt x="466" y="613"/>
                  </a:lnTo>
                  <a:lnTo>
                    <a:pt x="457" y="622"/>
                  </a:lnTo>
                  <a:lnTo>
                    <a:pt x="457" y="626"/>
                  </a:lnTo>
                  <a:lnTo>
                    <a:pt x="452" y="631"/>
                  </a:lnTo>
                  <a:lnTo>
                    <a:pt x="452" y="636"/>
                  </a:lnTo>
                  <a:lnTo>
                    <a:pt x="452" y="640"/>
                  </a:lnTo>
                  <a:lnTo>
                    <a:pt x="448" y="640"/>
                  </a:lnTo>
                  <a:lnTo>
                    <a:pt x="443" y="645"/>
                  </a:lnTo>
                  <a:lnTo>
                    <a:pt x="439" y="645"/>
                  </a:lnTo>
                  <a:lnTo>
                    <a:pt x="434" y="649"/>
                  </a:lnTo>
                  <a:lnTo>
                    <a:pt x="430" y="649"/>
                  </a:lnTo>
                  <a:lnTo>
                    <a:pt x="430" y="654"/>
                  </a:lnTo>
                  <a:lnTo>
                    <a:pt x="430" y="654"/>
                  </a:lnTo>
                  <a:lnTo>
                    <a:pt x="430" y="658"/>
                  </a:lnTo>
                  <a:lnTo>
                    <a:pt x="425" y="658"/>
                  </a:lnTo>
                  <a:lnTo>
                    <a:pt x="425" y="658"/>
                  </a:lnTo>
                  <a:lnTo>
                    <a:pt x="420" y="658"/>
                  </a:lnTo>
                  <a:lnTo>
                    <a:pt x="420" y="663"/>
                  </a:lnTo>
                  <a:lnTo>
                    <a:pt x="416" y="663"/>
                  </a:lnTo>
                  <a:lnTo>
                    <a:pt x="416" y="668"/>
                  </a:lnTo>
                  <a:lnTo>
                    <a:pt x="411" y="672"/>
                  </a:lnTo>
                  <a:lnTo>
                    <a:pt x="411" y="677"/>
                  </a:lnTo>
                  <a:lnTo>
                    <a:pt x="407" y="677"/>
                  </a:lnTo>
                  <a:lnTo>
                    <a:pt x="407" y="681"/>
                  </a:lnTo>
                  <a:lnTo>
                    <a:pt x="402" y="681"/>
                  </a:lnTo>
                  <a:lnTo>
                    <a:pt x="393" y="681"/>
                  </a:lnTo>
                  <a:lnTo>
                    <a:pt x="388" y="686"/>
                  </a:lnTo>
                  <a:lnTo>
                    <a:pt x="384" y="686"/>
                  </a:lnTo>
                  <a:lnTo>
                    <a:pt x="379" y="690"/>
                  </a:lnTo>
                  <a:lnTo>
                    <a:pt x="375" y="690"/>
                  </a:lnTo>
                  <a:lnTo>
                    <a:pt x="370" y="690"/>
                  </a:lnTo>
                  <a:lnTo>
                    <a:pt x="370" y="695"/>
                  </a:lnTo>
                  <a:lnTo>
                    <a:pt x="366" y="695"/>
                  </a:lnTo>
                  <a:lnTo>
                    <a:pt x="361" y="695"/>
                  </a:lnTo>
                  <a:lnTo>
                    <a:pt x="356" y="700"/>
                  </a:lnTo>
                  <a:lnTo>
                    <a:pt x="352" y="700"/>
                  </a:lnTo>
                  <a:lnTo>
                    <a:pt x="343" y="695"/>
                  </a:lnTo>
                  <a:lnTo>
                    <a:pt x="343" y="695"/>
                  </a:lnTo>
                  <a:lnTo>
                    <a:pt x="343" y="690"/>
                  </a:lnTo>
                  <a:lnTo>
                    <a:pt x="338" y="690"/>
                  </a:lnTo>
                  <a:lnTo>
                    <a:pt x="338" y="681"/>
                  </a:lnTo>
                  <a:lnTo>
                    <a:pt x="338" y="681"/>
                  </a:lnTo>
                  <a:lnTo>
                    <a:pt x="334" y="681"/>
                  </a:lnTo>
                  <a:lnTo>
                    <a:pt x="329" y="677"/>
                  </a:lnTo>
                  <a:lnTo>
                    <a:pt x="329" y="672"/>
                  </a:lnTo>
                  <a:lnTo>
                    <a:pt x="334" y="668"/>
                  </a:lnTo>
                  <a:lnTo>
                    <a:pt x="338" y="663"/>
                  </a:lnTo>
                  <a:lnTo>
                    <a:pt x="343" y="658"/>
                  </a:lnTo>
                  <a:lnTo>
                    <a:pt x="343" y="654"/>
                  </a:lnTo>
                  <a:lnTo>
                    <a:pt x="343" y="649"/>
                  </a:lnTo>
                  <a:lnTo>
                    <a:pt x="343" y="645"/>
                  </a:lnTo>
                  <a:lnTo>
                    <a:pt x="343" y="645"/>
                  </a:lnTo>
                  <a:lnTo>
                    <a:pt x="343" y="640"/>
                  </a:lnTo>
                  <a:lnTo>
                    <a:pt x="338" y="640"/>
                  </a:lnTo>
                  <a:lnTo>
                    <a:pt x="334" y="640"/>
                  </a:lnTo>
                  <a:lnTo>
                    <a:pt x="324" y="636"/>
                  </a:lnTo>
                  <a:lnTo>
                    <a:pt x="320" y="631"/>
                  </a:lnTo>
                  <a:lnTo>
                    <a:pt x="320" y="631"/>
                  </a:lnTo>
                  <a:lnTo>
                    <a:pt x="315" y="626"/>
                  </a:lnTo>
                  <a:lnTo>
                    <a:pt x="315" y="622"/>
                  </a:lnTo>
                  <a:lnTo>
                    <a:pt x="311" y="622"/>
                  </a:lnTo>
                  <a:lnTo>
                    <a:pt x="306" y="617"/>
                  </a:lnTo>
                  <a:lnTo>
                    <a:pt x="297" y="608"/>
                  </a:lnTo>
                  <a:lnTo>
                    <a:pt x="292" y="604"/>
                  </a:lnTo>
                  <a:lnTo>
                    <a:pt x="288" y="604"/>
                  </a:lnTo>
                  <a:lnTo>
                    <a:pt x="283" y="604"/>
                  </a:lnTo>
                  <a:lnTo>
                    <a:pt x="279" y="599"/>
                  </a:lnTo>
                  <a:lnTo>
                    <a:pt x="279" y="594"/>
                  </a:lnTo>
                  <a:lnTo>
                    <a:pt x="274" y="594"/>
                  </a:lnTo>
                  <a:lnTo>
                    <a:pt x="265" y="594"/>
                  </a:lnTo>
                  <a:lnTo>
                    <a:pt x="260" y="590"/>
                  </a:lnTo>
                  <a:lnTo>
                    <a:pt x="256" y="590"/>
                  </a:lnTo>
                  <a:lnTo>
                    <a:pt x="256" y="585"/>
                  </a:lnTo>
                  <a:lnTo>
                    <a:pt x="251" y="581"/>
                  </a:lnTo>
                  <a:lnTo>
                    <a:pt x="247" y="581"/>
                  </a:lnTo>
                  <a:lnTo>
                    <a:pt x="242" y="581"/>
                  </a:lnTo>
                  <a:lnTo>
                    <a:pt x="242" y="585"/>
                  </a:lnTo>
                  <a:lnTo>
                    <a:pt x="238" y="585"/>
                  </a:lnTo>
                  <a:lnTo>
                    <a:pt x="233" y="585"/>
                  </a:lnTo>
                  <a:lnTo>
                    <a:pt x="233" y="590"/>
                  </a:lnTo>
                  <a:lnTo>
                    <a:pt x="228" y="590"/>
                  </a:lnTo>
                  <a:lnTo>
                    <a:pt x="224" y="594"/>
                  </a:lnTo>
                  <a:lnTo>
                    <a:pt x="219" y="594"/>
                  </a:lnTo>
                  <a:lnTo>
                    <a:pt x="215" y="594"/>
                  </a:lnTo>
                  <a:lnTo>
                    <a:pt x="210" y="594"/>
                  </a:lnTo>
                  <a:lnTo>
                    <a:pt x="210" y="599"/>
                  </a:lnTo>
                  <a:lnTo>
                    <a:pt x="210" y="599"/>
                  </a:lnTo>
                  <a:lnTo>
                    <a:pt x="206" y="604"/>
                  </a:lnTo>
                  <a:lnTo>
                    <a:pt x="201" y="604"/>
                  </a:lnTo>
                  <a:lnTo>
                    <a:pt x="196" y="604"/>
                  </a:lnTo>
                  <a:lnTo>
                    <a:pt x="192" y="604"/>
                  </a:lnTo>
                  <a:lnTo>
                    <a:pt x="192" y="599"/>
                  </a:lnTo>
                  <a:lnTo>
                    <a:pt x="187" y="594"/>
                  </a:lnTo>
                  <a:lnTo>
                    <a:pt x="187" y="594"/>
                  </a:lnTo>
                  <a:lnTo>
                    <a:pt x="183" y="594"/>
                  </a:lnTo>
                  <a:lnTo>
                    <a:pt x="174" y="594"/>
                  </a:lnTo>
                  <a:lnTo>
                    <a:pt x="169" y="594"/>
                  </a:lnTo>
                  <a:lnTo>
                    <a:pt x="169" y="594"/>
                  </a:lnTo>
                  <a:lnTo>
                    <a:pt x="169" y="594"/>
                  </a:lnTo>
                  <a:lnTo>
                    <a:pt x="164" y="594"/>
                  </a:lnTo>
                  <a:lnTo>
                    <a:pt x="160" y="594"/>
                  </a:lnTo>
                  <a:lnTo>
                    <a:pt x="155" y="594"/>
                  </a:lnTo>
                  <a:lnTo>
                    <a:pt x="155" y="594"/>
                  </a:lnTo>
                  <a:lnTo>
                    <a:pt x="151" y="594"/>
                  </a:lnTo>
                  <a:lnTo>
                    <a:pt x="146" y="594"/>
                  </a:lnTo>
                  <a:lnTo>
                    <a:pt x="146" y="594"/>
                  </a:lnTo>
                  <a:lnTo>
                    <a:pt x="142" y="594"/>
                  </a:lnTo>
                  <a:lnTo>
                    <a:pt x="142" y="590"/>
                  </a:lnTo>
                  <a:lnTo>
                    <a:pt x="137" y="590"/>
                  </a:lnTo>
                  <a:lnTo>
                    <a:pt x="132" y="594"/>
                  </a:lnTo>
                  <a:lnTo>
                    <a:pt x="128" y="594"/>
                  </a:lnTo>
                  <a:lnTo>
                    <a:pt x="123" y="594"/>
                  </a:lnTo>
                  <a:lnTo>
                    <a:pt x="123" y="594"/>
                  </a:lnTo>
                  <a:lnTo>
                    <a:pt x="123" y="594"/>
                  </a:lnTo>
                  <a:lnTo>
                    <a:pt x="123" y="604"/>
                  </a:lnTo>
                  <a:lnTo>
                    <a:pt x="123" y="604"/>
                  </a:lnTo>
                  <a:lnTo>
                    <a:pt x="123" y="608"/>
                  </a:lnTo>
                  <a:lnTo>
                    <a:pt x="128" y="613"/>
                  </a:lnTo>
                  <a:lnTo>
                    <a:pt x="128" y="617"/>
                  </a:lnTo>
                  <a:lnTo>
                    <a:pt x="123" y="617"/>
                  </a:lnTo>
                  <a:lnTo>
                    <a:pt x="123" y="617"/>
                  </a:lnTo>
                  <a:lnTo>
                    <a:pt x="123" y="617"/>
                  </a:lnTo>
                  <a:lnTo>
                    <a:pt x="119" y="617"/>
                  </a:lnTo>
                  <a:lnTo>
                    <a:pt x="119" y="622"/>
                  </a:lnTo>
                  <a:lnTo>
                    <a:pt x="114" y="622"/>
                  </a:lnTo>
                  <a:lnTo>
                    <a:pt x="110" y="626"/>
                  </a:lnTo>
                  <a:lnTo>
                    <a:pt x="105" y="631"/>
                  </a:lnTo>
                  <a:lnTo>
                    <a:pt x="100" y="636"/>
                  </a:lnTo>
                  <a:lnTo>
                    <a:pt x="100" y="636"/>
                  </a:lnTo>
                  <a:lnTo>
                    <a:pt x="96" y="636"/>
                  </a:lnTo>
                  <a:lnTo>
                    <a:pt x="96" y="631"/>
                  </a:lnTo>
                  <a:lnTo>
                    <a:pt x="91" y="626"/>
                  </a:lnTo>
                  <a:lnTo>
                    <a:pt x="91" y="622"/>
                  </a:lnTo>
                  <a:lnTo>
                    <a:pt x="87" y="622"/>
                  </a:lnTo>
                  <a:lnTo>
                    <a:pt x="87" y="617"/>
                  </a:lnTo>
                  <a:lnTo>
                    <a:pt x="87" y="617"/>
                  </a:lnTo>
                  <a:lnTo>
                    <a:pt x="87" y="613"/>
                  </a:lnTo>
                  <a:lnTo>
                    <a:pt x="82" y="608"/>
                  </a:lnTo>
                  <a:lnTo>
                    <a:pt x="82" y="604"/>
                  </a:lnTo>
                  <a:lnTo>
                    <a:pt x="87" y="599"/>
                  </a:lnTo>
                  <a:lnTo>
                    <a:pt x="87" y="594"/>
                  </a:lnTo>
                  <a:lnTo>
                    <a:pt x="91" y="594"/>
                  </a:lnTo>
                  <a:lnTo>
                    <a:pt x="91" y="590"/>
                  </a:lnTo>
                  <a:lnTo>
                    <a:pt x="91" y="585"/>
                  </a:lnTo>
                  <a:lnTo>
                    <a:pt x="87" y="581"/>
                  </a:lnTo>
                  <a:lnTo>
                    <a:pt x="87" y="576"/>
                  </a:lnTo>
                  <a:lnTo>
                    <a:pt x="82" y="576"/>
                  </a:lnTo>
                  <a:lnTo>
                    <a:pt x="78" y="576"/>
                  </a:lnTo>
                  <a:lnTo>
                    <a:pt x="78" y="572"/>
                  </a:lnTo>
                  <a:lnTo>
                    <a:pt x="78" y="572"/>
                  </a:lnTo>
                  <a:lnTo>
                    <a:pt x="78" y="567"/>
                  </a:lnTo>
                  <a:lnTo>
                    <a:pt x="73" y="562"/>
                  </a:lnTo>
                  <a:lnTo>
                    <a:pt x="68" y="558"/>
                  </a:lnTo>
                  <a:lnTo>
                    <a:pt x="64" y="553"/>
                  </a:lnTo>
                  <a:lnTo>
                    <a:pt x="59" y="553"/>
                  </a:lnTo>
                  <a:lnTo>
                    <a:pt x="59" y="553"/>
                  </a:lnTo>
                  <a:lnTo>
                    <a:pt x="55" y="549"/>
                  </a:lnTo>
                  <a:lnTo>
                    <a:pt x="50" y="544"/>
                  </a:lnTo>
                  <a:lnTo>
                    <a:pt x="46" y="544"/>
                  </a:lnTo>
                  <a:lnTo>
                    <a:pt x="41" y="540"/>
                  </a:lnTo>
                  <a:lnTo>
                    <a:pt x="41" y="535"/>
                  </a:lnTo>
                  <a:lnTo>
                    <a:pt x="36" y="530"/>
                  </a:lnTo>
                  <a:lnTo>
                    <a:pt x="36" y="530"/>
                  </a:lnTo>
                  <a:lnTo>
                    <a:pt x="32" y="526"/>
                  </a:lnTo>
                  <a:lnTo>
                    <a:pt x="23" y="521"/>
                  </a:lnTo>
                  <a:lnTo>
                    <a:pt x="18" y="521"/>
                  </a:lnTo>
                  <a:lnTo>
                    <a:pt x="14" y="521"/>
                  </a:lnTo>
                  <a:lnTo>
                    <a:pt x="14" y="517"/>
                  </a:lnTo>
                  <a:lnTo>
                    <a:pt x="14" y="517"/>
                  </a:lnTo>
                  <a:lnTo>
                    <a:pt x="14" y="512"/>
                  </a:lnTo>
                  <a:lnTo>
                    <a:pt x="9" y="512"/>
                  </a:lnTo>
                  <a:lnTo>
                    <a:pt x="4" y="508"/>
                  </a:lnTo>
                  <a:lnTo>
                    <a:pt x="0" y="503"/>
                  </a:lnTo>
                  <a:lnTo>
                    <a:pt x="0" y="498"/>
                  </a:lnTo>
                  <a:lnTo>
                    <a:pt x="0" y="494"/>
                  </a:lnTo>
                  <a:lnTo>
                    <a:pt x="0" y="489"/>
                  </a:lnTo>
                  <a:lnTo>
                    <a:pt x="0" y="485"/>
                  </a:lnTo>
                  <a:lnTo>
                    <a:pt x="4" y="480"/>
                  </a:lnTo>
                  <a:lnTo>
                    <a:pt x="4" y="476"/>
                  </a:lnTo>
                  <a:lnTo>
                    <a:pt x="4" y="466"/>
                  </a:lnTo>
                  <a:lnTo>
                    <a:pt x="4" y="462"/>
                  </a:lnTo>
                  <a:lnTo>
                    <a:pt x="9" y="462"/>
                  </a:lnTo>
                  <a:lnTo>
                    <a:pt x="14" y="462"/>
                  </a:lnTo>
                  <a:lnTo>
                    <a:pt x="23" y="462"/>
                  </a:lnTo>
                  <a:lnTo>
                    <a:pt x="23" y="462"/>
                  </a:lnTo>
                  <a:lnTo>
                    <a:pt x="27" y="462"/>
                  </a:lnTo>
                  <a:lnTo>
                    <a:pt x="27" y="457"/>
                  </a:lnTo>
                  <a:lnTo>
                    <a:pt x="32" y="453"/>
                  </a:lnTo>
                  <a:lnTo>
                    <a:pt x="32" y="444"/>
                  </a:lnTo>
                  <a:lnTo>
                    <a:pt x="32" y="439"/>
                  </a:lnTo>
                  <a:lnTo>
                    <a:pt x="36" y="434"/>
                  </a:lnTo>
                  <a:lnTo>
                    <a:pt x="36" y="430"/>
                  </a:lnTo>
                  <a:lnTo>
                    <a:pt x="36" y="425"/>
                  </a:lnTo>
                  <a:lnTo>
                    <a:pt x="41" y="421"/>
                  </a:lnTo>
                  <a:lnTo>
                    <a:pt x="46" y="421"/>
                  </a:lnTo>
                  <a:lnTo>
                    <a:pt x="46" y="416"/>
                  </a:lnTo>
                  <a:lnTo>
                    <a:pt x="50" y="412"/>
                  </a:lnTo>
                  <a:lnTo>
                    <a:pt x="50" y="407"/>
                  </a:lnTo>
                  <a:lnTo>
                    <a:pt x="55" y="402"/>
                  </a:lnTo>
                  <a:lnTo>
                    <a:pt x="55" y="398"/>
                  </a:lnTo>
                  <a:lnTo>
                    <a:pt x="59" y="393"/>
                  </a:lnTo>
                  <a:lnTo>
                    <a:pt x="55" y="389"/>
                  </a:lnTo>
                  <a:lnTo>
                    <a:pt x="55" y="384"/>
                  </a:lnTo>
                  <a:lnTo>
                    <a:pt x="50" y="384"/>
                  </a:lnTo>
                  <a:lnTo>
                    <a:pt x="46" y="384"/>
                  </a:lnTo>
                  <a:lnTo>
                    <a:pt x="46" y="380"/>
                  </a:lnTo>
                  <a:lnTo>
                    <a:pt x="41" y="380"/>
                  </a:lnTo>
                  <a:lnTo>
                    <a:pt x="41" y="375"/>
                  </a:lnTo>
                  <a:lnTo>
                    <a:pt x="36" y="375"/>
                  </a:lnTo>
                  <a:lnTo>
                    <a:pt x="36" y="366"/>
                  </a:lnTo>
                  <a:lnTo>
                    <a:pt x="36" y="352"/>
                  </a:lnTo>
                  <a:lnTo>
                    <a:pt x="41" y="352"/>
                  </a:lnTo>
                  <a:lnTo>
                    <a:pt x="41" y="348"/>
                  </a:lnTo>
                  <a:lnTo>
                    <a:pt x="41" y="338"/>
                  </a:lnTo>
                  <a:lnTo>
                    <a:pt x="46" y="334"/>
                  </a:lnTo>
                  <a:lnTo>
                    <a:pt x="46" y="329"/>
                  </a:lnTo>
                  <a:lnTo>
                    <a:pt x="46" y="325"/>
                  </a:lnTo>
                  <a:lnTo>
                    <a:pt x="50" y="325"/>
                  </a:lnTo>
                  <a:lnTo>
                    <a:pt x="50" y="320"/>
                  </a:lnTo>
                  <a:lnTo>
                    <a:pt x="55" y="320"/>
                  </a:lnTo>
                  <a:lnTo>
                    <a:pt x="55" y="316"/>
                  </a:lnTo>
                  <a:lnTo>
                    <a:pt x="59" y="316"/>
                  </a:lnTo>
                  <a:lnTo>
                    <a:pt x="59" y="316"/>
                  </a:lnTo>
                  <a:lnTo>
                    <a:pt x="59" y="311"/>
                  </a:lnTo>
                  <a:lnTo>
                    <a:pt x="64" y="311"/>
                  </a:lnTo>
                  <a:lnTo>
                    <a:pt x="68" y="311"/>
                  </a:lnTo>
                  <a:lnTo>
                    <a:pt x="68" y="306"/>
                  </a:lnTo>
                  <a:lnTo>
                    <a:pt x="68" y="297"/>
                  </a:lnTo>
                  <a:lnTo>
                    <a:pt x="73" y="297"/>
                  </a:lnTo>
                  <a:lnTo>
                    <a:pt x="73" y="293"/>
                  </a:lnTo>
                  <a:lnTo>
                    <a:pt x="78" y="288"/>
                  </a:lnTo>
                  <a:lnTo>
                    <a:pt x="78" y="288"/>
                  </a:lnTo>
                  <a:lnTo>
                    <a:pt x="78" y="284"/>
                  </a:lnTo>
                  <a:lnTo>
                    <a:pt x="82" y="279"/>
                  </a:lnTo>
                  <a:lnTo>
                    <a:pt x="82" y="274"/>
                  </a:lnTo>
                  <a:lnTo>
                    <a:pt x="91" y="265"/>
                  </a:lnTo>
                  <a:lnTo>
                    <a:pt x="96" y="265"/>
                  </a:lnTo>
                  <a:lnTo>
                    <a:pt x="100" y="265"/>
                  </a:lnTo>
                  <a:lnTo>
                    <a:pt x="100" y="265"/>
                  </a:lnTo>
                  <a:lnTo>
                    <a:pt x="119" y="265"/>
                  </a:lnTo>
                  <a:lnTo>
                    <a:pt x="146" y="270"/>
                  </a:lnTo>
                  <a:lnTo>
                    <a:pt x="146" y="270"/>
                  </a:lnTo>
                  <a:lnTo>
                    <a:pt x="155" y="270"/>
                  </a:lnTo>
                  <a:lnTo>
                    <a:pt x="160" y="270"/>
                  </a:lnTo>
                  <a:lnTo>
                    <a:pt x="169" y="270"/>
                  </a:lnTo>
                  <a:lnTo>
                    <a:pt x="178" y="270"/>
                  </a:lnTo>
                  <a:lnTo>
                    <a:pt x="187" y="270"/>
                  </a:lnTo>
                  <a:lnTo>
                    <a:pt x="196" y="270"/>
                  </a:lnTo>
                  <a:lnTo>
                    <a:pt x="201" y="270"/>
                  </a:lnTo>
                  <a:lnTo>
                    <a:pt x="201" y="274"/>
                  </a:lnTo>
                  <a:lnTo>
                    <a:pt x="206" y="274"/>
                  </a:lnTo>
                  <a:lnTo>
                    <a:pt x="206" y="279"/>
                  </a:lnTo>
                  <a:lnTo>
                    <a:pt x="210" y="279"/>
                  </a:lnTo>
                  <a:lnTo>
                    <a:pt x="210" y="284"/>
                  </a:lnTo>
                  <a:lnTo>
                    <a:pt x="210" y="284"/>
                  </a:lnTo>
                  <a:lnTo>
                    <a:pt x="210" y="288"/>
                  </a:lnTo>
                  <a:lnTo>
                    <a:pt x="210" y="288"/>
                  </a:lnTo>
                  <a:lnTo>
                    <a:pt x="201" y="288"/>
                  </a:lnTo>
                  <a:lnTo>
                    <a:pt x="196" y="288"/>
                  </a:lnTo>
                  <a:lnTo>
                    <a:pt x="192" y="288"/>
                  </a:lnTo>
                  <a:lnTo>
                    <a:pt x="192" y="288"/>
                  </a:lnTo>
                  <a:lnTo>
                    <a:pt x="192" y="293"/>
                  </a:lnTo>
                  <a:lnTo>
                    <a:pt x="196" y="302"/>
                  </a:lnTo>
                  <a:lnTo>
                    <a:pt x="196" y="306"/>
                  </a:lnTo>
                  <a:lnTo>
                    <a:pt x="201" y="311"/>
                  </a:lnTo>
                  <a:lnTo>
                    <a:pt x="206" y="311"/>
                  </a:lnTo>
                  <a:lnTo>
                    <a:pt x="206" y="316"/>
                  </a:lnTo>
                  <a:lnTo>
                    <a:pt x="210" y="329"/>
                  </a:lnTo>
                  <a:lnTo>
                    <a:pt x="210" y="334"/>
                  </a:lnTo>
                  <a:lnTo>
                    <a:pt x="215" y="334"/>
                  </a:lnTo>
                  <a:lnTo>
                    <a:pt x="215" y="329"/>
                  </a:lnTo>
                  <a:lnTo>
                    <a:pt x="219" y="329"/>
                  </a:lnTo>
                  <a:lnTo>
                    <a:pt x="224" y="325"/>
                  </a:lnTo>
                  <a:lnTo>
                    <a:pt x="224" y="320"/>
                  </a:lnTo>
                  <a:lnTo>
                    <a:pt x="228" y="320"/>
                  </a:lnTo>
                  <a:lnTo>
                    <a:pt x="228" y="316"/>
                  </a:lnTo>
                  <a:lnTo>
                    <a:pt x="233" y="316"/>
                  </a:lnTo>
                  <a:lnTo>
                    <a:pt x="233" y="316"/>
                  </a:lnTo>
                  <a:lnTo>
                    <a:pt x="238" y="311"/>
                  </a:lnTo>
                  <a:lnTo>
                    <a:pt x="242" y="311"/>
                  </a:lnTo>
                  <a:lnTo>
                    <a:pt x="247" y="316"/>
                  </a:lnTo>
                  <a:lnTo>
                    <a:pt x="247" y="320"/>
                  </a:lnTo>
                  <a:lnTo>
                    <a:pt x="251" y="320"/>
                  </a:lnTo>
                  <a:lnTo>
                    <a:pt x="256" y="325"/>
                  </a:lnTo>
                  <a:lnTo>
                    <a:pt x="256" y="325"/>
                  </a:lnTo>
                  <a:lnTo>
                    <a:pt x="260" y="325"/>
                  </a:lnTo>
                  <a:lnTo>
                    <a:pt x="265" y="320"/>
                  </a:lnTo>
                  <a:lnTo>
                    <a:pt x="274" y="311"/>
                  </a:lnTo>
                  <a:lnTo>
                    <a:pt x="274" y="311"/>
                  </a:lnTo>
                  <a:lnTo>
                    <a:pt x="279" y="311"/>
                  </a:lnTo>
                  <a:lnTo>
                    <a:pt x="279" y="302"/>
                  </a:lnTo>
                  <a:lnTo>
                    <a:pt x="279" y="297"/>
                  </a:lnTo>
                  <a:lnTo>
                    <a:pt x="279" y="293"/>
                  </a:lnTo>
                  <a:lnTo>
                    <a:pt x="279" y="288"/>
                  </a:lnTo>
                  <a:lnTo>
                    <a:pt x="279" y="284"/>
                  </a:lnTo>
                  <a:lnTo>
                    <a:pt x="279" y="279"/>
                  </a:lnTo>
                  <a:lnTo>
                    <a:pt x="283" y="279"/>
                  </a:lnTo>
                  <a:lnTo>
                    <a:pt x="283" y="274"/>
                  </a:lnTo>
                  <a:lnTo>
                    <a:pt x="288" y="274"/>
                  </a:lnTo>
                  <a:lnTo>
                    <a:pt x="288" y="270"/>
                  </a:lnTo>
                  <a:lnTo>
                    <a:pt x="288" y="265"/>
                  </a:lnTo>
                  <a:lnTo>
                    <a:pt x="292" y="265"/>
                  </a:lnTo>
                  <a:lnTo>
                    <a:pt x="297" y="261"/>
                  </a:lnTo>
                  <a:lnTo>
                    <a:pt x="297" y="256"/>
                  </a:lnTo>
                  <a:lnTo>
                    <a:pt x="302" y="247"/>
                  </a:lnTo>
                  <a:lnTo>
                    <a:pt x="302" y="242"/>
                  </a:lnTo>
                  <a:lnTo>
                    <a:pt x="297" y="233"/>
                  </a:lnTo>
                  <a:lnTo>
                    <a:pt x="297" y="229"/>
                  </a:lnTo>
                  <a:lnTo>
                    <a:pt x="297" y="224"/>
                  </a:lnTo>
                  <a:lnTo>
                    <a:pt x="302" y="220"/>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Edo</a:t>
              </a:r>
            </a:p>
          </p:txBody>
        </p:sp>
        <p:sp>
          <p:nvSpPr>
            <p:cNvPr id="136" name="Freeform 55">
              <a:extLst>
                <a:ext uri="{FF2B5EF4-FFF2-40B4-BE49-F238E27FC236}">
                  <a16:creationId xmlns:a16="http://schemas.microsoft.com/office/drawing/2014/main" id="{E5A3C4C8-9BB7-4DB9-A49F-581BE512A9FC}"/>
                </a:ext>
              </a:extLst>
            </p:cNvPr>
            <p:cNvSpPr>
              <a:spLocks/>
            </p:cNvSpPr>
            <p:nvPr>
              <p:custDataLst>
                <p:tags r:id="rId48"/>
              </p:custDataLst>
            </p:nvPr>
          </p:nvSpPr>
          <p:spPr bwMode="auto">
            <a:xfrm>
              <a:off x="873656" y="3024710"/>
              <a:ext cx="299783" cy="310405"/>
            </a:xfrm>
            <a:custGeom>
              <a:avLst/>
              <a:gdLst/>
              <a:ahLst/>
              <a:cxnLst>
                <a:cxn ang="0">
                  <a:pos x="5" y="174"/>
                </a:cxn>
                <a:cxn ang="0">
                  <a:pos x="9" y="151"/>
                </a:cxn>
                <a:cxn ang="0">
                  <a:pos x="9" y="128"/>
                </a:cxn>
                <a:cxn ang="0">
                  <a:pos x="0" y="105"/>
                </a:cxn>
                <a:cxn ang="0">
                  <a:pos x="9" y="87"/>
                </a:cxn>
                <a:cxn ang="0">
                  <a:pos x="14" y="78"/>
                </a:cxn>
                <a:cxn ang="0">
                  <a:pos x="28" y="64"/>
                </a:cxn>
                <a:cxn ang="0">
                  <a:pos x="41" y="55"/>
                </a:cxn>
                <a:cxn ang="0">
                  <a:pos x="50" y="46"/>
                </a:cxn>
                <a:cxn ang="0">
                  <a:pos x="60" y="32"/>
                </a:cxn>
                <a:cxn ang="0">
                  <a:pos x="73" y="23"/>
                </a:cxn>
                <a:cxn ang="0">
                  <a:pos x="87" y="28"/>
                </a:cxn>
                <a:cxn ang="0">
                  <a:pos x="101" y="18"/>
                </a:cxn>
                <a:cxn ang="0">
                  <a:pos x="114" y="23"/>
                </a:cxn>
                <a:cxn ang="0">
                  <a:pos x="124" y="37"/>
                </a:cxn>
                <a:cxn ang="0">
                  <a:pos x="137" y="41"/>
                </a:cxn>
                <a:cxn ang="0">
                  <a:pos x="156" y="46"/>
                </a:cxn>
                <a:cxn ang="0">
                  <a:pos x="174" y="41"/>
                </a:cxn>
                <a:cxn ang="0">
                  <a:pos x="188" y="32"/>
                </a:cxn>
                <a:cxn ang="0">
                  <a:pos x="188" y="14"/>
                </a:cxn>
                <a:cxn ang="0">
                  <a:pos x="206" y="0"/>
                </a:cxn>
                <a:cxn ang="0">
                  <a:pos x="224" y="0"/>
                </a:cxn>
                <a:cxn ang="0">
                  <a:pos x="238" y="9"/>
                </a:cxn>
                <a:cxn ang="0">
                  <a:pos x="242" y="23"/>
                </a:cxn>
                <a:cxn ang="0">
                  <a:pos x="242" y="41"/>
                </a:cxn>
                <a:cxn ang="0">
                  <a:pos x="256" y="37"/>
                </a:cxn>
                <a:cxn ang="0">
                  <a:pos x="261" y="28"/>
                </a:cxn>
                <a:cxn ang="0">
                  <a:pos x="279" y="23"/>
                </a:cxn>
                <a:cxn ang="0">
                  <a:pos x="293" y="32"/>
                </a:cxn>
                <a:cxn ang="0">
                  <a:pos x="284" y="46"/>
                </a:cxn>
                <a:cxn ang="0">
                  <a:pos x="274" y="55"/>
                </a:cxn>
                <a:cxn ang="0">
                  <a:pos x="270" y="69"/>
                </a:cxn>
                <a:cxn ang="0">
                  <a:pos x="274" y="87"/>
                </a:cxn>
                <a:cxn ang="0">
                  <a:pos x="284" y="101"/>
                </a:cxn>
                <a:cxn ang="0">
                  <a:pos x="302" y="105"/>
                </a:cxn>
                <a:cxn ang="0">
                  <a:pos x="325" y="114"/>
                </a:cxn>
                <a:cxn ang="0">
                  <a:pos x="334" y="119"/>
                </a:cxn>
                <a:cxn ang="0">
                  <a:pos x="343" y="133"/>
                </a:cxn>
                <a:cxn ang="0">
                  <a:pos x="302" y="151"/>
                </a:cxn>
                <a:cxn ang="0">
                  <a:pos x="265" y="206"/>
                </a:cxn>
                <a:cxn ang="0">
                  <a:pos x="261" y="224"/>
                </a:cxn>
                <a:cxn ang="0">
                  <a:pos x="252" y="261"/>
                </a:cxn>
                <a:cxn ang="0">
                  <a:pos x="233" y="288"/>
                </a:cxn>
                <a:cxn ang="0">
                  <a:pos x="210" y="297"/>
                </a:cxn>
                <a:cxn ang="0">
                  <a:pos x="188" y="306"/>
                </a:cxn>
                <a:cxn ang="0">
                  <a:pos x="169" y="284"/>
                </a:cxn>
                <a:cxn ang="0">
                  <a:pos x="160" y="252"/>
                </a:cxn>
                <a:cxn ang="0">
                  <a:pos x="128" y="252"/>
                </a:cxn>
                <a:cxn ang="0">
                  <a:pos x="92" y="247"/>
                </a:cxn>
                <a:cxn ang="0">
                  <a:pos x="73" y="242"/>
                </a:cxn>
                <a:cxn ang="0">
                  <a:pos x="46" y="252"/>
                </a:cxn>
                <a:cxn ang="0">
                  <a:pos x="28" y="261"/>
                </a:cxn>
                <a:cxn ang="0">
                  <a:pos x="14" y="238"/>
                </a:cxn>
                <a:cxn ang="0">
                  <a:pos x="9" y="215"/>
                </a:cxn>
                <a:cxn ang="0">
                  <a:pos x="5" y="197"/>
                </a:cxn>
              </a:cxnLst>
              <a:rect l="0" t="0" r="r" b="b"/>
              <a:pathLst>
                <a:path w="343" h="306">
                  <a:moveTo>
                    <a:pt x="5" y="197"/>
                  </a:moveTo>
                  <a:lnTo>
                    <a:pt x="5" y="183"/>
                  </a:lnTo>
                  <a:lnTo>
                    <a:pt x="5" y="174"/>
                  </a:lnTo>
                  <a:lnTo>
                    <a:pt x="5" y="174"/>
                  </a:lnTo>
                  <a:lnTo>
                    <a:pt x="5" y="169"/>
                  </a:lnTo>
                  <a:lnTo>
                    <a:pt x="5" y="156"/>
                  </a:lnTo>
                  <a:lnTo>
                    <a:pt x="5" y="151"/>
                  </a:lnTo>
                  <a:lnTo>
                    <a:pt x="9" y="151"/>
                  </a:lnTo>
                  <a:lnTo>
                    <a:pt x="9" y="146"/>
                  </a:lnTo>
                  <a:lnTo>
                    <a:pt x="9" y="142"/>
                  </a:lnTo>
                  <a:lnTo>
                    <a:pt x="9" y="128"/>
                  </a:lnTo>
                  <a:lnTo>
                    <a:pt x="9" y="128"/>
                  </a:lnTo>
                  <a:lnTo>
                    <a:pt x="9" y="124"/>
                  </a:lnTo>
                  <a:lnTo>
                    <a:pt x="5" y="114"/>
                  </a:lnTo>
                  <a:lnTo>
                    <a:pt x="5" y="110"/>
                  </a:lnTo>
                  <a:lnTo>
                    <a:pt x="0" y="105"/>
                  </a:lnTo>
                  <a:lnTo>
                    <a:pt x="5" y="101"/>
                  </a:lnTo>
                  <a:lnTo>
                    <a:pt x="5" y="96"/>
                  </a:lnTo>
                  <a:lnTo>
                    <a:pt x="9" y="87"/>
                  </a:lnTo>
                  <a:lnTo>
                    <a:pt x="9" y="87"/>
                  </a:lnTo>
                  <a:lnTo>
                    <a:pt x="14" y="87"/>
                  </a:lnTo>
                  <a:lnTo>
                    <a:pt x="14" y="82"/>
                  </a:lnTo>
                  <a:lnTo>
                    <a:pt x="14" y="78"/>
                  </a:lnTo>
                  <a:lnTo>
                    <a:pt x="14" y="78"/>
                  </a:lnTo>
                  <a:lnTo>
                    <a:pt x="14" y="73"/>
                  </a:lnTo>
                  <a:lnTo>
                    <a:pt x="23" y="69"/>
                  </a:lnTo>
                  <a:lnTo>
                    <a:pt x="23" y="64"/>
                  </a:lnTo>
                  <a:lnTo>
                    <a:pt x="28" y="64"/>
                  </a:lnTo>
                  <a:lnTo>
                    <a:pt x="28" y="64"/>
                  </a:lnTo>
                  <a:lnTo>
                    <a:pt x="32" y="64"/>
                  </a:lnTo>
                  <a:lnTo>
                    <a:pt x="37" y="60"/>
                  </a:lnTo>
                  <a:lnTo>
                    <a:pt x="41" y="55"/>
                  </a:lnTo>
                  <a:lnTo>
                    <a:pt x="46" y="55"/>
                  </a:lnTo>
                  <a:lnTo>
                    <a:pt x="46" y="50"/>
                  </a:lnTo>
                  <a:lnTo>
                    <a:pt x="50" y="50"/>
                  </a:lnTo>
                  <a:lnTo>
                    <a:pt x="50" y="46"/>
                  </a:lnTo>
                  <a:lnTo>
                    <a:pt x="60" y="41"/>
                  </a:lnTo>
                  <a:lnTo>
                    <a:pt x="60" y="37"/>
                  </a:lnTo>
                  <a:lnTo>
                    <a:pt x="60" y="32"/>
                  </a:lnTo>
                  <a:lnTo>
                    <a:pt x="60" y="32"/>
                  </a:lnTo>
                  <a:lnTo>
                    <a:pt x="60" y="18"/>
                  </a:lnTo>
                  <a:lnTo>
                    <a:pt x="64" y="18"/>
                  </a:lnTo>
                  <a:lnTo>
                    <a:pt x="69" y="23"/>
                  </a:lnTo>
                  <a:lnTo>
                    <a:pt x="73" y="23"/>
                  </a:lnTo>
                  <a:lnTo>
                    <a:pt x="78" y="28"/>
                  </a:lnTo>
                  <a:lnTo>
                    <a:pt x="82" y="28"/>
                  </a:lnTo>
                  <a:lnTo>
                    <a:pt x="82" y="28"/>
                  </a:lnTo>
                  <a:lnTo>
                    <a:pt x="87" y="28"/>
                  </a:lnTo>
                  <a:lnTo>
                    <a:pt x="87" y="23"/>
                  </a:lnTo>
                  <a:lnTo>
                    <a:pt x="92" y="23"/>
                  </a:lnTo>
                  <a:lnTo>
                    <a:pt x="92" y="18"/>
                  </a:lnTo>
                  <a:lnTo>
                    <a:pt x="101" y="18"/>
                  </a:lnTo>
                  <a:lnTo>
                    <a:pt x="105" y="18"/>
                  </a:lnTo>
                  <a:lnTo>
                    <a:pt x="110" y="18"/>
                  </a:lnTo>
                  <a:lnTo>
                    <a:pt x="114" y="23"/>
                  </a:lnTo>
                  <a:lnTo>
                    <a:pt x="114" y="23"/>
                  </a:lnTo>
                  <a:lnTo>
                    <a:pt x="119" y="28"/>
                  </a:lnTo>
                  <a:lnTo>
                    <a:pt x="119" y="32"/>
                  </a:lnTo>
                  <a:lnTo>
                    <a:pt x="124" y="32"/>
                  </a:lnTo>
                  <a:lnTo>
                    <a:pt x="124" y="37"/>
                  </a:lnTo>
                  <a:lnTo>
                    <a:pt x="128" y="41"/>
                  </a:lnTo>
                  <a:lnTo>
                    <a:pt x="133" y="41"/>
                  </a:lnTo>
                  <a:lnTo>
                    <a:pt x="137" y="41"/>
                  </a:lnTo>
                  <a:lnTo>
                    <a:pt x="137" y="41"/>
                  </a:lnTo>
                  <a:lnTo>
                    <a:pt x="142" y="41"/>
                  </a:lnTo>
                  <a:lnTo>
                    <a:pt x="146" y="41"/>
                  </a:lnTo>
                  <a:lnTo>
                    <a:pt x="146" y="46"/>
                  </a:lnTo>
                  <a:lnTo>
                    <a:pt x="156" y="46"/>
                  </a:lnTo>
                  <a:lnTo>
                    <a:pt x="165" y="46"/>
                  </a:lnTo>
                  <a:lnTo>
                    <a:pt x="169" y="46"/>
                  </a:lnTo>
                  <a:lnTo>
                    <a:pt x="169" y="41"/>
                  </a:lnTo>
                  <a:lnTo>
                    <a:pt x="174" y="41"/>
                  </a:lnTo>
                  <a:lnTo>
                    <a:pt x="178" y="41"/>
                  </a:lnTo>
                  <a:lnTo>
                    <a:pt x="183" y="37"/>
                  </a:lnTo>
                  <a:lnTo>
                    <a:pt x="183" y="32"/>
                  </a:lnTo>
                  <a:lnTo>
                    <a:pt x="188" y="32"/>
                  </a:lnTo>
                  <a:lnTo>
                    <a:pt x="188" y="28"/>
                  </a:lnTo>
                  <a:lnTo>
                    <a:pt x="188" y="23"/>
                  </a:lnTo>
                  <a:lnTo>
                    <a:pt x="188" y="18"/>
                  </a:lnTo>
                  <a:lnTo>
                    <a:pt x="188" y="14"/>
                  </a:lnTo>
                  <a:lnTo>
                    <a:pt x="192" y="9"/>
                  </a:lnTo>
                  <a:lnTo>
                    <a:pt x="192" y="5"/>
                  </a:lnTo>
                  <a:lnTo>
                    <a:pt x="192" y="5"/>
                  </a:lnTo>
                  <a:lnTo>
                    <a:pt x="206" y="0"/>
                  </a:lnTo>
                  <a:lnTo>
                    <a:pt x="210" y="0"/>
                  </a:lnTo>
                  <a:lnTo>
                    <a:pt x="215" y="0"/>
                  </a:lnTo>
                  <a:lnTo>
                    <a:pt x="220" y="0"/>
                  </a:lnTo>
                  <a:lnTo>
                    <a:pt x="224" y="0"/>
                  </a:lnTo>
                  <a:lnTo>
                    <a:pt x="229" y="5"/>
                  </a:lnTo>
                  <a:lnTo>
                    <a:pt x="233" y="5"/>
                  </a:lnTo>
                  <a:lnTo>
                    <a:pt x="233" y="5"/>
                  </a:lnTo>
                  <a:lnTo>
                    <a:pt x="238" y="9"/>
                  </a:lnTo>
                  <a:lnTo>
                    <a:pt x="238" y="14"/>
                  </a:lnTo>
                  <a:lnTo>
                    <a:pt x="242" y="18"/>
                  </a:lnTo>
                  <a:lnTo>
                    <a:pt x="242" y="18"/>
                  </a:lnTo>
                  <a:lnTo>
                    <a:pt x="242" y="23"/>
                  </a:lnTo>
                  <a:lnTo>
                    <a:pt x="238" y="28"/>
                  </a:lnTo>
                  <a:lnTo>
                    <a:pt x="238" y="32"/>
                  </a:lnTo>
                  <a:lnTo>
                    <a:pt x="238" y="41"/>
                  </a:lnTo>
                  <a:lnTo>
                    <a:pt x="242" y="41"/>
                  </a:lnTo>
                  <a:lnTo>
                    <a:pt x="247" y="41"/>
                  </a:lnTo>
                  <a:lnTo>
                    <a:pt x="247" y="37"/>
                  </a:lnTo>
                  <a:lnTo>
                    <a:pt x="252" y="37"/>
                  </a:lnTo>
                  <a:lnTo>
                    <a:pt x="256" y="37"/>
                  </a:lnTo>
                  <a:lnTo>
                    <a:pt x="256" y="32"/>
                  </a:lnTo>
                  <a:lnTo>
                    <a:pt x="256" y="32"/>
                  </a:lnTo>
                  <a:lnTo>
                    <a:pt x="261" y="32"/>
                  </a:lnTo>
                  <a:lnTo>
                    <a:pt x="261" y="28"/>
                  </a:lnTo>
                  <a:lnTo>
                    <a:pt x="270" y="28"/>
                  </a:lnTo>
                  <a:lnTo>
                    <a:pt x="274" y="28"/>
                  </a:lnTo>
                  <a:lnTo>
                    <a:pt x="279" y="23"/>
                  </a:lnTo>
                  <a:lnTo>
                    <a:pt x="279" y="23"/>
                  </a:lnTo>
                  <a:lnTo>
                    <a:pt x="284" y="23"/>
                  </a:lnTo>
                  <a:lnTo>
                    <a:pt x="288" y="28"/>
                  </a:lnTo>
                  <a:lnTo>
                    <a:pt x="293" y="28"/>
                  </a:lnTo>
                  <a:lnTo>
                    <a:pt x="293" y="32"/>
                  </a:lnTo>
                  <a:lnTo>
                    <a:pt x="297" y="32"/>
                  </a:lnTo>
                  <a:lnTo>
                    <a:pt x="293" y="41"/>
                  </a:lnTo>
                  <a:lnTo>
                    <a:pt x="293" y="41"/>
                  </a:lnTo>
                  <a:lnTo>
                    <a:pt x="284" y="46"/>
                  </a:lnTo>
                  <a:lnTo>
                    <a:pt x="279" y="46"/>
                  </a:lnTo>
                  <a:lnTo>
                    <a:pt x="279" y="50"/>
                  </a:lnTo>
                  <a:lnTo>
                    <a:pt x="279" y="50"/>
                  </a:lnTo>
                  <a:lnTo>
                    <a:pt x="274" y="55"/>
                  </a:lnTo>
                  <a:lnTo>
                    <a:pt x="274" y="60"/>
                  </a:lnTo>
                  <a:lnTo>
                    <a:pt x="270" y="60"/>
                  </a:lnTo>
                  <a:lnTo>
                    <a:pt x="270" y="64"/>
                  </a:lnTo>
                  <a:lnTo>
                    <a:pt x="270" y="69"/>
                  </a:lnTo>
                  <a:lnTo>
                    <a:pt x="270" y="73"/>
                  </a:lnTo>
                  <a:lnTo>
                    <a:pt x="270" y="78"/>
                  </a:lnTo>
                  <a:lnTo>
                    <a:pt x="270" y="82"/>
                  </a:lnTo>
                  <a:lnTo>
                    <a:pt x="274" y="87"/>
                  </a:lnTo>
                  <a:lnTo>
                    <a:pt x="279" y="92"/>
                  </a:lnTo>
                  <a:lnTo>
                    <a:pt x="279" y="96"/>
                  </a:lnTo>
                  <a:lnTo>
                    <a:pt x="279" y="96"/>
                  </a:lnTo>
                  <a:lnTo>
                    <a:pt x="284" y="101"/>
                  </a:lnTo>
                  <a:lnTo>
                    <a:pt x="297" y="105"/>
                  </a:lnTo>
                  <a:lnTo>
                    <a:pt x="302" y="105"/>
                  </a:lnTo>
                  <a:lnTo>
                    <a:pt x="302" y="105"/>
                  </a:lnTo>
                  <a:lnTo>
                    <a:pt x="302" y="105"/>
                  </a:lnTo>
                  <a:lnTo>
                    <a:pt x="306" y="110"/>
                  </a:lnTo>
                  <a:lnTo>
                    <a:pt x="311" y="110"/>
                  </a:lnTo>
                  <a:lnTo>
                    <a:pt x="320" y="114"/>
                  </a:lnTo>
                  <a:lnTo>
                    <a:pt x="325" y="114"/>
                  </a:lnTo>
                  <a:lnTo>
                    <a:pt x="325" y="114"/>
                  </a:lnTo>
                  <a:lnTo>
                    <a:pt x="329" y="114"/>
                  </a:lnTo>
                  <a:lnTo>
                    <a:pt x="329" y="119"/>
                  </a:lnTo>
                  <a:lnTo>
                    <a:pt x="334" y="119"/>
                  </a:lnTo>
                  <a:lnTo>
                    <a:pt x="338" y="124"/>
                  </a:lnTo>
                  <a:lnTo>
                    <a:pt x="343" y="124"/>
                  </a:lnTo>
                  <a:lnTo>
                    <a:pt x="343" y="128"/>
                  </a:lnTo>
                  <a:lnTo>
                    <a:pt x="343" y="133"/>
                  </a:lnTo>
                  <a:lnTo>
                    <a:pt x="338" y="142"/>
                  </a:lnTo>
                  <a:lnTo>
                    <a:pt x="325" y="146"/>
                  </a:lnTo>
                  <a:lnTo>
                    <a:pt x="311" y="151"/>
                  </a:lnTo>
                  <a:lnTo>
                    <a:pt x="302" y="151"/>
                  </a:lnTo>
                  <a:lnTo>
                    <a:pt x="293" y="156"/>
                  </a:lnTo>
                  <a:lnTo>
                    <a:pt x="270" y="178"/>
                  </a:lnTo>
                  <a:lnTo>
                    <a:pt x="270" y="197"/>
                  </a:lnTo>
                  <a:lnTo>
                    <a:pt x="265" y="206"/>
                  </a:lnTo>
                  <a:lnTo>
                    <a:pt x="261" y="215"/>
                  </a:lnTo>
                  <a:lnTo>
                    <a:pt x="265" y="215"/>
                  </a:lnTo>
                  <a:lnTo>
                    <a:pt x="265" y="215"/>
                  </a:lnTo>
                  <a:lnTo>
                    <a:pt x="261" y="224"/>
                  </a:lnTo>
                  <a:lnTo>
                    <a:pt x="261" y="229"/>
                  </a:lnTo>
                  <a:lnTo>
                    <a:pt x="261" y="238"/>
                  </a:lnTo>
                  <a:lnTo>
                    <a:pt x="256" y="252"/>
                  </a:lnTo>
                  <a:lnTo>
                    <a:pt x="252" y="261"/>
                  </a:lnTo>
                  <a:lnTo>
                    <a:pt x="247" y="274"/>
                  </a:lnTo>
                  <a:lnTo>
                    <a:pt x="242" y="284"/>
                  </a:lnTo>
                  <a:lnTo>
                    <a:pt x="238" y="284"/>
                  </a:lnTo>
                  <a:lnTo>
                    <a:pt x="233" y="288"/>
                  </a:lnTo>
                  <a:lnTo>
                    <a:pt x="233" y="293"/>
                  </a:lnTo>
                  <a:lnTo>
                    <a:pt x="229" y="293"/>
                  </a:lnTo>
                  <a:lnTo>
                    <a:pt x="220" y="297"/>
                  </a:lnTo>
                  <a:lnTo>
                    <a:pt x="210" y="297"/>
                  </a:lnTo>
                  <a:lnTo>
                    <a:pt x="197" y="302"/>
                  </a:lnTo>
                  <a:lnTo>
                    <a:pt x="197" y="302"/>
                  </a:lnTo>
                  <a:lnTo>
                    <a:pt x="192" y="302"/>
                  </a:lnTo>
                  <a:lnTo>
                    <a:pt x="188" y="306"/>
                  </a:lnTo>
                  <a:lnTo>
                    <a:pt x="183" y="306"/>
                  </a:lnTo>
                  <a:lnTo>
                    <a:pt x="174" y="302"/>
                  </a:lnTo>
                  <a:lnTo>
                    <a:pt x="169" y="293"/>
                  </a:lnTo>
                  <a:lnTo>
                    <a:pt x="169" y="284"/>
                  </a:lnTo>
                  <a:lnTo>
                    <a:pt x="169" y="274"/>
                  </a:lnTo>
                  <a:lnTo>
                    <a:pt x="169" y="265"/>
                  </a:lnTo>
                  <a:lnTo>
                    <a:pt x="169" y="261"/>
                  </a:lnTo>
                  <a:lnTo>
                    <a:pt x="160" y="252"/>
                  </a:lnTo>
                  <a:lnTo>
                    <a:pt x="156" y="247"/>
                  </a:lnTo>
                  <a:lnTo>
                    <a:pt x="156" y="242"/>
                  </a:lnTo>
                  <a:lnTo>
                    <a:pt x="151" y="242"/>
                  </a:lnTo>
                  <a:lnTo>
                    <a:pt x="128" y="252"/>
                  </a:lnTo>
                  <a:lnTo>
                    <a:pt x="110" y="252"/>
                  </a:lnTo>
                  <a:lnTo>
                    <a:pt x="110" y="247"/>
                  </a:lnTo>
                  <a:lnTo>
                    <a:pt x="105" y="247"/>
                  </a:lnTo>
                  <a:lnTo>
                    <a:pt x="92" y="247"/>
                  </a:lnTo>
                  <a:lnTo>
                    <a:pt x="87" y="247"/>
                  </a:lnTo>
                  <a:lnTo>
                    <a:pt x="82" y="242"/>
                  </a:lnTo>
                  <a:lnTo>
                    <a:pt x="78" y="242"/>
                  </a:lnTo>
                  <a:lnTo>
                    <a:pt x="73" y="242"/>
                  </a:lnTo>
                  <a:lnTo>
                    <a:pt x="64" y="242"/>
                  </a:lnTo>
                  <a:lnTo>
                    <a:pt x="60" y="242"/>
                  </a:lnTo>
                  <a:lnTo>
                    <a:pt x="55" y="247"/>
                  </a:lnTo>
                  <a:lnTo>
                    <a:pt x="46" y="252"/>
                  </a:lnTo>
                  <a:lnTo>
                    <a:pt x="41" y="256"/>
                  </a:lnTo>
                  <a:lnTo>
                    <a:pt x="37" y="256"/>
                  </a:lnTo>
                  <a:lnTo>
                    <a:pt x="32" y="261"/>
                  </a:lnTo>
                  <a:lnTo>
                    <a:pt x="28" y="261"/>
                  </a:lnTo>
                  <a:lnTo>
                    <a:pt x="18" y="256"/>
                  </a:lnTo>
                  <a:lnTo>
                    <a:pt x="14" y="256"/>
                  </a:lnTo>
                  <a:lnTo>
                    <a:pt x="14" y="242"/>
                  </a:lnTo>
                  <a:lnTo>
                    <a:pt x="14" y="238"/>
                  </a:lnTo>
                  <a:lnTo>
                    <a:pt x="14" y="238"/>
                  </a:lnTo>
                  <a:lnTo>
                    <a:pt x="9" y="224"/>
                  </a:lnTo>
                  <a:lnTo>
                    <a:pt x="9" y="215"/>
                  </a:lnTo>
                  <a:lnTo>
                    <a:pt x="9" y="215"/>
                  </a:lnTo>
                  <a:lnTo>
                    <a:pt x="9" y="210"/>
                  </a:lnTo>
                  <a:lnTo>
                    <a:pt x="9" y="201"/>
                  </a:lnTo>
                  <a:lnTo>
                    <a:pt x="5" y="197"/>
                  </a:lnTo>
                  <a:lnTo>
                    <a:pt x="5" y="197"/>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Ekiti</a:t>
              </a:r>
            </a:p>
          </p:txBody>
        </p:sp>
        <p:sp>
          <p:nvSpPr>
            <p:cNvPr id="137" name="Freeform 56">
              <a:extLst>
                <a:ext uri="{FF2B5EF4-FFF2-40B4-BE49-F238E27FC236}">
                  <a16:creationId xmlns:a16="http://schemas.microsoft.com/office/drawing/2014/main" id="{1C020715-E03A-4B0A-91F2-A12B3927F7B0}"/>
                </a:ext>
              </a:extLst>
            </p:cNvPr>
            <p:cNvSpPr>
              <a:spLocks/>
            </p:cNvSpPr>
            <p:nvPr>
              <p:custDataLst>
                <p:tags r:id="rId49"/>
              </p:custDataLst>
            </p:nvPr>
          </p:nvSpPr>
          <p:spPr bwMode="auto">
            <a:xfrm>
              <a:off x="1543926" y="3404919"/>
              <a:ext cx="319580" cy="457437"/>
            </a:xfrm>
            <a:custGeom>
              <a:avLst/>
              <a:gdLst/>
              <a:ahLst/>
              <a:cxnLst>
                <a:cxn ang="0">
                  <a:pos x="124" y="59"/>
                </a:cxn>
                <a:cxn ang="0">
                  <a:pos x="146" y="37"/>
                </a:cxn>
                <a:cxn ang="0">
                  <a:pos x="160" y="23"/>
                </a:cxn>
                <a:cxn ang="0">
                  <a:pos x="169" y="14"/>
                </a:cxn>
                <a:cxn ang="0">
                  <a:pos x="188" y="0"/>
                </a:cxn>
                <a:cxn ang="0">
                  <a:pos x="210" y="5"/>
                </a:cxn>
                <a:cxn ang="0">
                  <a:pos x="233" y="32"/>
                </a:cxn>
                <a:cxn ang="0">
                  <a:pos x="247" y="59"/>
                </a:cxn>
                <a:cxn ang="0">
                  <a:pos x="261" y="73"/>
                </a:cxn>
                <a:cxn ang="0">
                  <a:pos x="274" y="87"/>
                </a:cxn>
                <a:cxn ang="0">
                  <a:pos x="293" y="101"/>
                </a:cxn>
                <a:cxn ang="0">
                  <a:pos x="316" y="96"/>
                </a:cxn>
                <a:cxn ang="0">
                  <a:pos x="343" y="87"/>
                </a:cxn>
                <a:cxn ang="0">
                  <a:pos x="357" y="101"/>
                </a:cxn>
                <a:cxn ang="0">
                  <a:pos x="366" y="123"/>
                </a:cxn>
                <a:cxn ang="0">
                  <a:pos x="366" y="142"/>
                </a:cxn>
                <a:cxn ang="0">
                  <a:pos x="361" y="160"/>
                </a:cxn>
                <a:cxn ang="0">
                  <a:pos x="329" y="169"/>
                </a:cxn>
                <a:cxn ang="0">
                  <a:pos x="279" y="178"/>
                </a:cxn>
                <a:cxn ang="0">
                  <a:pos x="297" y="233"/>
                </a:cxn>
                <a:cxn ang="0">
                  <a:pos x="288" y="288"/>
                </a:cxn>
                <a:cxn ang="0">
                  <a:pos x="293" y="334"/>
                </a:cxn>
                <a:cxn ang="0">
                  <a:pos x="316" y="366"/>
                </a:cxn>
                <a:cxn ang="0">
                  <a:pos x="306" y="398"/>
                </a:cxn>
                <a:cxn ang="0">
                  <a:pos x="293" y="416"/>
                </a:cxn>
                <a:cxn ang="0">
                  <a:pos x="302" y="434"/>
                </a:cxn>
                <a:cxn ang="0">
                  <a:pos x="284" y="448"/>
                </a:cxn>
                <a:cxn ang="0">
                  <a:pos x="252" y="425"/>
                </a:cxn>
                <a:cxn ang="0">
                  <a:pos x="233" y="421"/>
                </a:cxn>
                <a:cxn ang="0">
                  <a:pos x="224" y="411"/>
                </a:cxn>
                <a:cxn ang="0">
                  <a:pos x="197" y="411"/>
                </a:cxn>
                <a:cxn ang="0">
                  <a:pos x="178" y="407"/>
                </a:cxn>
                <a:cxn ang="0">
                  <a:pos x="165" y="402"/>
                </a:cxn>
                <a:cxn ang="0">
                  <a:pos x="142" y="402"/>
                </a:cxn>
                <a:cxn ang="0">
                  <a:pos x="124" y="379"/>
                </a:cxn>
                <a:cxn ang="0">
                  <a:pos x="114" y="347"/>
                </a:cxn>
                <a:cxn ang="0">
                  <a:pos x="105" y="334"/>
                </a:cxn>
                <a:cxn ang="0">
                  <a:pos x="87" y="329"/>
                </a:cxn>
                <a:cxn ang="0">
                  <a:pos x="82" y="311"/>
                </a:cxn>
                <a:cxn ang="0">
                  <a:pos x="87" y="297"/>
                </a:cxn>
                <a:cxn ang="0">
                  <a:pos x="78" y="274"/>
                </a:cxn>
                <a:cxn ang="0">
                  <a:pos x="64" y="261"/>
                </a:cxn>
                <a:cxn ang="0">
                  <a:pos x="41" y="251"/>
                </a:cxn>
                <a:cxn ang="0">
                  <a:pos x="50" y="238"/>
                </a:cxn>
                <a:cxn ang="0">
                  <a:pos x="55" y="210"/>
                </a:cxn>
                <a:cxn ang="0">
                  <a:pos x="73" y="192"/>
                </a:cxn>
                <a:cxn ang="0">
                  <a:pos x="82" y="174"/>
                </a:cxn>
                <a:cxn ang="0">
                  <a:pos x="60" y="160"/>
                </a:cxn>
                <a:cxn ang="0">
                  <a:pos x="37" y="151"/>
                </a:cxn>
                <a:cxn ang="0">
                  <a:pos x="14" y="151"/>
                </a:cxn>
                <a:cxn ang="0">
                  <a:pos x="0" y="137"/>
                </a:cxn>
                <a:cxn ang="0">
                  <a:pos x="9" y="119"/>
                </a:cxn>
                <a:cxn ang="0">
                  <a:pos x="18" y="96"/>
                </a:cxn>
                <a:cxn ang="0">
                  <a:pos x="32" y="114"/>
                </a:cxn>
                <a:cxn ang="0">
                  <a:pos x="50" y="123"/>
                </a:cxn>
                <a:cxn ang="0">
                  <a:pos x="69" y="105"/>
                </a:cxn>
                <a:cxn ang="0">
                  <a:pos x="87" y="91"/>
                </a:cxn>
              </a:cxnLst>
              <a:rect l="0" t="0" r="r" b="b"/>
              <a:pathLst>
                <a:path w="366" h="453">
                  <a:moveTo>
                    <a:pt x="105" y="73"/>
                  </a:moveTo>
                  <a:lnTo>
                    <a:pt x="110" y="69"/>
                  </a:lnTo>
                  <a:lnTo>
                    <a:pt x="119" y="64"/>
                  </a:lnTo>
                  <a:lnTo>
                    <a:pt x="124" y="59"/>
                  </a:lnTo>
                  <a:lnTo>
                    <a:pt x="124" y="59"/>
                  </a:lnTo>
                  <a:lnTo>
                    <a:pt x="133" y="50"/>
                  </a:lnTo>
                  <a:lnTo>
                    <a:pt x="137" y="46"/>
                  </a:lnTo>
                  <a:lnTo>
                    <a:pt x="137" y="41"/>
                  </a:lnTo>
                  <a:lnTo>
                    <a:pt x="142" y="41"/>
                  </a:lnTo>
                  <a:lnTo>
                    <a:pt x="146" y="37"/>
                  </a:lnTo>
                  <a:lnTo>
                    <a:pt x="146" y="32"/>
                  </a:lnTo>
                  <a:lnTo>
                    <a:pt x="151" y="32"/>
                  </a:lnTo>
                  <a:lnTo>
                    <a:pt x="151" y="27"/>
                  </a:lnTo>
                  <a:lnTo>
                    <a:pt x="156" y="27"/>
                  </a:lnTo>
                  <a:lnTo>
                    <a:pt x="160" y="23"/>
                  </a:lnTo>
                  <a:lnTo>
                    <a:pt x="165" y="18"/>
                  </a:lnTo>
                  <a:lnTo>
                    <a:pt x="169" y="18"/>
                  </a:lnTo>
                  <a:lnTo>
                    <a:pt x="169" y="18"/>
                  </a:lnTo>
                  <a:lnTo>
                    <a:pt x="169" y="18"/>
                  </a:lnTo>
                  <a:lnTo>
                    <a:pt x="169" y="14"/>
                  </a:lnTo>
                  <a:lnTo>
                    <a:pt x="174" y="9"/>
                  </a:lnTo>
                  <a:lnTo>
                    <a:pt x="178" y="5"/>
                  </a:lnTo>
                  <a:lnTo>
                    <a:pt x="183" y="5"/>
                  </a:lnTo>
                  <a:lnTo>
                    <a:pt x="183" y="0"/>
                  </a:lnTo>
                  <a:lnTo>
                    <a:pt x="188" y="0"/>
                  </a:lnTo>
                  <a:lnTo>
                    <a:pt x="197" y="0"/>
                  </a:lnTo>
                  <a:lnTo>
                    <a:pt x="201" y="0"/>
                  </a:lnTo>
                  <a:lnTo>
                    <a:pt x="206" y="0"/>
                  </a:lnTo>
                  <a:lnTo>
                    <a:pt x="210" y="0"/>
                  </a:lnTo>
                  <a:lnTo>
                    <a:pt x="210" y="5"/>
                  </a:lnTo>
                  <a:lnTo>
                    <a:pt x="215" y="9"/>
                  </a:lnTo>
                  <a:lnTo>
                    <a:pt x="220" y="14"/>
                  </a:lnTo>
                  <a:lnTo>
                    <a:pt x="224" y="18"/>
                  </a:lnTo>
                  <a:lnTo>
                    <a:pt x="233" y="27"/>
                  </a:lnTo>
                  <a:lnTo>
                    <a:pt x="233" y="32"/>
                  </a:lnTo>
                  <a:lnTo>
                    <a:pt x="238" y="41"/>
                  </a:lnTo>
                  <a:lnTo>
                    <a:pt x="238" y="46"/>
                  </a:lnTo>
                  <a:lnTo>
                    <a:pt x="238" y="50"/>
                  </a:lnTo>
                  <a:lnTo>
                    <a:pt x="242" y="55"/>
                  </a:lnTo>
                  <a:lnTo>
                    <a:pt x="247" y="59"/>
                  </a:lnTo>
                  <a:lnTo>
                    <a:pt x="252" y="64"/>
                  </a:lnTo>
                  <a:lnTo>
                    <a:pt x="256" y="64"/>
                  </a:lnTo>
                  <a:lnTo>
                    <a:pt x="256" y="69"/>
                  </a:lnTo>
                  <a:lnTo>
                    <a:pt x="256" y="73"/>
                  </a:lnTo>
                  <a:lnTo>
                    <a:pt x="261" y="73"/>
                  </a:lnTo>
                  <a:lnTo>
                    <a:pt x="265" y="78"/>
                  </a:lnTo>
                  <a:lnTo>
                    <a:pt x="265" y="82"/>
                  </a:lnTo>
                  <a:lnTo>
                    <a:pt x="270" y="82"/>
                  </a:lnTo>
                  <a:lnTo>
                    <a:pt x="270" y="82"/>
                  </a:lnTo>
                  <a:lnTo>
                    <a:pt x="274" y="87"/>
                  </a:lnTo>
                  <a:lnTo>
                    <a:pt x="279" y="91"/>
                  </a:lnTo>
                  <a:lnTo>
                    <a:pt x="279" y="96"/>
                  </a:lnTo>
                  <a:lnTo>
                    <a:pt x="284" y="101"/>
                  </a:lnTo>
                  <a:lnTo>
                    <a:pt x="288" y="101"/>
                  </a:lnTo>
                  <a:lnTo>
                    <a:pt x="293" y="101"/>
                  </a:lnTo>
                  <a:lnTo>
                    <a:pt x="302" y="101"/>
                  </a:lnTo>
                  <a:lnTo>
                    <a:pt x="306" y="101"/>
                  </a:lnTo>
                  <a:lnTo>
                    <a:pt x="306" y="96"/>
                  </a:lnTo>
                  <a:lnTo>
                    <a:pt x="311" y="96"/>
                  </a:lnTo>
                  <a:lnTo>
                    <a:pt x="316" y="96"/>
                  </a:lnTo>
                  <a:lnTo>
                    <a:pt x="320" y="91"/>
                  </a:lnTo>
                  <a:lnTo>
                    <a:pt x="325" y="87"/>
                  </a:lnTo>
                  <a:lnTo>
                    <a:pt x="334" y="87"/>
                  </a:lnTo>
                  <a:lnTo>
                    <a:pt x="338" y="87"/>
                  </a:lnTo>
                  <a:lnTo>
                    <a:pt x="343" y="87"/>
                  </a:lnTo>
                  <a:lnTo>
                    <a:pt x="343" y="87"/>
                  </a:lnTo>
                  <a:lnTo>
                    <a:pt x="343" y="91"/>
                  </a:lnTo>
                  <a:lnTo>
                    <a:pt x="348" y="91"/>
                  </a:lnTo>
                  <a:lnTo>
                    <a:pt x="352" y="101"/>
                  </a:lnTo>
                  <a:lnTo>
                    <a:pt x="357" y="101"/>
                  </a:lnTo>
                  <a:lnTo>
                    <a:pt x="357" y="105"/>
                  </a:lnTo>
                  <a:lnTo>
                    <a:pt x="361" y="105"/>
                  </a:lnTo>
                  <a:lnTo>
                    <a:pt x="366" y="110"/>
                  </a:lnTo>
                  <a:lnTo>
                    <a:pt x="366" y="114"/>
                  </a:lnTo>
                  <a:lnTo>
                    <a:pt x="366" y="123"/>
                  </a:lnTo>
                  <a:lnTo>
                    <a:pt x="366" y="128"/>
                  </a:lnTo>
                  <a:lnTo>
                    <a:pt x="366" y="128"/>
                  </a:lnTo>
                  <a:lnTo>
                    <a:pt x="366" y="133"/>
                  </a:lnTo>
                  <a:lnTo>
                    <a:pt x="366" y="137"/>
                  </a:lnTo>
                  <a:lnTo>
                    <a:pt x="366" y="142"/>
                  </a:lnTo>
                  <a:lnTo>
                    <a:pt x="366" y="146"/>
                  </a:lnTo>
                  <a:lnTo>
                    <a:pt x="366" y="151"/>
                  </a:lnTo>
                  <a:lnTo>
                    <a:pt x="366" y="151"/>
                  </a:lnTo>
                  <a:lnTo>
                    <a:pt x="366" y="155"/>
                  </a:lnTo>
                  <a:lnTo>
                    <a:pt x="361" y="160"/>
                  </a:lnTo>
                  <a:lnTo>
                    <a:pt x="361" y="165"/>
                  </a:lnTo>
                  <a:lnTo>
                    <a:pt x="357" y="169"/>
                  </a:lnTo>
                  <a:lnTo>
                    <a:pt x="357" y="169"/>
                  </a:lnTo>
                  <a:lnTo>
                    <a:pt x="352" y="174"/>
                  </a:lnTo>
                  <a:lnTo>
                    <a:pt x="329" y="169"/>
                  </a:lnTo>
                  <a:lnTo>
                    <a:pt x="311" y="174"/>
                  </a:lnTo>
                  <a:lnTo>
                    <a:pt x="297" y="178"/>
                  </a:lnTo>
                  <a:lnTo>
                    <a:pt x="284" y="174"/>
                  </a:lnTo>
                  <a:lnTo>
                    <a:pt x="284" y="174"/>
                  </a:lnTo>
                  <a:lnTo>
                    <a:pt x="279" y="178"/>
                  </a:lnTo>
                  <a:lnTo>
                    <a:pt x="279" y="187"/>
                  </a:lnTo>
                  <a:lnTo>
                    <a:pt x="284" y="192"/>
                  </a:lnTo>
                  <a:lnTo>
                    <a:pt x="288" y="201"/>
                  </a:lnTo>
                  <a:lnTo>
                    <a:pt x="293" y="215"/>
                  </a:lnTo>
                  <a:lnTo>
                    <a:pt x="297" y="233"/>
                  </a:lnTo>
                  <a:lnTo>
                    <a:pt x="293" y="242"/>
                  </a:lnTo>
                  <a:lnTo>
                    <a:pt x="293" y="256"/>
                  </a:lnTo>
                  <a:lnTo>
                    <a:pt x="297" y="270"/>
                  </a:lnTo>
                  <a:lnTo>
                    <a:pt x="297" y="279"/>
                  </a:lnTo>
                  <a:lnTo>
                    <a:pt x="288" y="288"/>
                  </a:lnTo>
                  <a:lnTo>
                    <a:pt x="284" y="302"/>
                  </a:lnTo>
                  <a:lnTo>
                    <a:pt x="279" y="306"/>
                  </a:lnTo>
                  <a:lnTo>
                    <a:pt x="284" y="320"/>
                  </a:lnTo>
                  <a:lnTo>
                    <a:pt x="284" y="329"/>
                  </a:lnTo>
                  <a:lnTo>
                    <a:pt x="293" y="334"/>
                  </a:lnTo>
                  <a:lnTo>
                    <a:pt x="302" y="338"/>
                  </a:lnTo>
                  <a:lnTo>
                    <a:pt x="311" y="338"/>
                  </a:lnTo>
                  <a:lnTo>
                    <a:pt x="311" y="343"/>
                  </a:lnTo>
                  <a:lnTo>
                    <a:pt x="316" y="361"/>
                  </a:lnTo>
                  <a:lnTo>
                    <a:pt x="316" y="366"/>
                  </a:lnTo>
                  <a:lnTo>
                    <a:pt x="316" y="375"/>
                  </a:lnTo>
                  <a:lnTo>
                    <a:pt x="316" y="384"/>
                  </a:lnTo>
                  <a:lnTo>
                    <a:pt x="311" y="389"/>
                  </a:lnTo>
                  <a:lnTo>
                    <a:pt x="311" y="389"/>
                  </a:lnTo>
                  <a:lnTo>
                    <a:pt x="306" y="398"/>
                  </a:lnTo>
                  <a:lnTo>
                    <a:pt x="302" y="402"/>
                  </a:lnTo>
                  <a:lnTo>
                    <a:pt x="297" y="407"/>
                  </a:lnTo>
                  <a:lnTo>
                    <a:pt x="293" y="411"/>
                  </a:lnTo>
                  <a:lnTo>
                    <a:pt x="293" y="411"/>
                  </a:lnTo>
                  <a:lnTo>
                    <a:pt x="293" y="416"/>
                  </a:lnTo>
                  <a:lnTo>
                    <a:pt x="297" y="421"/>
                  </a:lnTo>
                  <a:lnTo>
                    <a:pt x="297" y="425"/>
                  </a:lnTo>
                  <a:lnTo>
                    <a:pt x="297" y="430"/>
                  </a:lnTo>
                  <a:lnTo>
                    <a:pt x="302" y="434"/>
                  </a:lnTo>
                  <a:lnTo>
                    <a:pt x="302" y="434"/>
                  </a:lnTo>
                  <a:lnTo>
                    <a:pt x="302" y="443"/>
                  </a:lnTo>
                  <a:lnTo>
                    <a:pt x="302" y="453"/>
                  </a:lnTo>
                  <a:lnTo>
                    <a:pt x="293" y="453"/>
                  </a:lnTo>
                  <a:lnTo>
                    <a:pt x="288" y="448"/>
                  </a:lnTo>
                  <a:lnTo>
                    <a:pt x="284" y="448"/>
                  </a:lnTo>
                  <a:lnTo>
                    <a:pt x="284" y="443"/>
                  </a:lnTo>
                  <a:lnTo>
                    <a:pt x="279" y="439"/>
                  </a:lnTo>
                  <a:lnTo>
                    <a:pt x="265" y="434"/>
                  </a:lnTo>
                  <a:lnTo>
                    <a:pt x="256" y="425"/>
                  </a:lnTo>
                  <a:lnTo>
                    <a:pt x="252" y="425"/>
                  </a:lnTo>
                  <a:lnTo>
                    <a:pt x="252" y="425"/>
                  </a:lnTo>
                  <a:lnTo>
                    <a:pt x="247" y="425"/>
                  </a:lnTo>
                  <a:lnTo>
                    <a:pt x="242" y="425"/>
                  </a:lnTo>
                  <a:lnTo>
                    <a:pt x="238" y="425"/>
                  </a:lnTo>
                  <a:lnTo>
                    <a:pt x="233" y="421"/>
                  </a:lnTo>
                  <a:lnTo>
                    <a:pt x="233" y="421"/>
                  </a:lnTo>
                  <a:lnTo>
                    <a:pt x="233" y="416"/>
                  </a:lnTo>
                  <a:lnTo>
                    <a:pt x="229" y="416"/>
                  </a:lnTo>
                  <a:lnTo>
                    <a:pt x="224" y="416"/>
                  </a:lnTo>
                  <a:lnTo>
                    <a:pt x="224" y="411"/>
                  </a:lnTo>
                  <a:lnTo>
                    <a:pt x="215" y="411"/>
                  </a:lnTo>
                  <a:lnTo>
                    <a:pt x="210" y="411"/>
                  </a:lnTo>
                  <a:lnTo>
                    <a:pt x="206" y="411"/>
                  </a:lnTo>
                  <a:lnTo>
                    <a:pt x="201" y="411"/>
                  </a:lnTo>
                  <a:lnTo>
                    <a:pt x="197" y="411"/>
                  </a:lnTo>
                  <a:lnTo>
                    <a:pt x="192" y="416"/>
                  </a:lnTo>
                  <a:lnTo>
                    <a:pt x="188" y="416"/>
                  </a:lnTo>
                  <a:lnTo>
                    <a:pt x="183" y="411"/>
                  </a:lnTo>
                  <a:lnTo>
                    <a:pt x="178" y="411"/>
                  </a:lnTo>
                  <a:lnTo>
                    <a:pt x="178" y="407"/>
                  </a:lnTo>
                  <a:lnTo>
                    <a:pt x="174" y="407"/>
                  </a:lnTo>
                  <a:lnTo>
                    <a:pt x="174" y="402"/>
                  </a:lnTo>
                  <a:lnTo>
                    <a:pt x="169" y="402"/>
                  </a:lnTo>
                  <a:lnTo>
                    <a:pt x="169" y="402"/>
                  </a:lnTo>
                  <a:lnTo>
                    <a:pt x="165" y="402"/>
                  </a:lnTo>
                  <a:lnTo>
                    <a:pt x="160" y="402"/>
                  </a:lnTo>
                  <a:lnTo>
                    <a:pt x="156" y="402"/>
                  </a:lnTo>
                  <a:lnTo>
                    <a:pt x="151" y="402"/>
                  </a:lnTo>
                  <a:lnTo>
                    <a:pt x="146" y="402"/>
                  </a:lnTo>
                  <a:lnTo>
                    <a:pt x="142" y="402"/>
                  </a:lnTo>
                  <a:lnTo>
                    <a:pt x="137" y="402"/>
                  </a:lnTo>
                  <a:lnTo>
                    <a:pt x="133" y="398"/>
                  </a:lnTo>
                  <a:lnTo>
                    <a:pt x="128" y="393"/>
                  </a:lnTo>
                  <a:lnTo>
                    <a:pt x="124" y="389"/>
                  </a:lnTo>
                  <a:lnTo>
                    <a:pt x="124" y="379"/>
                  </a:lnTo>
                  <a:lnTo>
                    <a:pt x="124" y="379"/>
                  </a:lnTo>
                  <a:lnTo>
                    <a:pt x="119" y="370"/>
                  </a:lnTo>
                  <a:lnTo>
                    <a:pt x="114" y="366"/>
                  </a:lnTo>
                  <a:lnTo>
                    <a:pt x="114" y="352"/>
                  </a:lnTo>
                  <a:lnTo>
                    <a:pt x="114" y="347"/>
                  </a:lnTo>
                  <a:lnTo>
                    <a:pt x="110" y="347"/>
                  </a:lnTo>
                  <a:lnTo>
                    <a:pt x="105" y="347"/>
                  </a:lnTo>
                  <a:lnTo>
                    <a:pt x="105" y="343"/>
                  </a:lnTo>
                  <a:lnTo>
                    <a:pt x="105" y="338"/>
                  </a:lnTo>
                  <a:lnTo>
                    <a:pt x="105" y="334"/>
                  </a:lnTo>
                  <a:lnTo>
                    <a:pt x="105" y="329"/>
                  </a:lnTo>
                  <a:lnTo>
                    <a:pt x="105" y="329"/>
                  </a:lnTo>
                  <a:lnTo>
                    <a:pt x="101" y="329"/>
                  </a:lnTo>
                  <a:lnTo>
                    <a:pt x="92" y="329"/>
                  </a:lnTo>
                  <a:lnTo>
                    <a:pt x="87" y="329"/>
                  </a:lnTo>
                  <a:lnTo>
                    <a:pt x="87" y="325"/>
                  </a:lnTo>
                  <a:lnTo>
                    <a:pt x="87" y="325"/>
                  </a:lnTo>
                  <a:lnTo>
                    <a:pt x="82" y="320"/>
                  </a:lnTo>
                  <a:lnTo>
                    <a:pt x="82" y="315"/>
                  </a:lnTo>
                  <a:lnTo>
                    <a:pt x="82" y="311"/>
                  </a:lnTo>
                  <a:lnTo>
                    <a:pt x="87" y="311"/>
                  </a:lnTo>
                  <a:lnTo>
                    <a:pt x="92" y="306"/>
                  </a:lnTo>
                  <a:lnTo>
                    <a:pt x="92" y="302"/>
                  </a:lnTo>
                  <a:lnTo>
                    <a:pt x="92" y="302"/>
                  </a:lnTo>
                  <a:lnTo>
                    <a:pt x="87" y="297"/>
                  </a:lnTo>
                  <a:lnTo>
                    <a:pt x="87" y="288"/>
                  </a:lnTo>
                  <a:lnTo>
                    <a:pt x="82" y="288"/>
                  </a:lnTo>
                  <a:lnTo>
                    <a:pt x="82" y="279"/>
                  </a:lnTo>
                  <a:lnTo>
                    <a:pt x="82" y="279"/>
                  </a:lnTo>
                  <a:lnTo>
                    <a:pt x="78" y="274"/>
                  </a:lnTo>
                  <a:lnTo>
                    <a:pt x="78" y="270"/>
                  </a:lnTo>
                  <a:lnTo>
                    <a:pt x="73" y="270"/>
                  </a:lnTo>
                  <a:lnTo>
                    <a:pt x="73" y="265"/>
                  </a:lnTo>
                  <a:lnTo>
                    <a:pt x="69" y="265"/>
                  </a:lnTo>
                  <a:lnTo>
                    <a:pt x="64" y="261"/>
                  </a:lnTo>
                  <a:lnTo>
                    <a:pt x="60" y="261"/>
                  </a:lnTo>
                  <a:lnTo>
                    <a:pt x="60" y="256"/>
                  </a:lnTo>
                  <a:lnTo>
                    <a:pt x="50" y="256"/>
                  </a:lnTo>
                  <a:lnTo>
                    <a:pt x="41" y="256"/>
                  </a:lnTo>
                  <a:lnTo>
                    <a:pt x="41" y="251"/>
                  </a:lnTo>
                  <a:lnTo>
                    <a:pt x="41" y="247"/>
                  </a:lnTo>
                  <a:lnTo>
                    <a:pt x="41" y="242"/>
                  </a:lnTo>
                  <a:lnTo>
                    <a:pt x="46" y="242"/>
                  </a:lnTo>
                  <a:lnTo>
                    <a:pt x="46" y="238"/>
                  </a:lnTo>
                  <a:lnTo>
                    <a:pt x="50" y="238"/>
                  </a:lnTo>
                  <a:lnTo>
                    <a:pt x="46" y="233"/>
                  </a:lnTo>
                  <a:lnTo>
                    <a:pt x="46" y="224"/>
                  </a:lnTo>
                  <a:lnTo>
                    <a:pt x="50" y="219"/>
                  </a:lnTo>
                  <a:lnTo>
                    <a:pt x="50" y="215"/>
                  </a:lnTo>
                  <a:lnTo>
                    <a:pt x="55" y="210"/>
                  </a:lnTo>
                  <a:lnTo>
                    <a:pt x="64" y="206"/>
                  </a:lnTo>
                  <a:lnTo>
                    <a:pt x="69" y="201"/>
                  </a:lnTo>
                  <a:lnTo>
                    <a:pt x="69" y="197"/>
                  </a:lnTo>
                  <a:lnTo>
                    <a:pt x="73" y="197"/>
                  </a:lnTo>
                  <a:lnTo>
                    <a:pt x="73" y="192"/>
                  </a:lnTo>
                  <a:lnTo>
                    <a:pt x="73" y="187"/>
                  </a:lnTo>
                  <a:lnTo>
                    <a:pt x="78" y="187"/>
                  </a:lnTo>
                  <a:lnTo>
                    <a:pt x="78" y="183"/>
                  </a:lnTo>
                  <a:lnTo>
                    <a:pt x="82" y="178"/>
                  </a:lnTo>
                  <a:lnTo>
                    <a:pt x="82" y="174"/>
                  </a:lnTo>
                  <a:lnTo>
                    <a:pt x="82" y="169"/>
                  </a:lnTo>
                  <a:lnTo>
                    <a:pt x="78" y="169"/>
                  </a:lnTo>
                  <a:lnTo>
                    <a:pt x="69" y="165"/>
                  </a:lnTo>
                  <a:lnTo>
                    <a:pt x="64" y="160"/>
                  </a:lnTo>
                  <a:lnTo>
                    <a:pt x="60" y="160"/>
                  </a:lnTo>
                  <a:lnTo>
                    <a:pt x="55" y="160"/>
                  </a:lnTo>
                  <a:lnTo>
                    <a:pt x="50" y="160"/>
                  </a:lnTo>
                  <a:lnTo>
                    <a:pt x="46" y="155"/>
                  </a:lnTo>
                  <a:lnTo>
                    <a:pt x="41" y="155"/>
                  </a:lnTo>
                  <a:lnTo>
                    <a:pt x="37" y="151"/>
                  </a:lnTo>
                  <a:lnTo>
                    <a:pt x="32" y="151"/>
                  </a:lnTo>
                  <a:lnTo>
                    <a:pt x="28" y="151"/>
                  </a:lnTo>
                  <a:lnTo>
                    <a:pt x="18" y="151"/>
                  </a:lnTo>
                  <a:lnTo>
                    <a:pt x="14" y="151"/>
                  </a:lnTo>
                  <a:lnTo>
                    <a:pt x="14" y="151"/>
                  </a:lnTo>
                  <a:lnTo>
                    <a:pt x="9" y="151"/>
                  </a:lnTo>
                  <a:lnTo>
                    <a:pt x="5" y="151"/>
                  </a:lnTo>
                  <a:lnTo>
                    <a:pt x="0" y="151"/>
                  </a:lnTo>
                  <a:lnTo>
                    <a:pt x="0" y="146"/>
                  </a:lnTo>
                  <a:lnTo>
                    <a:pt x="0" y="137"/>
                  </a:lnTo>
                  <a:lnTo>
                    <a:pt x="0" y="133"/>
                  </a:lnTo>
                  <a:lnTo>
                    <a:pt x="5" y="128"/>
                  </a:lnTo>
                  <a:lnTo>
                    <a:pt x="5" y="128"/>
                  </a:lnTo>
                  <a:lnTo>
                    <a:pt x="9" y="123"/>
                  </a:lnTo>
                  <a:lnTo>
                    <a:pt x="9" y="119"/>
                  </a:lnTo>
                  <a:lnTo>
                    <a:pt x="14" y="114"/>
                  </a:lnTo>
                  <a:lnTo>
                    <a:pt x="14" y="105"/>
                  </a:lnTo>
                  <a:lnTo>
                    <a:pt x="14" y="101"/>
                  </a:lnTo>
                  <a:lnTo>
                    <a:pt x="14" y="96"/>
                  </a:lnTo>
                  <a:lnTo>
                    <a:pt x="18" y="96"/>
                  </a:lnTo>
                  <a:lnTo>
                    <a:pt x="23" y="101"/>
                  </a:lnTo>
                  <a:lnTo>
                    <a:pt x="28" y="105"/>
                  </a:lnTo>
                  <a:lnTo>
                    <a:pt x="28" y="110"/>
                  </a:lnTo>
                  <a:lnTo>
                    <a:pt x="32" y="110"/>
                  </a:lnTo>
                  <a:lnTo>
                    <a:pt x="32" y="114"/>
                  </a:lnTo>
                  <a:lnTo>
                    <a:pt x="32" y="119"/>
                  </a:lnTo>
                  <a:lnTo>
                    <a:pt x="37" y="123"/>
                  </a:lnTo>
                  <a:lnTo>
                    <a:pt x="37" y="123"/>
                  </a:lnTo>
                  <a:lnTo>
                    <a:pt x="41" y="123"/>
                  </a:lnTo>
                  <a:lnTo>
                    <a:pt x="50" y="123"/>
                  </a:lnTo>
                  <a:lnTo>
                    <a:pt x="60" y="119"/>
                  </a:lnTo>
                  <a:lnTo>
                    <a:pt x="64" y="114"/>
                  </a:lnTo>
                  <a:lnTo>
                    <a:pt x="64" y="110"/>
                  </a:lnTo>
                  <a:lnTo>
                    <a:pt x="69" y="105"/>
                  </a:lnTo>
                  <a:lnTo>
                    <a:pt x="69" y="105"/>
                  </a:lnTo>
                  <a:lnTo>
                    <a:pt x="73" y="105"/>
                  </a:lnTo>
                  <a:lnTo>
                    <a:pt x="73" y="101"/>
                  </a:lnTo>
                  <a:lnTo>
                    <a:pt x="78" y="101"/>
                  </a:lnTo>
                  <a:lnTo>
                    <a:pt x="82" y="91"/>
                  </a:lnTo>
                  <a:lnTo>
                    <a:pt x="87" y="91"/>
                  </a:lnTo>
                  <a:lnTo>
                    <a:pt x="92" y="87"/>
                  </a:lnTo>
                  <a:lnTo>
                    <a:pt x="101" y="82"/>
                  </a:lnTo>
                  <a:lnTo>
                    <a:pt x="105" y="82"/>
                  </a:lnTo>
                  <a:lnTo>
                    <a:pt x="105" y="73"/>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Enugu</a:t>
              </a:r>
            </a:p>
          </p:txBody>
        </p:sp>
        <p:sp>
          <p:nvSpPr>
            <p:cNvPr id="138" name="Freeform 57">
              <a:extLst>
                <a:ext uri="{FF2B5EF4-FFF2-40B4-BE49-F238E27FC236}">
                  <a16:creationId xmlns:a16="http://schemas.microsoft.com/office/drawing/2014/main" id="{75EA8A7C-3FC2-437C-A0D7-6254D1C9807E}"/>
                </a:ext>
              </a:extLst>
            </p:cNvPr>
            <p:cNvSpPr>
              <a:spLocks/>
            </p:cNvSpPr>
            <p:nvPr>
              <p:custDataLst>
                <p:tags r:id="rId50"/>
              </p:custDataLst>
            </p:nvPr>
          </p:nvSpPr>
          <p:spPr bwMode="auto">
            <a:xfrm>
              <a:off x="1409590" y="2534597"/>
              <a:ext cx="408667" cy="369813"/>
            </a:xfrm>
            <a:custGeom>
              <a:avLst/>
              <a:gdLst/>
              <a:ahLst/>
              <a:cxnLst>
                <a:cxn ang="0">
                  <a:pos x="260" y="298"/>
                </a:cxn>
                <a:cxn ang="0">
                  <a:pos x="260" y="302"/>
                </a:cxn>
                <a:cxn ang="0">
                  <a:pos x="256" y="307"/>
                </a:cxn>
                <a:cxn ang="0">
                  <a:pos x="247" y="311"/>
                </a:cxn>
                <a:cxn ang="0">
                  <a:pos x="242" y="321"/>
                </a:cxn>
                <a:cxn ang="0">
                  <a:pos x="233" y="325"/>
                </a:cxn>
                <a:cxn ang="0">
                  <a:pos x="228" y="330"/>
                </a:cxn>
                <a:cxn ang="0">
                  <a:pos x="219" y="330"/>
                </a:cxn>
                <a:cxn ang="0">
                  <a:pos x="219" y="334"/>
                </a:cxn>
                <a:cxn ang="0">
                  <a:pos x="215" y="339"/>
                </a:cxn>
                <a:cxn ang="0">
                  <a:pos x="201" y="343"/>
                </a:cxn>
                <a:cxn ang="0">
                  <a:pos x="183" y="353"/>
                </a:cxn>
                <a:cxn ang="0">
                  <a:pos x="155" y="357"/>
                </a:cxn>
                <a:cxn ang="0">
                  <a:pos x="146" y="362"/>
                </a:cxn>
                <a:cxn ang="0">
                  <a:pos x="119" y="366"/>
                </a:cxn>
                <a:cxn ang="0">
                  <a:pos x="110" y="366"/>
                </a:cxn>
                <a:cxn ang="0">
                  <a:pos x="87" y="366"/>
                </a:cxn>
                <a:cxn ang="0">
                  <a:pos x="64" y="366"/>
                </a:cxn>
                <a:cxn ang="0">
                  <a:pos x="46" y="366"/>
                </a:cxn>
                <a:cxn ang="0">
                  <a:pos x="41" y="366"/>
                </a:cxn>
                <a:cxn ang="0">
                  <a:pos x="32" y="366"/>
                </a:cxn>
                <a:cxn ang="0">
                  <a:pos x="23" y="366"/>
                </a:cxn>
                <a:cxn ang="0">
                  <a:pos x="0" y="193"/>
                </a:cxn>
                <a:cxn ang="0">
                  <a:pos x="9" y="64"/>
                </a:cxn>
                <a:cxn ang="0">
                  <a:pos x="68" y="64"/>
                </a:cxn>
                <a:cxn ang="0">
                  <a:pos x="91" y="64"/>
                </a:cxn>
                <a:cxn ang="0">
                  <a:pos x="155" y="110"/>
                </a:cxn>
                <a:cxn ang="0">
                  <a:pos x="169" y="106"/>
                </a:cxn>
                <a:cxn ang="0">
                  <a:pos x="233" y="23"/>
                </a:cxn>
                <a:cxn ang="0">
                  <a:pos x="256" y="19"/>
                </a:cxn>
                <a:cxn ang="0">
                  <a:pos x="279" y="19"/>
                </a:cxn>
                <a:cxn ang="0">
                  <a:pos x="324" y="23"/>
                </a:cxn>
                <a:cxn ang="0">
                  <a:pos x="329" y="32"/>
                </a:cxn>
                <a:cxn ang="0">
                  <a:pos x="315" y="42"/>
                </a:cxn>
                <a:cxn ang="0">
                  <a:pos x="306" y="46"/>
                </a:cxn>
                <a:cxn ang="0">
                  <a:pos x="306" y="55"/>
                </a:cxn>
                <a:cxn ang="0">
                  <a:pos x="306" y="64"/>
                </a:cxn>
                <a:cxn ang="0">
                  <a:pos x="306" y="115"/>
                </a:cxn>
                <a:cxn ang="0">
                  <a:pos x="306" y="133"/>
                </a:cxn>
                <a:cxn ang="0">
                  <a:pos x="306" y="151"/>
                </a:cxn>
                <a:cxn ang="0">
                  <a:pos x="306" y="174"/>
                </a:cxn>
                <a:cxn ang="0">
                  <a:pos x="306" y="197"/>
                </a:cxn>
                <a:cxn ang="0">
                  <a:pos x="302" y="215"/>
                </a:cxn>
                <a:cxn ang="0">
                  <a:pos x="302" y="229"/>
                </a:cxn>
                <a:cxn ang="0">
                  <a:pos x="288" y="261"/>
                </a:cxn>
                <a:cxn ang="0">
                  <a:pos x="283" y="270"/>
                </a:cxn>
                <a:cxn ang="0">
                  <a:pos x="279" y="275"/>
                </a:cxn>
                <a:cxn ang="0">
                  <a:pos x="274" y="284"/>
                </a:cxn>
                <a:cxn ang="0">
                  <a:pos x="270" y="289"/>
                </a:cxn>
                <a:cxn ang="0">
                  <a:pos x="265" y="293"/>
                </a:cxn>
              </a:cxnLst>
              <a:rect l="0" t="0" r="r" b="b"/>
              <a:pathLst>
                <a:path w="334" h="366">
                  <a:moveTo>
                    <a:pt x="260" y="293"/>
                  </a:moveTo>
                  <a:lnTo>
                    <a:pt x="260" y="298"/>
                  </a:lnTo>
                  <a:lnTo>
                    <a:pt x="260" y="298"/>
                  </a:lnTo>
                  <a:lnTo>
                    <a:pt x="260" y="302"/>
                  </a:lnTo>
                  <a:lnTo>
                    <a:pt x="256" y="307"/>
                  </a:lnTo>
                  <a:lnTo>
                    <a:pt x="256" y="307"/>
                  </a:lnTo>
                  <a:lnTo>
                    <a:pt x="251" y="311"/>
                  </a:lnTo>
                  <a:lnTo>
                    <a:pt x="247" y="311"/>
                  </a:lnTo>
                  <a:lnTo>
                    <a:pt x="242" y="316"/>
                  </a:lnTo>
                  <a:lnTo>
                    <a:pt x="242" y="321"/>
                  </a:lnTo>
                  <a:lnTo>
                    <a:pt x="238" y="325"/>
                  </a:lnTo>
                  <a:lnTo>
                    <a:pt x="233" y="325"/>
                  </a:lnTo>
                  <a:lnTo>
                    <a:pt x="233" y="330"/>
                  </a:lnTo>
                  <a:lnTo>
                    <a:pt x="228" y="330"/>
                  </a:lnTo>
                  <a:lnTo>
                    <a:pt x="224" y="330"/>
                  </a:lnTo>
                  <a:lnTo>
                    <a:pt x="219" y="330"/>
                  </a:lnTo>
                  <a:lnTo>
                    <a:pt x="219" y="334"/>
                  </a:lnTo>
                  <a:lnTo>
                    <a:pt x="219" y="334"/>
                  </a:lnTo>
                  <a:lnTo>
                    <a:pt x="215" y="334"/>
                  </a:lnTo>
                  <a:lnTo>
                    <a:pt x="215" y="339"/>
                  </a:lnTo>
                  <a:lnTo>
                    <a:pt x="206" y="339"/>
                  </a:lnTo>
                  <a:lnTo>
                    <a:pt x="201" y="343"/>
                  </a:lnTo>
                  <a:lnTo>
                    <a:pt x="196" y="348"/>
                  </a:lnTo>
                  <a:lnTo>
                    <a:pt x="183" y="353"/>
                  </a:lnTo>
                  <a:lnTo>
                    <a:pt x="178" y="353"/>
                  </a:lnTo>
                  <a:lnTo>
                    <a:pt x="155" y="357"/>
                  </a:lnTo>
                  <a:lnTo>
                    <a:pt x="151" y="362"/>
                  </a:lnTo>
                  <a:lnTo>
                    <a:pt x="146" y="362"/>
                  </a:lnTo>
                  <a:lnTo>
                    <a:pt x="132" y="362"/>
                  </a:lnTo>
                  <a:lnTo>
                    <a:pt x="119" y="366"/>
                  </a:lnTo>
                  <a:lnTo>
                    <a:pt x="110" y="366"/>
                  </a:lnTo>
                  <a:lnTo>
                    <a:pt x="110" y="366"/>
                  </a:lnTo>
                  <a:lnTo>
                    <a:pt x="91" y="366"/>
                  </a:lnTo>
                  <a:lnTo>
                    <a:pt x="87" y="366"/>
                  </a:lnTo>
                  <a:lnTo>
                    <a:pt x="68" y="366"/>
                  </a:lnTo>
                  <a:lnTo>
                    <a:pt x="64" y="366"/>
                  </a:lnTo>
                  <a:lnTo>
                    <a:pt x="59" y="366"/>
                  </a:lnTo>
                  <a:lnTo>
                    <a:pt x="46" y="366"/>
                  </a:lnTo>
                  <a:lnTo>
                    <a:pt x="46" y="366"/>
                  </a:lnTo>
                  <a:lnTo>
                    <a:pt x="41" y="366"/>
                  </a:lnTo>
                  <a:lnTo>
                    <a:pt x="36" y="366"/>
                  </a:lnTo>
                  <a:lnTo>
                    <a:pt x="32" y="366"/>
                  </a:lnTo>
                  <a:lnTo>
                    <a:pt x="27" y="366"/>
                  </a:lnTo>
                  <a:lnTo>
                    <a:pt x="23" y="366"/>
                  </a:lnTo>
                  <a:lnTo>
                    <a:pt x="0" y="366"/>
                  </a:lnTo>
                  <a:lnTo>
                    <a:pt x="0" y="193"/>
                  </a:lnTo>
                  <a:lnTo>
                    <a:pt x="9" y="87"/>
                  </a:lnTo>
                  <a:lnTo>
                    <a:pt x="9" y="64"/>
                  </a:lnTo>
                  <a:lnTo>
                    <a:pt x="36" y="60"/>
                  </a:lnTo>
                  <a:lnTo>
                    <a:pt x="68" y="64"/>
                  </a:lnTo>
                  <a:lnTo>
                    <a:pt x="87" y="64"/>
                  </a:lnTo>
                  <a:lnTo>
                    <a:pt x="91" y="64"/>
                  </a:lnTo>
                  <a:lnTo>
                    <a:pt x="137" y="96"/>
                  </a:lnTo>
                  <a:lnTo>
                    <a:pt x="155" y="110"/>
                  </a:lnTo>
                  <a:lnTo>
                    <a:pt x="160" y="115"/>
                  </a:lnTo>
                  <a:lnTo>
                    <a:pt x="169" y="106"/>
                  </a:lnTo>
                  <a:lnTo>
                    <a:pt x="224" y="32"/>
                  </a:lnTo>
                  <a:lnTo>
                    <a:pt x="233" y="23"/>
                  </a:lnTo>
                  <a:lnTo>
                    <a:pt x="238" y="23"/>
                  </a:lnTo>
                  <a:lnTo>
                    <a:pt x="256" y="19"/>
                  </a:lnTo>
                  <a:lnTo>
                    <a:pt x="265" y="23"/>
                  </a:lnTo>
                  <a:lnTo>
                    <a:pt x="279" y="19"/>
                  </a:lnTo>
                  <a:lnTo>
                    <a:pt x="302" y="0"/>
                  </a:lnTo>
                  <a:lnTo>
                    <a:pt x="324" y="23"/>
                  </a:lnTo>
                  <a:lnTo>
                    <a:pt x="334" y="28"/>
                  </a:lnTo>
                  <a:lnTo>
                    <a:pt x="329" y="32"/>
                  </a:lnTo>
                  <a:lnTo>
                    <a:pt x="320" y="37"/>
                  </a:lnTo>
                  <a:lnTo>
                    <a:pt x="315" y="42"/>
                  </a:lnTo>
                  <a:lnTo>
                    <a:pt x="311" y="42"/>
                  </a:lnTo>
                  <a:lnTo>
                    <a:pt x="306" y="46"/>
                  </a:lnTo>
                  <a:lnTo>
                    <a:pt x="306" y="51"/>
                  </a:lnTo>
                  <a:lnTo>
                    <a:pt x="306" y="55"/>
                  </a:lnTo>
                  <a:lnTo>
                    <a:pt x="306" y="64"/>
                  </a:lnTo>
                  <a:lnTo>
                    <a:pt x="306" y="64"/>
                  </a:lnTo>
                  <a:lnTo>
                    <a:pt x="306" y="78"/>
                  </a:lnTo>
                  <a:lnTo>
                    <a:pt x="306" y="115"/>
                  </a:lnTo>
                  <a:lnTo>
                    <a:pt x="306" y="124"/>
                  </a:lnTo>
                  <a:lnTo>
                    <a:pt x="306" y="133"/>
                  </a:lnTo>
                  <a:lnTo>
                    <a:pt x="306" y="147"/>
                  </a:lnTo>
                  <a:lnTo>
                    <a:pt x="306" y="151"/>
                  </a:lnTo>
                  <a:lnTo>
                    <a:pt x="306" y="165"/>
                  </a:lnTo>
                  <a:lnTo>
                    <a:pt x="306" y="174"/>
                  </a:lnTo>
                  <a:lnTo>
                    <a:pt x="306" y="188"/>
                  </a:lnTo>
                  <a:lnTo>
                    <a:pt x="306" y="197"/>
                  </a:lnTo>
                  <a:lnTo>
                    <a:pt x="302" y="211"/>
                  </a:lnTo>
                  <a:lnTo>
                    <a:pt x="302" y="215"/>
                  </a:lnTo>
                  <a:lnTo>
                    <a:pt x="302" y="220"/>
                  </a:lnTo>
                  <a:lnTo>
                    <a:pt x="302" y="229"/>
                  </a:lnTo>
                  <a:lnTo>
                    <a:pt x="302" y="238"/>
                  </a:lnTo>
                  <a:lnTo>
                    <a:pt x="288" y="261"/>
                  </a:lnTo>
                  <a:lnTo>
                    <a:pt x="283" y="266"/>
                  </a:lnTo>
                  <a:lnTo>
                    <a:pt x="283" y="270"/>
                  </a:lnTo>
                  <a:lnTo>
                    <a:pt x="283" y="275"/>
                  </a:lnTo>
                  <a:lnTo>
                    <a:pt x="279" y="275"/>
                  </a:lnTo>
                  <a:lnTo>
                    <a:pt x="279" y="279"/>
                  </a:lnTo>
                  <a:lnTo>
                    <a:pt x="274" y="284"/>
                  </a:lnTo>
                  <a:lnTo>
                    <a:pt x="270" y="284"/>
                  </a:lnTo>
                  <a:lnTo>
                    <a:pt x="270" y="289"/>
                  </a:lnTo>
                  <a:lnTo>
                    <a:pt x="265" y="289"/>
                  </a:lnTo>
                  <a:lnTo>
                    <a:pt x="265" y="293"/>
                  </a:lnTo>
                  <a:lnTo>
                    <a:pt x="260" y="293"/>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3000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30000" noProof="0" dirty="0">
                  <a:ln>
                    <a:noFill/>
                  </a:ln>
                  <a:solidFill>
                    <a:srgbClr val="424242"/>
                  </a:solidFill>
                  <a:effectLst/>
                  <a:uLnTx/>
                  <a:uFillTx/>
                  <a:latin typeface="Georgia" panose="02040502050405020303" pitchFamily="18" charset="0"/>
                  <a:cs typeface="Arial" panose="020B0604020202020204" pitchFamily="34" charset="0"/>
                  <a:sym typeface="Arial"/>
                </a:rPr>
                <a:t>FCT</a:t>
              </a:r>
            </a:p>
          </p:txBody>
        </p:sp>
        <p:sp>
          <p:nvSpPr>
            <p:cNvPr id="139" name="Freeform 58">
              <a:extLst>
                <a:ext uri="{FF2B5EF4-FFF2-40B4-BE49-F238E27FC236}">
                  <a16:creationId xmlns:a16="http://schemas.microsoft.com/office/drawing/2014/main" id="{94AFC1A4-20DD-464F-904B-BDC6ED0BD90B}"/>
                </a:ext>
              </a:extLst>
            </p:cNvPr>
            <p:cNvSpPr>
              <a:spLocks/>
            </p:cNvSpPr>
            <p:nvPr>
              <p:custDataLst>
                <p:tags r:id="rId51"/>
              </p:custDataLst>
            </p:nvPr>
          </p:nvSpPr>
          <p:spPr bwMode="auto">
            <a:xfrm>
              <a:off x="2721848" y="1809827"/>
              <a:ext cx="451089" cy="680216"/>
            </a:xfrm>
            <a:custGeom>
              <a:avLst/>
              <a:gdLst/>
              <a:ahLst/>
              <a:cxnLst>
                <a:cxn ang="0">
                  <a:pos x="27" y="169"/>
                </a:cxn>
                <a:cxn ang="0">
                  <a:pos x="45" y="160"/>
                </a:cxn>
                <a:cxn ang="0">
                  <a:pos x="50" y="146"/>
                </a:cxn>
                <a:cxn ang="0">
                  <a:pos x="64" y="105"/>
                </a:cxn>
                <a:cxn ang="0">
                  <a:pos x="96" y="73"/>
                </a:cxn>
                <a:cxn ang="0">
                  <a:pos x="137" y="82"/>
                </a:cxn>
                <a:cxn ang="0">
                  <a:pos x="178" y="41"/>
                </a:cxn>
                <a:cxn ang="0">
                  <a:pos x="201" y="4"/>
                </a:cxn>
                <a:cxn ang="0">
                  <a:pos x="242" y="0"/>
                </a:cxn>
                <a:cxn ang="0">
                  <a:pos x="269" y="13"/>
                </a:cxn>
                <a:cxn ang="0">
                  <a:pos x="311" y="27"/>
                </a:cxn>
                <a:cxn ang="0">
                  <a:pos x="320" y="41"/>
                </a:cxn>
                <a:cxn ang="0">
                  <a:pos x="333" y="77"/>
                </a:cxn>
                <a:cxn ang="0">
                  <a:pos x="356" y="96"/>
                </a:cxn>
                <a:cxn ang="0">
                  <a:pos x="379" y="114"/>
                </a:cxn>
                <a:cxn ang="0">
                  <a:pos x="384" y="128"/>
                </a:cxn>
                <a:cxn ang="0">
                  <a:pos x="397" y="146"/>
                </a:cxn>
                <a:cxn ang="0">
                  <a:pos x="402" y="173"/>
                </a:cxn>
                <a:cxn ang="0">
                  <a:pos x="397" y="237"/>
                </a:cxn>
                <a:cxn ang="0">
                  <a:pos x="402" y="269"/>
                </a:cxn>
                <a:cxn ang="0">
                  <a:pos x="411" y="283"/>
                </a:cxn>
                <a:cxn ang="0">
                  <a:pos x="448" y="301"/>
                </a:cxn>
                <a:cxn ang="0">
                  <a:pos x="466" y="311"/>
                </a:cxn>
                <a:cxn ang="0">
                  <a:pos x="457" y="324"/>
                </a:cxn>
                <a:cxn ang="0">
                  <a:pos x="443" y="333"/>
                </a:cxn>
                <a:cxn ang="0">
                  <a:pos x="420" y="343"/>
                </a:cxn>
                <a:cxn ang="0">
                  <a:pos x="407" y="361"/>
                </a:cxn>
                <a:cxn ang="0">
                  <a:pos x="397" y="375"/>
                </a:cxn>
                <a:cxn ang="0">
                  <a:pos x="416" y="388"/>
                </a:cxn>
                <a:cxn ang="0">
                  <a:pos x="425" y="402"/>
                </a:cxn>
                <a:cxn ang="0">
                  <a:pos x="439" y="420"/>
                </a:cxn>
                <a:cxn ang="0">
                  <a:pos x="466" y="434"/>
                </a:cxn>
                <a:cxn ang="0">
                  <a:pos x="484" y="443"/>
                </a:cxn>
                <a:cxn ang="0">
                  <a:pos x="489" y="452"/>
                </a:cxn>
                <a:cxn ang="0">
                  <a:pos x="498" y="471"/>
                </a:cxn>
                <a:cxn ang="0">
                  <a:pos x="507" y="489"/>
                </a:cxn>
                <a:cxn ang="0">
                  <a:pos x="512" y="516"/>
                </a:cxn>
                <a:cxn ang="0">
                  <a:pos x="516" y="557"/>
                </a:cxn>
                <a:cxn ang="0">
                  <a:pos x="507" y="589"/>
                </a:cxn>
                <a:cxn ang="0">
                  <a:pos x="493" y="603"/>
                </a:cxn>
                <a:cxn ang="0">
                  <a:pos x="480" y="617"/>
                </a:cxn>
                <a:cxn ang="0">
                  <a:pos x="466" y="626"/>
                </a:cxn>
                <a:cxn ang="0">
                  <a:pos x="448" y="635"/>
                </a:cxn>
                <a:cxn ang="0">
                  <a:pos x="429" y="640"/>
                </a:cxn>
                <a:cxn ang="0">
                  <a:pos x="411" y="649"/>
                </a:cxn>
                <a:cxn ang="0">
                  <a:pos x="370" y="653"/>
                </a:cxn>
                <a:cxn ang="0">
                  <a:pos x="343" y="667"/>
                </a:cxn>
                <a:cxn ang="0">
                  <a:pos x="324" y="672"/>
                </a:cxn>
                <a:cxn ang="0">
                  <a:pos x="297" y="663"/>
                </a:cxn>
                <a:cxn ang="0">
                  <a:pos x="260" y="658"/>
                </a:cxn>
                <a:cxn ang="0">
                  <a:pos x="201" y="649"/>
                </a:cxn>
                <a:cxn ang="0">
                  <a:pos x="178" y="571"/>
                </a:cxn>
                <a:cxn ang="0">
                  <a:pos x="146" y="516"/>
                </a:cxn>
                <a:cxn ang="0">
                  <a:pos x="68" y="461"/>
                </a:cxn>
                <a:cxn ang="0">
                  <a:pos x="119" y="439"/>
                </a:cxn>
                <a:cxn ang="0">
                  <a:pos x="128" y="393"/>
                </a:cxn>
                <a:cxn ang="0">
                  <a:pos x="123" y="343"/>
                </a:cxn>
                <a:cxn ang="0">
                  <a:pos x="68" y="306"/>
                </a:cxn>
                <a:cxn ang="0">
                  <a:pos x="27" y="292"/>
                </a:cxn>
                <a:cxn ang="0">
                  <a:pos x="0" y="256"/>
                </a:cxn>
                <a:cxn ang="0">
                  <a:pos x="4" y="228"/>
                </a:cxn>
              </a:cxnLst>
              <a:rect l="0" t="0" r="r" b="b"/>
              <a:pathLst>
                <a:path w="516" h="672">
                  <a:moveTo>
                    <a:pt x="18" y="205"/>
                  </a:moveTo>
                  <a:lnTo>
                    <a:pt x="23" y="201"/>
                  </a:lnTo>
                  <a:lnTo>
                    <a:pt x="27" y="192"/>
                  </a:lnTo>
                  <a:lnTo>
                    <a:pt x="27" y="178"/>
                  </a:lnTo>
                  <a:lnTo>
                    <a:pt x="27" y="169"/>
                  </a:lnTo>
                  <a:lnTo>
                    <a:pt x="27" y="164"/>
                  </a:lnTo>
                  <a:lnTo>
                    <a:pt x="27" y="155"/>
                  </a:lnTo>
                  <a:lnTo>
                    <a:pt x="32" y="155"/>
                  </a:lnTo>
                  <a:lnTo>
                    <a:pt x="41" y="155"/>
                  </a:lnTo>
                  <a:lnTo>
                    <a:pt x="45" y="160"/>
                  </a:lnTo>
                  <a:lnTo>
                    <a:pt x="50" y="169"/>
                  </a:lnTo>
                  <a:lnTo>
                    <a:pt x="59" y="169"/>
                  </a:lnTo>
                  <a:lnTo>
                    <a:pt x="59" y="160"/>
                  </a:lnTo>
                  <a:lnTo>
                    <a:pt x="55" y="151"/>
                  </a:lnTo>
                  <a:lnTo>
                    <a:pt x="50" y="146"/>
                  </a:lnTo>
                  <a:lnTo>
                    <a:pt x="45" y="141"/>
                  </a:lnTo>
                  <a:lnTo>
                    <a:pt x="45" y="128"/>
                  </a:lnTo>
                  <a:lnTo>
                    <a:pt x="41" y="123"/>
                  </a:lnTo>
                  <a:lnTo>
                    <a:pt x="50" y="114"/>
                  </a:lnTo>
                  <a:lnTo>
                    <a:pt x="64" y="105"/>
                  </a:lnTo>
                  <a:lnTo>
                    <a:pt x="68" y="100"/>
                  </a:lnTo>
                  <a:lnTo>
                    <a:pt x="77" y="91"/>
                  </a:lnTo>
                  <a:lnTo>
                    <a:pt x="82" y="82"/>
                  </a:lnTo>
                  <a:lnTo>
                    <a:pt x="87" y="77"/>
                  </a:lnTo>
                  <a:lnTo>
                    <a:pt x="96" y="73"/>
                  </a:lnTo>
                  <a:lnTo>
                    <a:pt x="109" y="68"/>
                  </a:lnTo>
                  <a:lnTo>
                    <a:pt x="114" y="77"/>
                  </a:lnTo>
                  <a:lnTo>
                    <a:pt x="123" y="82"/>
                  </a:lnTo>
                  <a:lnTo>
                    <a:pt x="132" y="82"/>
                  </a:lnTo>
                  <a:lnTo>
                    <a:pt x="137" y="82"/>
                  </a:lnTo>
                  <a:lnTo>
                    <a:pt x="146" y="73"/>
                  </a:lnTo>
                  <a:lnTo>
                    <a:pt x="151" y="64"/>
                  </a:lnTo>
                  <a:lnTo>
                    <a:pt x="160" y="59"/>
                  </a:lnTo>
                  <a:lnTo>
                    <a:pt x="169" y="50"/>
                  </a:lnTo>
                  <a:lnTo>
                    <a:pt x="178" y="41"/>
                  </a:lnTo>
                  <a:lnTo>
                    <a:pt x="183" y="36"/>
                  </a:lnTo>
                  <a:lnTo>
                    <a:pt x="187" y="23"/>
                  </a:lnTo>
                  <a:lnTo>
                    <a:pt x="196" y="13"/>
                  </a:lnTo>
                  <a:lnTo>
                    <a:pt x="196" y="9"/>
                  </a:lnTo>
                  <a:lnTo>
                    <a:pt x="201" y="4"/>
                  </a:lnTo>
                  <a:lnTo>
                    <a:pt x="201" y="0"/>
                  </a:lnTo>
                  <a:lnTo>
                    <a:pt x="205" y="0"/>
                  </a:lnTo>
                  <a:lnTo>
                    <a:pt x="219" y="0"/>
                  </a:lnTo>
                  <a:lnTo>
                    <a:pt x="233" y="0"/>
                  </a:lnTo>
                  <a:lnTo>
                    <a:pt x="242" y="0"/>
                  </a:lnTo>
                  <a:lnTo>
                    <a:pt x="247" y="4"/>
                  </a:lnTo>
                  <a:lnTo>
                    <a:pt x="251" y="4"/>
                  </a:lnTo>
                  <a:lnTo>
                    <a:pt x="256" y="9"/>
                  </a:lnTo>
                  <a:lnTo>
                    <a:pt x="260" y="13"/>
                  </a:lnTo>
                  <a:lnTo>
                    <a:pt x="269" y="13"/>
                  </a:lnTo>
                  <a:lnTo>
                    <a:pt x="283" y="18"/>
                  </a:lnTo>
                  <a:lnTo>
                    <a:pt x="292" y="23"/>
                  </a:lnTo>
                  <a:lnTo>
                    <a:pt x="301" y="23"/>
                  </a:lnTo>
                  <a:lnTo>
                    <a:pt x="306" y="27"/>
                  </a:lnTo>
                  <a:lnTo>
                    <a:pt x="311" y="27"/>
                  </a:lnTo>
                  <a:lnTo>
                    <a:pt x="311" y="32"/>
                  </a:lnTo>
                  <a:lnTo>
                    <a:pt x="311" y="32"/>
                  </a:lnTo>
                  <a:lnTo>
                    <a:pt x="315" y="36"/>
                  </a:lnTo>
                  <a:lnTo>
                    <a:pt x="320" y="36"/>
                  </a:lnTo>
                  <a:lnTo>
                    <a:pt x="320" y="41"/>
                  </a:lnTo>
                  <a:lnTo>
                    <a:pt x="324" y="55"/>
                  </a:lnTo>
                  <a:lnTo>
                    <a:pt x="324" y="59"/>
                  </a:lnTo>
                  <a:lnTo>
                    <a:pt x="329" y="68"/>
                  </a:lnTo>
                  <a:lnTo>
                    <a:pt x="329" y="73"/>
                  </a:lnTo>
                  <a:lnTo>
                    <a:pt x="333" y="77"/>
                  </a:lnTo>
                  <a:lnTo>
                    <a:pt x="333" y="82"/>
                  </a:lnTo>
                  <a:lnTo>
                    <a:pt x="343" y="87"/>
                  </a:lnTo>
                  <a:lnTo>
                    <a:pt x="347" y="91"/>
                  </a:lnTo>
                  <a:lnTo>
                    <a:pt x="352" y="96"/>
                  </a:lnTo>
                  <a:lnTo>
                    <a:pt x="356" y="96"/>
                  </a:lnTo>
                  <a:lnTo>
                    <a:pt x="356" y="100"/>
                  </a:lnTo>
                  <a:lnTo>
                    <a:pt x="356" y="100"/>
                  </a:lnTo>
                  <a:lnTo>
                    <a:pt x="365" y="105"/>
                  </a:lnTo>
                  <a:lnTo>
                    <a:pt x="375" y="109"/>
                  </a:lnTo>
                  <a:lnTo>
                    <a:pt x="379" y="114"/>
                  </a:lnTo>
                  <a:lnTo>
                    <a:pt x="379" y="119"/>
                  </a:lnTo>
                  <a:lnTo>
                    <a:pt x="379" y="119"/>
                  </a:lnTo>
                  <a:lnTo>
                    <a:pt x="379" y="123"/>
                  </a:lnTo>
                  <a:lnTo>
                    <a:pt x="384" y="123"/>
                  </a:lnTo>
                  <a:lnTo>
                    <a:pt x="384" y="128"/>
                  </a:lnTo>
                  <a:lnTo>
                    <a:pt x="388" y="137"/>
                  </a:lnTo>
                  <a:lnTo>
                    <a:pt x="393" y="137"/>
                  </a:lnTo>
                  <a:lnTo>
                    <a:pt x="393" y="141"/>
                  </a:lnTo>
                  <a:lnTo>
                    <a:pt x="393" y="146"/>
                  </a:lnTo>
                  <a:lnTo>
                    <a:pt x="397" y="146"/>
                  </a:lnTo>
                  <a:lnTo>
                    <a:pt x="397" y="146"/>
                  </a:lnTo>
                  <a:lnTo>
                    <a:pt x="397" y="151"/>
                  </a:lnTo>
                  <a:lnTo>
                    <a:pt x="397" y="160"/>
                  </a:lnTo>
                  <a:lnTo>
                    <a:pt x="397" y="164"/>
                  </a:lnTo>
                  <a:lnTo>
                    <a:pt x="402" y="173"/>
                  </a:lnTo>
                  <a:lnTo>
                    <a:pt x="402" y="183"/>
                  </a:lnTo>
                  <a:lnTo>
                    <a:pt x="402" y="192"/>
                  </a:lnTo>
                  <a:lnTo>
                    <a:pt x="397" y="205"/>
                  </a:lnTo>
                  <a:lnTo>
                    <a:pt x="397" y="228"/>
                  </a:lnTo>
                  <a:lnTo>
                    <a:pt x="397" y="237"/>
                  </a:lnTo>
                  <a:lnTo>
                    <a:pt x="397" y="242"/>
                  </a:lnTo>
                  <a:lnTo>
                    <a:pt x="397" y="251"/>
                  </a:lnTo>
                  <a:lnTo>
                    <a:pt x="397" y="260"/>
                  </a:lnTo>
                  <a:lnTo>
                    <a:pt x="397" y="265"/>
                  </a:lnTo>
                  <a:lnTo>
                    <a:pt x="402" y="269"/>
                  </a:lnTo>
                  <a:lnTo>
                    <a:pt x="402" y="274"/>
                  </a:lnTo>
                  <a:lnTo>
                    <a:pt x="402" y="279"/>
                  </a:lnTo>
                  <a:lnTo>
                    <a:pt x="407" y="279"/>
                  </a:lnTo>
                  <a:lnTo>
                    <a:pt x="407" y="283"/>
                  </a:lnTo>
                  <a:lnTo>
                    <a:pt x="411" y="283"/>
                  </a:lnTo>
                  <a:lnTo>
                    <a:pt x="420" y="283"/>
                  </a:lnTo>
                  <a:lnTo>
                    <a:pt x="420" y="288"/>
                  </a:lnTo>
                  <a:lnTo>
                    <a:pt x="434" y="292"/>
                  </a:lnTo>
                  <a:lnTo>
                    <a:pt x="443" y="297"/>
                  </a:lnTo>
                  <a:lnTo>
                    <a:pt x="448" y="301"/>
                  </a:lnTo>
                  <a:lnTo>
                    <a:pt x="452" y="301"/>
                  </a:lnTo>
                  <a:lnTo>
                    <a:pt x="457" y="301"/>
                  </a:lnTo>
                  <a:lnTo>
                    <a:pt x="461" y="301"/>
                  </a:lnTo>
                  <a:lnTo>
                    <a:pt x="461" y="306"/>
                  </a:lnTo>
                  <a:lnTo>
                    <a:pt x="466" y="311"/>
                  </a:lnTo>
                  <a:lnTo>
                    <a:pt x="466" y="315"/>
                  </a:lnTo>
                  <a:lnTo>
                    <a:pt x="466" y="320"/>
                  </a:lnTo>
                  <a:lnTo>
                    <a:pt x="461" y="320"/>
                  </a:lnTo>
                  <a:lnTo>
                    <a:pt x="457" y="320"/>
                  </a:lnTo>
                  <a:lnTo>
                    <a:pt x="457" y="324"/>
                  </a:lnTo>
                  <a:lnTo>
                    <a:pt x="452" y="324"/>
                  </a:lnTo>
                  <a:lnTo>
                    <a:pt x="448" y="329"/>
                  </a:lnTo>
                  <a:lnTo>
                    <a:pt x="443" y="329"/>
                  </a:lnTo>
                  <a:lnTo>
                    <a:pt x="443" y="329"/>
                  </a:lnTo>
                  <a:lnTo>
                    <a:pt x="443" y="333"/>
                  </a:lnTo>
                  <a:lnTo>
                    <a:pt x="434" y="333"/>
                  </a:lnTo>
                  <a:lnTo>
                    <a:pt x="429" y="338"/>
                  </a:lnTo>
                  <a:lnTo>
                    <a:pt x="425" y="343"/>
                  </a:lnTo>
                  <a:lnTo>
                    <a:pt x="420" y="343"/>
                  </a:lnTo>
                  <a:lnTo>
                    <a:pt x="420" y="343"/>
                  </a:lnTo>
                  <a:lnTo>
                    <a:pt x="420" y="343"/>
                  </a:lnTo>
                  <a:lnTo>
                    <a:pt x="416" y="347"/>
                  </a:lnTo>
                  <a:lnTo>
                    <a:pt x="411" y="352"/>
                  </a:lnTo>
                  <a:lnTo>
                    <a:pt x="407" y="356"/>
                  </a:lnTo>
                  <a:lnTo>
                    <a:pt x="407" y="361"/>
                  </a:lnTo>
                  <a:lnTo>
                    <a:pt x="402" y="365"/>
                  </a:lnTo>
                  <a:lnTo>
                    <a:pt x="402" y="365"/>
                  </a:lnTo>
                  <a:lnTo>
                    <a:pt x="397" y="365"/>
                  </a:lnTo>
                  <a:lnTo>
                    <a:pt x="397" y="370"/>
                  </a:lnTo>
                  <a:lnTo>
                    <a:pt x="397" y="375"/>
                  </a:lnTo>
                  <a:lnTo>
                    <a:pt x="397" y="379"/>
                  </a:lnTo>
                  <a:lnTo>
                    <a:pt x="402" y="379"/>
                  </a:lnTo>
                  <a:lnTo>
                    <a:pt x="407" y="384"/>
                  </a:lnTo>
                  <a:lnTo>
                    <a:pt x="411" y="384"/>
                  </a:lnTo>
                  <a:lnTo>
                    <a:pt x="416" y="388"/>
                  </a:lnTo>
                  <a:lnTo>
                    <a:pt x="420" y="388"/>
                  </a:lnTo>
                  <a:lnTo>
                    <a:pt x="420" y="393"/>
                  </a:lnTo>
                  <a:lnTo>
                    <a:pt x="420" y="397"/>
                  </a:lnTo>
                  <a:lnTo>
                    <a:pt x="425" y="397"/>
                  </a:lnTo>
                  <a:lnTo>
                    <a:pt x="425" y="402"/>
                  </a:lnTo>
                  <a:lnTo>
                    <a:pt x="429" y="411"/>
                  </a:lnTo>
                  <a:lnTo>
                    <a:pt x="429" y="411"/>
                  </a:lnTo>
                  <a:lnTo>
                    <a:pt x="434" y="416"/>
                  </a:lnTo>
                  <a:lnTo>
                    <a:pt x="439" y="416"/>
                  </a:lnTo>
                  <a:lnTo>
                    <a:pt x="439" y="420"/>
                  </a:lnTo>
                  <a:lnTo>
                    <a:pt x="443" y="420"/>
                  </a:lnTo>
                  <a:lnTo>
                    <a:pt x="443" y="425"/>
                  </a:lnTo>
                  <a:lnTo>
                    <a:pt x="448" y="425"/>
                  </a:lnTo>
                  <a:lnTo>
                    <a:pt x="457" y="429"/>
                  </a:lnTo>
                  <a:lnTo>
                    <a:pt x="466" y="434"/>
                  </a:lnTo>
                  <a:lnTo>
                    <a:pt x="466" y="434"/>
                  </a:lnTo>
                  <a:lnTo>
                    <a:pt x="471" y="434"/>
                  </a:lnTo>
                  <a:lnTo>
                    <a:pt x="475" y="439"/>
                  </a:lnTo>
                  <a:lnTo>
                    <a:pt x="480" y="443"/>
                  </a:lnTo>
                  <a:lnTo>
                    <a:pt x="484" y="443"/>
                  </a:lnTo>
                  <a:lnTo>
                    <a:pt x="484" y="448"/>
                  </a:lnTo>
                  <a:lnTo>
                    <a:pt x="489" y="448"/>
                  </a:lnTo>
                  <a:lnTo>
                    <a:pt x="489" y="452"/>
                  </a:lnTo>
                  <a:lnTo>
                    <a:pt x="489" y="452"/>
                  </a:lnTo>
                  <a:lnTo>
                    <a:pt x="489" y="452"/>
                  </a:lnTo>
                  <a:lnTo>
                    <a:pt x="493" y="452"/>
                  </a:lnTo>
                  <a:lnTo>
                    <a:pt x="493" y="457"/>
                  </a:lnTo>
                  <a:lnTo>
                    <a:pt x="498" y="461"/>
                  </a:lnTo>
                  <a:lnTo>
                    <a:pt x="498" y="466"/>
                  </a:lnTo>
                  <a:lnTo>
                    <a:pt x="498" y="471"/>
                  </a:lnTo>
                  <a:lnTo>
                    <a:pt x="503" y="471"/>
                  </a:lnTo>
                  <a:lnTo>
                    <a:pt x="503" y="475"/>
                  </a:lnTo>
                  <a:lnTo>
                    <a:pt x="503" y="475"/>
                  </a:lnTo>
                  <a:lnTo>
                    <a:pt x="503" y="480"/>
                  </a:lnTo>
                  <a:lnTo>
                    <a:pt x="507" y="489"/>
                  </a:lnTo>
                  <a:lnTo>
                    <a:pt x="507" y="493"/>
                  </a:lnTo>
                  <a:lnTo>
                    <a:pt x="507" y="498"/>
                  </a:lnTo>
                  <a:lnTo>
                    <a:pt x="507" y="498"/>
                  </a:lnTo>
                  <a:lnTo>
                    <a:pt x="507" y="507"/>
                  </a:lnTo>
                  <a:lnTo>
                    <a:pt x="512" y="516"/>
                  </a:lnTo>
                  <a:lnTo>
                    <a:pt x="512" y="521"/>
                  </a:lnTo>
                  <a:lnTo>
                    <a:pt x="512" y="525"/>
                  </a:lnTo>
                  <a:lnTo>
                    <a:pt x="512" y="535"/>
                  </a:lnTo>
                  <a:lnTo>
                    <a:pt x="512" y="539"/>
                  </a:lnTo>
                  <a:lnTo>
                    <a:pt x="516" y="557"/>
                  </a:lnTo>
                  <a:lnTo>
                    <a:pt x="516" y="562"/>
                  </a:lnTo>
                  <a:lnTo>
                    <a:pt x="516" y="567"/>
                  </a:lnTo>
                  <a:lnTo>
                    <a:pt x="512" y="580"/>
                  </a:lnTo>
                  <a:lnTo>
                    <a:pt x="507" y="585"/>
                  </a:lnTo>
                  <a:lnTo>
                    <a:pt x="507" y="589"/>
                  </a:lnTo>
                  <a:lnTo>
                    <a:pt x="503" y="589"/>
                  </a:lnTo>
                  <a:lnTo>
                    <a:pt x="503" y="594"/>
                  </a:lnTo>
                  <a:lnTo>
                    <a:pt x="498" y="594"/>
                  </a:lnTo>
                  <a:lnTo>
                    <a:pt x="493" y="599"/>
                  </a:lnTo>
                  <a:lnTo>
                    <a:pt x="493" y="603"/>
                  </a:lnTo>
                  <a:lnTo>
                    <a:pt x="489" y="608"/>
                  </a:lnTo>
                  <a:lnTo>
                    <a:pt x="489" y="608"/>
                  </a:lnTo>
                  <a:lnTo>
                    <a:pt x="484" y="612"/>
                  </a:lnTo>
                  <a:lnTo>
                    <a:pt x="480" y="612"/>
                  </a:lnTo>
                  <a:lnTo>
                    <a:pt x="480" y="617"/>
                  </a:lnTo>
                  <a:lnTo>
                    <a:pt x="475" y="617"/>
                  </a:lnTo>
                  <a:lnTo>
                    <a:pt x="475" y="621"/>
                  </a:lnTo>
                  <a:lnTo>
                    <a:pt x="471" y="621"/>
                  </a:lnTo>
                  <a:lnTo>
                    <a:pt x="471" y="626"/>
                  </a:lnTo>
                  <a:lnTo>
                    <a:pt x="466" y="626"/>
                  </a:lnTo>
                  <a:lnTo>
                    <a:pt x="461" y="631"/>
                  </a:lnTo>
                  <a:lnTo>
                    <a:pt x="457" y="631"/>
                  </a:lnTo>
                  <a:lnTo>
                    <a:pt x="452" y="631"/>
                  </a:lnTo>
                  <a:lnTo>
                    <a:pt x="448" y="631"/>
                  </a:lnTo>
                  <a:lnTo>
                    <a:pt x="448" y="635"/>
                  </a:lnTo>
                  <a:lnTo>
                    <a:pt x="443" y="635"/>
                  </a:lnTo>
                  <a:lnTo>
                    <a:pt x="443" y="635"/>
                  </a:lnTo>
                  <a:lnTo>
                    <a:pt x="443" y="640"/>
                  </a:lnTo>
                  <a:lnTo>
                    <a:pt x="434" y="640"/>
                  </a:lnTo>
                  <a:lnTo>
                    <a:pt x="429" y="640"/>
                  </a:lnTo>
                  <a:lnTo>
                    <a:pt x="429" y="644"/>
                  </a:lnTo>
                  <a:lnTo>
                    <a:pt x="425" y="644"/>
                  </a:lnTo>
                  <a:lnTo>
                    <a:pt x="420" y="644"/>
                  </a:lnTo>
                  <a:lnTo>
                    <a:pt x="420" y="644"/>
                  </a:lnTo>
                  <a:lnTo>
                    <a:pt x="411" y="649"/>
                  </a:lnTo>
                  <a:lnTo>
                    <a:pt x="407" y="649"/>
                  </a:lnTo>
                  <a:lnTo>
                    <a:pt x="402" y="649"/>
                  </a:lnTo>
                  <a:lnTo>
                    <a:pt x="397" y="649"/>
                  </a:lnTo>
                  <a:lnTo>
                    <a:pt x="379" y="653"/>
                  </a:lnTo>
                  <a:lnTo>
                    <a:pt x="370" y="653"/>
                  </a:lnTo>
                  <a:lnTo>
                    <a:pt x="361" y="658"/>
                  </a:lnTo>
                  <a:lnTo>
                    <a:pt x="356" y="658"/>
                  </a:lnTo>
                  <a:lnTo>
                    <a:pt x="352" y="663"/>
                  </a:lnTo>
                  <a:lnTo>
                    <a:pt x="347" y="667"/>
                  </a:lnTo>
                  <a:lnTo>
                    <a:pt x="343" y="667"/>
                  </a:lnTo>
                  <a:lnTo>
                    <a:pt x="338" y="667"/>
                  </a:lnTo>
                  <a:lnTo>
                    <a:pt x="333" y="667"/>
                  </a:lnTo>
                  <a:lnTo>
                    <a:pt x="333" y="672"/>
                  </a:lnTo>
                  <a:lnTo>
                    <a:pt x="329" y="672"/>
                  </a:lnTo>
                  <a:lnTo>
                    <a:pt x="324" y="672"/>
                  </a:lnTo>
                  <a:lnTo>
                    <a:pt x="324" y="667"/>
                  </a:lnTo>
                  <a:lnTo>
                    <a:pt x="320" y="672"/>
                  </a:lnTo>
                  <a:lnTo>
                    <a:pt x="311" y="667"/>
                  </a:lnTo>
                  <a:lnTo>
                    <a:pt x="301" y="663"/>
                  </a:lnTo>
                  <a:lnTo>
                    <a:pt x="297" y="663"/>
                  </a:lnTo>
                  <a:lnTo>
                    <a:pt x="292" y="658"/>
                  </a:lnTo>
                  <a:lnTo>
                    <a:pt x="288" y="658"/>
                  </a:lnTo>
                  <a:lnTo>
                    <a:pt x="283" y="658"/>
                  </a:lnTo>
                  <a:lnTo>
                    <a:pt x="279" y="658"/>
                  </a:lnTo>
                  <a:lnTo>
                    <a:pt x="260" y="658"/>
                  </a:lnTo>
                  <a:lnTo>
                    <a:pt x="247" y="658"/>
                  </a:lnTo>
                  <a:lnTo>
                    <a:pt x="228" y="653"/>
                  </a:lnTo>
                  <a:lnTo>
                    <a:pt x="224" y="653"/>
                  </a:lnTo>
                  <a:lnTo>
                    <a:pt x="210" y="649"/>
                  </a:lnTo>
                  <a:lnTo>
                    <a:pt x="201" y="649"/>
                  </a:lnTo>
                  <a:lnTo>
                    <a:pt x="187" y="649"/>
                  </a:lnTo>
                  <a:lnTo>
                    <a:pt x="183" y="612"/>
                  </a:lnTo>
                  <a:lnTo>
                    <a:pt x="178" y="608"/>
                  </a:lnTo>
                  <a:lnTo>
                    <a:pt x="178" y="585"/>
                  </a:lnTo>
                  <a:lnTo>
                    <a:pt x="178" y="571"/>
                  </a:lnTo>
                  <a:lnTo>
                    <a:pt x="178" y="562"/>
                  </a:lnTo>
                  <a:lnTo>
                    <a:pt x="183" y="553"/>
                  </a:lnTo>
                  <a:lnTo>
                    <a:pt x="178" y="544"/>
                  </a:lnTo>
                  <a:lnTo>
                    <a:pt x="164" y="530"/>
                  </a:lnTo>
                  <a:lnTo>
                    <a:pt x="146" y="516"/>
                  </a:lnTo>
                  <a:lnTo>
                    <a:pt x="123" y="503"/>
                  </a:lnTo>
                  <a:lnTo>
                    <a:pt x="109" y="493"/>
                  </a:lnTo>
                  <a:lnTo>
                    <a:pt x="91" y="480"/>
                  </a:lnTo>
                  <a:lnTo>
                    <a:pt x="73" y="475"/>
                  </a:lnTo>
                  <a:lnTo>
                    <a:pt x="68" y="461"/>
                  </a:lnTo>
                  <a:lnTo>
                    <a:pt x="77" y="452"/>
                  </a:lnTo>
                  <a:lnTo>
                    <a:pt x="91" y="452"/>
                  </a:lnTo>
                  <a:lnTo>
                    <a:pt x="100" y="448"/>
                  </a:lnTo>
                  <a:lnTo>
                    <a:pt x="114" y="443"/>
                  </a:lnTo>
                  <a:lnTo>
                    <a:pt x="119" y="439"/>
                  </a:lnTo>
                  <a:lnTo>
                    <a:pt x="119" y="429"/>
                  </a:lnTo>
                  <a:lnTo>
                    <a:pt x="123" y="420"/>
                  </a:lnTo>
                  <a:lnTo>
                    <a:pt x="128" y="411"/>
                  </a:lnTo>
                  <a:lnTo>
                    <a:pt x="137" y="402"/>
                  </a:lnTo>
                  <a:lnTo>
                    <a:pt x="128" y="393"/>
                  </a:lnTo>
                  <a:lnTo>
                    <a:pt x="123" y="384"/>
                  </a:lnTo>
                  <a:lnTo>
                    <a:pt x="123" y="370"/>
                  </a:lnTo>
                  <a:lnTo>
                    <a:pt x="123" y="361"/>
                  </a:lnTo>
                  <a:lnTo>
                    <a:pt x="123" y="343"/>
                  </a:lnTo>
                  <a:lnTo>
                    <a:pt x="123" y="343"/>
                  </a:lnTo>
                  <a:lnTo>
                    <a:pt x="123" y="333"/>
                  </a:lnTo>
                  <a:lnTo>
                    <a:pt x="114" y="324"/>
                  </a:lnTo>
                  <a:lnTo>
                    <a:pt x="100" y="320"/>
                  </a:lnTo>
                  <a:lnTo>
                    <a:pt x="77" y="315"/>
                  </a:lnTo>
                  <a:lnTo>
                    <a:pt x="68" y="306"/>
                  </a:lnTo>
                  <a:lnTo>
                    <a:pt x="55" y="306"/>
                  </a:lnTo>
                  <a:lnTo>
                    <a:pt x="41" y="306"/>
                  </a:lnTo>
                  <a:lnTo>
                    <a:pt x="32" y="301"/>
                  </a:lnTo>
                  <a:lnTo>
                    <a:pt x="27" y="301"/>
                  </a:lnTo>
                  <a:lnTo>
                    <a:pt x="27" y="292"/>
                  </a:lnTo>
                  <a:lnTo>
                    <a:pt x="27" y="288"/>
                  </a:lnTo>
                  <a:lnTo>
                    <a:pt x="18" y="279"/>
                  </a:lnTo>
                  <a:lnTo>
                    <a:pt x="18" y="269"/>
                  </a:lnTo>
                  <a:lnTo>
                    <a:pt x="4" y="256"/>
                  </a:lnTo>
                  <a:lnTo>
                    <a:pt x="0" y="256"/>
                  </a:lnTo>
                  <a:lnTo>
                    <a:pt x="0" y="251"/>
                  </a:lnTo>
                  <a:lnTo>
                    <a:pt x="0" y="247"/>
                  </a:lnTo>
                  <a:lnTo>
                    <a:pt x="0" y="237"/>
                  </a:lnTo>
                  <a:lnTo>
                    <a:pt x="4" y="233"/>
                  </a:lnTo>
                  <a:lnTo>
                    <a:pt x="4" y="228"/>
                  </a:lnTo>
                  <a:lnTo>
                    <a:pt x="4" y="219"/>
                  </a:lnTo>
                  <a:lnTo>
                    <a:pt x="13" y="210"/>
                  </a:lnTo>
                  <a:lnTo>
                    <a:pt x="18" y="210"/>
                  </a:lnTo>
                  <a:lnTo>
                    <a:pt x="18" y="205"/>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Gombe</a:t>
              </a:r>
            </a:p>
          </p:txBody>
        </p:sp>
        <p:sp>
          <p:nvSpPr>
            <p:cNvPr id="140" name="Freeform 59">
              <a:extLst>
                <a:ext uri="{FF2B5EF4-FFF2-40B4-BE49-F238E27FC236}">
                  <a16:creationId xmlns:a16="http://schemas.microsoft.com/office/drawing/2014/main" id="{E3B640F6-3CE0-4DD8-AB43-E5FED549C492}"/>
                </a:ext>
              </a:extLst>
            </p:cNvPr>
            <p:cNvSpPr>
              <a:spLocks/>
            </p:cNvSpPr>
            <p:nvPr>
              <p:custDataLst>
                <p:tags r:id="rId52"/>
              </p:custDataLst>
            </p:nvPr>
          </p:nvSpPr>
          <p:spPr bwMode="auto">
            <a:xfrm>
              <a:off x="1444941" y="3843050"/>
              <a:ext cx="267259" cy="300009"/>
            </a:xfrm>
            <a:custGeom>
              <a:avLst/>
              <a:gdLst/>
              <a:ahLst/>
              <a:cxnLst>
                <a:cxn ang="0">
                  <a:pos x="292" y="105"/>
                </a:cxn>
                <a:cxn ang="0">
                  <a:pos x="306" y="119"/>
                </a:cxn>
                <a:cxn ang="0">
                  <a:pos x="306" y="133"/>
                </a:cxn>
                <a:cxn ang="0">
                  <a:pos x="306" y="151"/>
                </a:cxn>
                <a:cxn ang="0">
                  <a:pos x="297" y="160"/>
                </a:cxn>
                <a:cxn ang="0">
                  <a:pos x="288" y="174"/>
                </a:cxn>
                <a:cxn ang="0">
                  <a:pos x="283" y="188"/>
                </a:cxn>
                <a:cxn ang="0">
                  <a:pos x="274" y="197"/>
                </a:cxn>
                <a:cxn ang="0">
                  <a:pos x="260" y="220"/>
                </a:cxn>
                <a:cxn ang="0">
                  <a:pos x="260" y="229"/>
                </a:cxn>
                <a:cxn ang="0">
                  <a:pos x="256" y="243"/>
                </a:cxn>
                <a:cxn ang="0">
                  <a:pos x="247" y="252"/>
                </a:cxn>
                <a:cxn ang="0">
                  <a:pos x="238" y="270"/>
                </a:cxn>
                <a:cxn ang="0">
                  <a:pos x="238" y="288"/>
                </a:cxn>
                <a:cxn ang="0">
                  <a:pos x="224" y="297"/>
                </a:cxn>
                <a:cxn ang="0">
                  <a:pos x="206" y="288"/>
                </a:cxn>
                <a:cxn ang="0">
                  <a:pos x="196" y="293"/>
                </a:cxn>
                <a:cxn ang="0">
                  <a:pos x="183" y="293"/>
                </a:cxn>
                <a:cxn ang="0">
                  <a:pos x="164" y="288"/>
                </a:cxn>
                <a:cxn ang="0">
                  <a:pos x="146" y="288"/>
                </a:cxn>
                <a:cxn ang="0">
                  <a:pos x="128" y="288"/>
                </a:cxn>
                <a:cxn ang="0">
                  <a:pos x="110" y="288"/>
                </a:cxn>
                <a:cxn ang="0">
                  <a:pos x="87" y="284"/>
                </a:cxn>
                <a:cxn ang="0">
                  <a:pos x="73" y="284"/>
                </a:cxn>
                <a:cxn ang="0">
                  <a:pos x="64" y="270"/>
                </a:cxn>
                <a:cxn ang="0">
                  <a:pos x="59" y="261"/>
                </a:cxn>
                <a:cxn ang="0">
                  <a:pos x="46" y="252"/>
                </a:cxn>
                <a:cxn ang="0">
                  <a:pos x="41" y="243"/>
                </a:cxn>
                <a:cxn ang="0">
                  <a:pos x="41" y="233"/>
                </a:cxn>
                <a:cxn ang="0">
                  <a:pos x="46" y="220"/>
                </a:cxn>
                <a:cxn ang="0">
                  <a:pos x="50" y="197"/>
                </a:cxn>
                <a:cxn ang="0">
                  <a:pos x="50" y="188"/>
                </a:cxn>
                <a:cxn ang="0">
                  <a:pos x="36" y="192"/>
                </a:cxn>
                <a:cxn ang="0">
                  <a:pos x="14" y="188"/>
                </a:cxn>
                <a:cxn ang="0">
                  <a:pos x="0" y="179"/>
                </a:cxn>
                <a:cxn ang="0">
                  <a:pos x="9" y="160"/>
                </a:cxn>
                <a:cxn ang="0">
                  <a:pos x="18" y="137"/>
                </a:cxn>
                <a:cxn ang="0">
                  <a:pos x="18" y="128"/>
                </a:cxn>
                <a:cxn ang="0">
                  <a:pos x="23" y="115"/>
                </a:cxn>
                <a:cxn ang="0">
                  <a:pos x="18" y="83"/>
                </a:cxn>
                <a:cxn ang="0">
                  <a:pos x="36" y="64"/>
                </a:cxn>
                <a:cxn ang="0">
                  <a:pos x="55" y="64"/>
                </a:cxn>
                <a:cxn ang="0">
                  <a:pos x="87" y="73"/>
                </a:cxn>
                <a:cxn ang="0">
                  <a:pos x="100" y="64"/>
                </a:cxn>
                <a:cxn ang="0">
                  <a:pos x="119" y="51"/>
                </a:cxn>
                <a:cxn ang="0">
                  <a:pos x="119" y="28"/>
                </a:cxn>
                <a:cxn ang="0">
                  <a:pos x="123" y="19"/>
                </a:cxn>
                <a:cxn ang="0">
                  <a:pos x="137" y="14"/>
                </a:cxn>
                <a:cxn ang="0">
                  <a:pos x="174" y="9"/>
                </a:cxn>
                <a:cxn ang="0">
                  <a:pos x="210" y="14"/>
                </a:cxn>
                <a:cxn ang="0">
                  <a:pos x="233" y="9"/>
                </a:cxn>
                <a:cxn ang="0">
                  <a:pos x="247" y="5"/>
                </a:cxn>
                <a:cxn ang="0">
                  <a:pos x="260" y="14"/>
                </a:cxn>
                <a:cxn ang="0">
                  <a:pos x="279" y="19"/>
                </a:cxn>
                <a:cxn ang="0">
                  <a:pos x="292" y="23"/>
                </a:cxn>
                <a:cxn ang="0">
                  <a:pos x="297" y="37"/>
                </a:cxn>
                <a:cxn ang="0">
                  <a:pos x="302" y="51"/>
                </a:cxn>
                <a:cxn ang="0">
                  <a:pos x="302" y="73"/>
                </a:cxn>
                <a:cxn ang="0">
                  <a:pos x="302" y="92"/>
                </a:cxn>
                <a:cxn ang="0">
                  <a:pos x="297" y="101"/>
                </a:cxn>
              </a:cxnLst>
              <a:rect l="0" t="0" r="r" b="b"/>
              <a:pathLst>
                <a:path w="306" h="297">
                  <a:moveTo>
                    <a:pt x="288" y="96"/>
                  </a:moveTo>
                  <a:lnTo>
                    <a:pt x="288" y="101"/>
                  </a:lnTo>
                  <a:lnTo>
                    <a:pt x="292" y="105"/>
                  </a:lnTo>
                  <a:lnTo>
                    <a:pt x="297" y="110"/>
                  </a:lnTo>
                  <a:lnTo>
                    <a:pt x="297" y="110"/>
                  </a:lnTo>
                  <a:lnTo>
                    <a:pt x="306" y="119"/>
                  </a:lnTo>
                  <a:lnTo>
                    <a:pt x="306" y="124"/>
                  </a:lnTo>
                  <a:lnTo>
                    <a:pt x="306" y="128"/>
                  </a:lnTo>
                  <a:lnTo>
                    <a:pt x="306" y="133"/>
                  </a:lnTo>
                  <a:lnTo>
                    <a:pt x="306" y="133"/>
                  </a:lnTo>
                  <a:lnTo>
                    <a:pt x="306" y="147"/>
                  </a:lnTo>
                  <a:lnTo>
                    <a:pt x="306" y="151"/>
                  </a:lnTo>
                  <a:lnTo>
                    <a:pt x="302" y="151"/>
                  </a:lnTo>
                  <a:lnTo>
                    <a:pt x="297" y="156"/>
                  </a:lnTo>
                  <a:lnTo>
                    <a:pt x="297" y="160"/>
                  </a:lnTo>
                  <a:lnTo>
                    <a:pt x="292" y="169"/>
                  </a:lnTo>
                  <a:lnTo>
                    <a:pt x="288" y="174"/>
                  </a:lnTo>
                  <a:lnTo>
                    <a:pt x="288" y="174"/>
                  </a:lnTo>
                  <a:lnTo>
                    <a:pt x="283" y="179"/>
                  </a:lnTo>
                  <a:lnTo>
                    <a:pt x="283" y="183"/>
                  </a:lnTo>
                  <a:lnTo>
                    <a:pt x="283" y="188"/>
                  </a:lnTo>
                  <a:lnTo>
                    <a:pt x="283" y="192"/>
                  </a:lnTo>
                  <a:lnTo>
                    <a:pt x="279" y="197"/>
                  </a:lnTo>
                  <a:lnTo>
                    <a:pt x="274" y="197"/>
                  </a:lnTo>
                  <a:lnTo>
                    <a:pt x="270" y="201"/>
                  </a:lnTo>
                  <a:lnTo>
                    <a:pt x="265" y="215"/>
                  </a:lnTo>
                  <a:lnTo>
                    <a:pt x="260" y="220"/>
                  </a:lnTo>
                  <a:lnTo>
                    <a:pt x="260" y="220"/>
                  </a:lnTo>
                  <a:lnTo>
                    <a:pt x="260" y="224"/>
                  </a:lnTo>
                  <a:lnTo>
                    <a:pt x="260" y="229"/>
                  </a:lnTo>
                  <a:lnTo>
                    <a:pt x="260" y="233"/>
                  </a:lnTo>
                  <a:lnTo>
                    <a:pt x="256" y="238"/>
                  </a:lnTo>
                  <a:lnTo>
                    <a:pt x="256" y="243"/>
                  </a:lnTo>
                  <a:lnTo>
                    <a:pt x="251" y="243"/>
                  </a:lnTo>
                  <a:lnTo>
                    <a:pt x="247" y="247"/>
                  </a:lnTo>
                  <a:lnTo>
                    <a:pt x="247" y="252"/>
                  </a:lnTo>
                  <a:lnTo>
                    <a:pt x="242" y="261"/>
                  </a:lnTo>
                  <a:lnTo>
                    <a:pt x="242" y="265"/>
                  </a:lnTo>
                  <a:lnTo>
                    <a:pt x="238" y="270"/>
                  </a:lnTo>
                  <a:lnTo>
                    <a:pt x="238" y="279"/>
                  </a:lnTo>
                  <a:lnTo>
                    <a:pt x="238" y="284"/>
                  </a:lnTo>
                  <a:lnTo>
                    <a:pt x="238" y="288"/>
                  </a:lnTo>
                  <a:lnTo>
                    <a:pt x="238" y="293"/>
                  </a:lnTo>
                  <a:lnTo>
                    <a:pt x="228" y="297"/>
                  </a:lnTo>
                  <a:lnTo>
                    <a:pt x="224" y="297"/>
                  </a:lnTo>
                  <a:lnTo>
                    <a:pt x="215" y="293"/>
                  </a:lnTo>
                  <a:lnTo>
                    <a:pt x="210" y="293"/>
                  </a:lnTo>
                  <a:lnTo>
                    <a:pt x="206" y="288"/>
                  </a:lnTo>
                  <a:lnTo>
                    <a:pt x="201" y="288"/>
                  </a:lnTo>
                  <a:lnTo>
                    <a:pt x="196" y="293"/>
                  </a:lnTo>
                  <a:lnTo>
                    <a:pt x="196" y="293"/>
                  </a:lnTo>
                  <a:lnTo>
                    <a:pt x="187" y="288"/>
                  </a:lnTo>
                  <a:lnTo>
                    <a:pt x="187" y="293"/>
                  </a:lnTo>
                  <a:lnTo>
                    <a:pt x="183" y="293"/>
                  </a:lnTo>
                  <a:lnTo>
                    <a:pt x="178" y="288"/>
                  </a:lnTo>
                  <a:lnTo>
                    <a:pt x="169" y="288"/>
                  </a:lnTo>
                  <a:lnTo>
                    <a:pt x="164" y="288"/>
                  </a:lnTo>
                  <a:lnTo>
                    <a:pt x="160" y="288"/>
                  </a:lnTo>
                  <a:lnTo>
                    <a:pt x="155" y="288"/>
                  </a:lnTo>
                  <a:lnTo>
                    <a:pt x="146" y="288"/>
                  </a:lnTo>
                  <a:lnTo>
                    <a:pt x="137" y="288"/>
                  </a:lnTo>
                  <a:lnTo>
                    <a:pt x="132" y="288"/>
                  </a:lnTo>
                  <a:lnTo>
                    <a:pt x="128" y="288"/>
                  </a:lnTo>
                  <a:lnTo>
                    <a:pt x="123" y="288"/>
                  </a:lnTo>
                  <a:lnTo>
                    <a:pt x="110" y="288"/>
                  </a:lnTo>
                  <a:lnTo>
                    <a:pt x="110" y="288"/>
                  </a:lnTo>
                  <a:lnTo>
                    <a:pt x="105" y="288"/>
                  </a:lnTo>
                  <a:lnTo>
                    <a:pt x="91" y="288"/>
                  </a:lnTo>
                  <a:lnTo>
                    <a:pt x="87" y="284"/>
                  </a:lnTo>
                  <a:lnTo>
                    <a:pt x="82" y="284"/>
                  </a:lnTo>
                  <a:lnTo>
                    <a:pt x="78" y="284"/>
                  </a:lnTo>
                  <a:lnTo>
                    <a:pt x="73" y="284"/>
                  </a:lnTo>
                  <a:lnTo>
                    <a:pt x="68" y="279"/>
                  </a:lnTo>
                  <a:lnTo>
                    <a:pt x="64" y="270"/>
                  </a:lnTo>
                  <a:lnTo>
                    <a:pt x="64" y="270"/>
                  </a:lnTo>
                  <a:lnTo>
                    <a:pt x="64" y="265"/>
                  </a:lnTo>
                  <a:lnTo>
                    <a:pt x="59" y="265"/>
                  </a:lnTo>
                  <a:lnTo>
                    <a:pt x="59" y="261"/>
                  </a:lnTo>
                  <a:lnTo>
                    <a:pt x="55" y="261"/>
                  </a:lnTo>
                  <a:lnTo>
                    <a:pt x="50" y="256"/>
                  </a:lnTo>
                  <a:lnTo>
                    <a:pt x="46" y="252"/>
                  </a:lnTo>
                  <a:lnTo>
                    <a:pt x="41" y="247"/>
                  </a:lnTo>
                  <a:lnTo>
                    <a:pt x="41" y="247"/>
                  </a:lnTo>
                  <a:lnTo>
                    <a:pt x="41" y="243"/>
                  </a:lnTo>
                  <a:lnTo>
                    <a:pt x="41" y="243"/>
                  </a:lnTo>
                  <a:lnTo>
                    <a:pt x="41" y="238"/>
                  </a:lnTo>
                  <a:lnTo>
                    <a:pt x="41" y="233"/>
                  </a:lnTo>
                  <a:lnTo>
                    <a:pt x="41" y="229"/>
                  </a:lnTo>
                  <a:lnTo>
                    <a:pt x="46" y="229"/>
                  </a:lnTo>
                  <a:lnTo>
                    <a:pt x="46" y="220"/>
                  </a:lnTo>
                  <a:lnTo>
                    <a:pt x="46" y="220"/>
                  </a:lnTo>
                  <a:lnTo>
                    <a:pt x="46" y="211"/>
                  </a:lnTo>
                  <a:lnTo>
                    <a:pt x="50" y="197"/>
                  </a:lnTo>
                  <a:lnTo>
                    <a:pt x="55" y="197"/>
                  </a:lnTo>
                  <a:lnTo>
                    <a:pt x="55" y="192"/>
                  </a:lnTo>
                  <a:lnTo>
                    <a:pt x="50" y="188"/>
                  </a:lnTo>
                  <a:lnTo>
                    <a:pt x="46" y="188"/>
                  </a:lnTo>
                  <a:lnTo>
                    <a:pt x="41" y="188"/>
                  </a:lnTo>
                  <a:lnTo>
                    <a:pt x="36" y="192"/>
                  </a:lnTo>
                  <a:lnTo>
                    <a:pt x="27" y="188"/>
                  </a:lnTo>
                  <a:lnTo>
                    <a:pt x="18" y="188"/>
                  </a:lnTo>
                  <a:lnTo>
                    <a:pt x="14" y="188"/>
                  </a:lnTo>
                  <a:lnTo>
                    <a:pt x="0" y="188"/>
                  </a:lnTo>
                  <a:lnTo>
                    <a:pt x="0" y="183"/>
                  </a:lnTo>
                  <a:lnTo>
                    <a:pt x="0" y="179"/>
                  </a:lnTo>
                  <a:lnTo>
                    <a:pt x="4" y="174"/>
                  </a:lnTo>
                  <a:lnTo>
                    <a:pt x="9" y="165"/>
                  </a:lnTo>
                  <a:lnTo>
                    <a:pt x="9" y="160"/>
                  </a:lnTo>
                  <a:lnTo>
                    <a:pt x="14" y="151"/>
                  </a:lnTo>
                  <a:lnTo>
                    <a:pt x="18" y="142"/>
                  </a:lnTo>
                  <a:lnTo>
                    <a:pt x="18" y="137"/>
                  </a:lnTo>
                  <a:lnTo>
                    <a:pt x="18" y="133"/>
                  </a:lnTo>
                  <a:lnTo>
                    <a:pt x="18" y="133"/>
                  </a:lnTo>
                  <a:lnTo>
                    <a:pt x="18" y="128"/>
                  </a:lnTo>
                  <a:lnTo>
                    <a:pt x="18" y="124"/>
                  </a:lnTo>
                  <a:lnTo>
                    <a:pt x="18" y="119"/>
                  </a:lnTo>
                  <a:lnTo>
                    <a:pt x="23" y="115"/>
                  </a:lnTo>
                  <a:lnTo>
                    <a:pt x="23" y="105"/>
                  </a:lnTo>
                  <a:lnTo>
                    <a:pt x="23" y="101"/>
                  </a:lnTo>
                  <a:lnTo>
                    <a:pt x="18" y="83"/>
                  </a:lnTo>
                  <a:lnTo>
                    <a:pt x="18" y="78"/>
                  </a:lnTo>
                  <a:lnTo>
                    <a:pt x="23" y="69"/>
                  </a:lnTo>
                  <a:lnTo>
                    <a:pt x="36" y="64"/>
                  </a:lnTo>
                  <a:lnTo>
                    <a:pt x="46" y="64"/>
                  </a:lnTo>
                  <a:lnTo>
                    <a:pt x="55" y="64"/>
                  </a:lnTo>
                  <a:lnTo>
                    <a:pt x="55" y="64"/>
                  </a:lnTo>
                  <a:lnTo>
                    <a:pt x="64" y="64"/>
                  </a:lnTo>
                  <a:lnTo>
                    <a:pt x="78" y="69"/>
                  </a:lnTo>
                  <a:lnTo>
                    <a:pt x="87" y="73"/>
                  </a:lnTo>
                  <a:lnTo>
                    <a:pt x="96" y="73"/>
                  </a:lnTo>
                  <a:lnTo>
                    <a:pt x="96" y="73"/>
                  </a:lnTo>
                  <a:lnTo>
                    <a:pt x="100" y="64"/>
                  </a:lnTo>
                  <a:lnTo>
                    <a:pt x="110" y="60"/>
                  </a:lnTo>
                  <a:lnTo>
                    <a:pt x="110" y="55"/>
                  </a:lnTo>
                  <a:lnTo>
                    <a:pt x="119" y="51"/>
                  </a:lnTo>
                  <a:lnTo>
                    <a:pt x="123" y="41"/>
                  </a:lnTo>
                  <a:lnTo>
                    <a:pt x="123" y="37"/>
                  </a:lnTo>
                  <a:lnTo>
                    <a:pt x="119" y="28"/>
                  </a:lnTo>
                  <a:lnTo>
                    <a:pt x="119" y="23"/>
                  </a:lnTo>
                  <a:lnTo>
                    <a:pt x="114" y="23"/>
                  </a:lnTo>
                  <a:lnTo>
                    <a:pt x="123" y="19"/>
                  </a:lnTo>
                  <a:lnTo>
                    <a:pt x="128" y="19"/>
                  </a:lnTo>
                  <a:lnTo>
                    <a:pt x="132" y="19"/>
                  </a:lnTo>
                  <a:lnTo>
                    <a:pt x="137" y="14"/>
                  </a:lnTo>
                  <a:lnTo>
                    <a:pt x="151" y="14"/>
                  </a:lnTo>
                  <a:lnTo>
                    <a:pt x="169" y="9"/>
                  </a:lnTo>
                  <a:lnTo>
                    <a:pt x="174" y="9"/>
                  </a:lnTo>
                  <a:lnTo>
                    <a:pt x="187" y="14"/>
                  </a:lnTo>
                  <a:lnTo>
                    <a:pt x="196" y="14"/>
                  </a:lnTo>
                  <a:lnTo>
                    <a:pt x="210" y="14"/>
                  </a:lnTo>
                  <a:lnTo>
                    <a:pt x="219" y="14"/>
                  </a:lnTo>
                  <a:lnTo>
                    <a:pt x="219" y="14"/>
                  </a:lnTo>
                  <a:lnTo>
                    <a:pt x="233" y="9"/>
                  </a:lnTo>
                  <a:lnTo>
                    <a:pt x="238" y="5"/>
                  </a:lnTo>
                  <a:lnTo>
                    <a:pt x="242" y="0"/>
                  </a:lnTo>
                  <a:lnTo>
                    <a:pt x="247" y="5"/>
                  </a:lnTo>
                  <a:lnTo>
                    <a:pt x="251" y="5"/>
                  </a:lnTo>
                  <a:lnTo>
                    <a:pt x="256" y="9"/>
                  </a:lnTo>
                  <a:lnTo>
                    <a:pt x="260" y="14"/>
                  </a:lnTo>
                  <a:lnTo>
                    <a:pt x="265" y="19"/>
                  </a:lnTo>
                  <a:lnTo>
                    <a:pt x="270" y="19"/>
                  </a:lnTo>
                  <a:lnTo>
                    <a:pt x="279" y="19"/>
                  </a:lnTo>
                  <a:lnTo>
                    <a:pt x="283" y="23"/>
                  </a:lnTo>
                  <a:lnTo>
                    <a:pt x="288" y="23"/>
                  </a:lnTo>
                  <a:lnTo>
                    <a:pt x="292" y="23"/>
                  </a:lnTo>
                  <a:lnTo>
                    <a:pt x="292" y="28"/>
                  </a:lnTo>
                  <a:lnTo>
                    <a:pt x="297" y="28"/>
                  </a:lnTo>
                  <a:lnTo>
                    <a:pt x="297" y="37"/>
                  </a:lnTo>
                  <a:lnTo>
                    <a:pt x="302" y="41"/>
                  </a:lnTo>
                  <a:lnTo>
                    <a:pt x="302" y="41"/>
                  </a:lnTo>
                  <a:lnTo>
                    <a:pt x="302" y="51"/>
                  </a:lnTo>
                  <a:lnTo>
                    <a:pt x="302" y="64"/>
                  </a:lnTo>
                  <a:lnTo>
                    <a:pt x="302" y="64"/>
                  </a:lnTo>
                  <a:lnTo>
                    <a:pt x="302" y="73"/>
                  </a:lnTo>
                  <a:lnTo>
                    <a:pt x="302" y="83"/>
                  </a:lnTo>
                  <a:lnTo>
                    <a:pt x="302" y="87"/>
                  </a:lnTo>
                  <a:lnTo>
                    <a:pt x="302" y="92"/>
                  </a:lnTo>
                  <a:lnTo>
                    <a:pt x="302" y="96"/>
                  </a:lnTo>
                  <a:lnTo>
                    <a:pt x="302" y="101"/>
                  </a:lnTo>
                  <a:lnTo>
                    <a:pt x="297" y="101"/>
                  </a:lnTo>
                  <a:lnTo>
                    <a:pt x="292" y="96"/>
                  </a:lnTo>
                  <a:lnTo>
                    <a:pt x="288" y="96"/>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Imo</a:t>
              </a:r>
            </a:p>
          </p:txBody>
        </p:sp>
        <p:sp>
          <p:nvSpPr>
            <p:cNvPr id="141" name="Freeform 60">
              <a:extLst>
                <a:ext uri="{FF2B5EF4-FFF2-40B4-BE49-F238E27FC236}">
                  <a16:creationId xmlns:a16="http://schemas.microsoft.com/office/drawing/2014/main" id="{73A3FF78-8F7C-4675-A998-3F86525E487B}"/>
                </a:ext>
              </a:extLst>
            </p:cNvPr>
            <p:cNvSpPr>
              <a:spLocks/>
            </p:cNvSpPr>
            <p:nvPr>
              <p:custDataLst>
                <p:tags r:id="rId53"/>
              </p:custDataLst>
            </p:nvPr>
          </p:nvSpPr>
          <p:spPr bwMode="auto">
            <a:xfrm>
              <a:off x="1951179" y="1130804"/>
              <a:ext cx="806021" cy="803487"/>
            </a:xfrm>
            <a:custGeom>
              <a:avLst/>
              <a:gdLst/>
              <a:ahLst/>
              <a:cxnLst>
                <a:cxn ang="0">
                  <a:pos x="755" y="375"/>
                </a:cxn>
                <a:cxn ang="0">
                  <a:pos x="704" y="407"/>
                </a:cxn>
                <a:cxn ang="0">
                  <a:pos x="645" y="434"/>
                </a:cxn>
                <a:cxn ang="0">
                  <a:pos x="590" y="457"/>
                </a:cxn>
                <a:cxn ang="0">
                  <a:pos x="558" y="489"/>
                </a:cxn>
                <a:cxn ang="0">
                  <a:pos x="604" y="494"/>
                </a:cxn>
                <a:cxn ang="0">
                  <a:pos x="631" y="526"/>
                </a:cxn>
                <a:cxn ang="0">
                  <a:pos x="622" y="576"/>
                </a:cxn>
                <a:cxn ang="0">
                  <a:pos x="645" y="603"/>
                </a:cxn>
                <a:cxn ang="0">
                  <a:pos x="668" y="649"/>
                </a:cxn>
                <a:cxn ang="0">
                  <a:pos x="732" y="676"/>
                </a:cxn>
                <a:cxn ang="0">
                  <a:pos x="823" y="699"/>
                </a:cxn>
                <a:cxn ang="0">
                  <a:pos x="819" y="727"/>
                </a:cxn>
                <a:cxn ang="0">
                  <a:pos x="755" y="754"/>
                </a:cxn>
                <a:cxn ang="0">
                  <a:pos x="759" y="795"/>
                </a:cxn>
                <a:cxn ang="0">
                  <a:pos x="677" y="786"/>
                </a:cxn>
                <a:cxn ang="0">
                  <a:pos x="654" y="718"/>
                </a:cxn>
                <a:cxn ang="0">
                  <a:pos x="618" y="676"/>
                </a:cxn>
                <a:cxn ang="0">
                  <a:pos x="554" y="681"/>
                </a:cxn>
                <a:cxn ang="0">
                  <a:pos x="522" y="654"/>
                </a:cxn>
                <a:cxn ang="0">
                  <a:pos x="467" y="649"/>
                </a:cxn>
                <a:cxn ang="0">
                  <a:pos x="426" y="631"/>
                </a:cxn>
                <a:cxn ang="0">
                  <a:pos x="448" y="590"/>
                </a:cxn>
                <a:cxn ang="0">
                  <a:pos x="453" y="558"/>
                </a:cxn>
                <a:cxn ang="0">
                  <a:pos x="416" y="516"/>
                </a:cxn>
                <a:cxn ang="0">
                  <a:pos x="394" y="503"/>
                </a:cxn>
                <a:cxn ang="0">
                  <a:pos x="394" y="457"/>
                </a:cxn>
                <a:cxn ang="0">
                  <a:pos x="407" y="393"/>
                </a:cxn>
                <a:cxn ang="0">
                  <a:pos x="384" y="370"/>
                </a:cxn>
                <a:cxn ang="0">
                  <a:pos x="362" y="370"/>
                </a:cxn>
                <a:cxn ang="0">
                  <a:pos x="298" y="356"/>
                </a:cxn>
                <a:cxn ang="0">
                  <a:pos x="316" y="324"/>
                </a:cxn>
                <a:cxn ang="0">
                  <a:pos x="288" y="283"/>
                </a:cxn>
                <a:cxn ang="0">
                  <a:pos x="238" y="260"/>
                </a:cxn>
                <a:cxn ang="0">
                  <a:pos x="229" y="228"/>
                </a:cxn>
                <a:cxn ang="0">
                  <a:pos x="215" y="187"/>
                </a:cxn>
                <a:cxn ang="0">
                  <a:pos x="165" y="174"/>
                </a:cxn>
                <a:cxn ang="0">
                  <a:pos x="119" y="174"/>
                </a:cxn>
                <a:cxn ang="0">
                  <a:pos x="87" y="224"/>
                </a:cxn>
                <a:cxn ang="0">
                  <a:pos x="74" y="206"/>
                </a:cxn>
                <a:cxn ang="0">
                  <a:pos x="37" y="174"/>
                </a:cxn>
                <a:cxn ang="0">
                  <a:pos x="0" y="119"/>
                </a:cxn>
                <a:cxn ang="0">
                  <a:pos x="32" y="73"/>
                </a:cxn>
                <a:cxn ang="0">
                  <a:pos x="92" y="82"/>
                </a:cxn>
                <a:cxn ang="0">
                  <a:pos x="160" y="96"/>
                </a:cxn>
                <a:cxn ang="0">
                  <a:pos x="192" y="132"/>
                </a:cxn>
                <a:cxn ang="0">
                  <a:pos x="279" y="128"/>
                </a:cxn>
                <a:cxn ang="0">
                  <a:pos x="302" y="100"/>
                </a:cxn>
                <a:cxn ang="0">
                  <a:pos x="348" y="68"/>
                </a:cxn>
                <a:cxn ang="0">
                  <a:pos x="403" y="73"/>
                </a:cxn>
                <a:cxn ang="0">
                  <a:pos x="448" y="78"/>
                </a:cxn>
                <a:cxn ang="0">
                  <a:pos x="526" y="82"/>
                </a:cxn>
                <a:cxn ang="0">
                  <a:pos x="604" y="87"/>
                </a:cxn>
                <a:cxn ang="0">
                  <a:pos x="659" y="68"/>
                </a:cxn>
                <a:cxn ang="0">
                  <a:pos x="695" y="23"/>
                </a:cxn>
                <a:cxn ang="0">
                  <a:pos x="759" y="0"/>
                </a:cxn>
                <a:cxn ang="0">
                  <a:pos x="796" y="64"/>
                </a:cxn>
                <a:cxn ang="0">
                  <a:pos x="828" y="82"/>
                </a:cxn>
                <a:cxn ang="0">
                  <a:pos x="901" y="87"/>
                </a:cxn>
                <a:cxn ang="0">
                  <a:pos x="910" y="201"/>
                </a:cxn>
                <a:cxn ang="0">
                  <a:pos x="874" y="233"/>
                </a:cxn>
                <a:cxn ang="0">
                  <a:pos x="810" y="233"/>
                </a:cxn>
                <a:cxn ang="0">
                  <a:pos x="778" y="260"/>
                </a:cxn>
              </a:cxnLst>
              <a:rect l="0" t="0" r="r" b="b"/>
              <a:pathLst>
                <a:path w="924" h="795">
                  <a:moveTo>
                    <a:pt x="773" y="265"/>
                  </a:moveTo>
                  <a:lnTo>
                    <a:pt x="773" y="270"/>
                  </a:lnTo>
                  <a:lnTo>
                    <a:pt x="768" y="279"/>
                  </a:lnTo>
                  <a:lnTo>
                    <a:pt x="764" y="288"/>
                  </a:lnTo>
                  <a:lnTo>
                    <a:pt x="764" y="302"/>
                  </a:lnTo>
                  <a:lnTo>
                    <a:pt x="759" y="306"/>
                  </a:lnTo>
                  <a:lnTo>
                    <a:pt x="759" y="334"/>
                  </a:lnTo>
                  <a:lnTo>
                    <a:pt x="759" y="356"/>
                  </a:lnTo>
                  <a:lnTo>
                    <a:pt x="755" y="366"/>
                  </a:lnTo>
                  <a:lnTo>
                    <a:pt x="755" y="370"/>
                  </a:lnTo>
                  <a:lnTo>
                    <a:pt x="755" y="370"/>
                  </a:lnTo>
                  <a:lnTo>
                    <a:pt x="755" y="375"/>
                  </a:lnTo>
                  <a:lnTo>
                    <a:pt x="750" y="384"/>
                  </a:lnTo>
                  <a:lnTo>
                    <a:pt x="746" y="388"/>
                  </a:lnTo>
                  <a:lnTo>
                    <a:pt x="741" y="393"/>
                  </a:lnTo>
                  <a:lnTo>
                    <a:pt x="736" y="393"/>
                  </a:lnTo>
                  <a:lnTo>
                    <a:pt x="736" y="398"/>
                  </a:lnTo>
                  <a:lnTo>
                    <a:pt x="732" y="398"/>
                  </a:lnTo>
                  <a:lnTo>
                    <a:pt x="732" y="398"/>
                  </a:lnTo>
                  <a:lnTo>
                    <a:pt x="727" y="402"/>
                  </a:lnTo>
                  <a:lnTo>
                    <a:pt x="718" y="402"/>
                  </a:lnTo>
                  <a:lnTo>
                    <a:pt x="714" y="407"/>
                  </a:lnTo>
                  <a:lnTo>
                    <a:pt x="709" y="407"/>
                  </a:lnTo>
                  <a:lnTo>
                    <a:pt x="704" y="407"/>
                  </a:lnTo>
                  <a:lnTo>
                    <a:pt x="700" y="411"/>
                  </a:lnTo>
                  <a:lnTo>
                    <a:pt x="695" y="411"/>
                  </a:lnTo>
                  <a:lnTo>
                    <a:pt x="691" y="416"/>
                  </a:lnTo>
                  <a:lnTo>
                    <a:pt x="691" y="416"/>
                  </a:lnTo>
                  <a:lnTo>
                    <a:pt x="686" y="416"/>
                  </a:lnTo>
                  <a:lnTo>
                    <a:pt x="682" y="416"/>
                  </a:lnTo>
                  <a:lnTo>
                    <a:pt x="677" y="420"/>
                  </a:lnTo>
                  <a:lnTo>
                    <a:pt x="672" y="420"/>
                  </a:lnTo>
                  <a:lnTo>
                    <a:pt x="668" y="425"/>
                  </a:lnTo>
                  <a:lnTo>
                    <a:pt x="668" y="425"/>
                  </a:lnTo>
                  <a:lnTo>
                    <a:pt x="659" y="430"/>
                  </a:lnTo>
                  <a:lnTo>
                    <a:pt x="645" y="434"/>
                  </a:lnTo>
                  <a:lnTo>
                    <a:pt x="640" y="434"/>
                  </a:lnTo>
                  <a:lnTo>
                    <a:pt x="636" y="439"/>
                  </a:lnTo>
                  <a:lnTo>
                    <a:pt x="631" y="439"/>
                  </a:lnTo>
                  <a:lnTo>
                    <a:pt x="627" y="443"/>
                  </a:lnTo>
                  <a:lnTo>
                    <a:pt x="622" y="443"/>
                  </a:lnTo>
                  <a:lnTo>
                    <a:pt x="618" y="443"/>
                  </a:lnTo>
                  <a:lnTo>
                    <a:pt x="613" y="443"/>
                  </a:lnTo>
                  <a:lnTo>
                    <a:pt x="604" y="448"/>
                  </a:lnTo>
                  <a:lnTo>
                    <a:pt x="604" y="448"/>
                  </a:lnTo>
                  <a:lnTo>
                    <a:pt x="599" y="448"/>
                  </a:lnTo>
                  <a:lnTo>
                    <a:pt x="595" y="452"/>
                  </a:lnTo>
                  <a:lnTo>
                    <a:pt x="590" y="457"/>
                  </a:lnTo>
                  <a:lnTo>
                    <a:pt x="586" y="457"/>
                  </a:lnTo>
                  <a:lnTo>
                    <a:pt x="581" y="457"/>
                  </a:lnTo>
                  <a:lnTo>
                    <a:pt x="581" y="462"/>
                  </a:lnTo>
                  <a:lnTo>
                    <a:pt x="581" y="466"/>
                  </a:lnTo>
                  <a:lnTo>
                    <a:pt x="581" y="471"/>
                  </a:lnTo>
                  <a:lnTo>
                    <a:pt x="576" y="471"/>
                  </a:lnTo>
                  <a:lnTo>
                    <a:pt x="572" y="475"/>
                  </a:lnTo>
                  <a:lnTo>
                    <a:pt x="567" y="480"/>
                  </a:lnTo>
                  <a:lnTo>
                    <a:pt x="563" y="480"/>
                  </a:lnTo>
                  <a:lnTo>
                    <a:pt x="563" y="480"/>
                  </a:lnTo>
                  <a:lnTo>
                    <a:pt x="558" y="480"/>
                  </a:lnTo>
                  <a:lnTo>
                    <a:pt x="558" y="489"/>
                  </a:lnTo>
                  <a:lnTo>
                    <a:pt x="558" y="494"/>
                  </a:lnTo>
                  <a:lnTo>
                    <a:pt x="563" y="498"/>
                  </a:lnTo>
                  <a:lnTo>
                    <a:pt x="563" y="503"/>
                  </a:lnTo>
                  <a:lnTo>
                    <a:pt x="567" y="503"/>
                  </a:lnTo>
                  <a:lnTo>
                    <a:pt x="572" y="503"/>
                  </a:lnTo>
                  <a:lnTo>
                    <a:pt x="576" y="503"/>
                  </a:lnTo>
                  <a:lnTo>
                    <a:pt x="581" y="503"/>
                  </a:lnTo>
                  <a:lnTo>
                    <a:pt x="586" y="498"/>
                  </a:lnTo>
                  <a:lnTo>
                    <a:pt x="590" y="498"/>
                  </a:lnTo>
                  <a:lnTo>
                    <a:pt x="595" y="498"/>
                  </a:lnTo>
                  <a:lnTo>
                    <a:pt x="599" y="498"/>
                  </a:lnTo>
                  <a:lnTo>
                    <a:pt x="604" y="494"/>
                  </a:lnTo>
                  <a:lnTo>
                    <a:pt x="604" y="494"/>
                  </a:lnTo>
                  <a:lnTo>
                    <a:pt x="608" y="494"/>
                  </a:lnTo>
                  <a:lnTo>
                    <a:pt x="613" y="494"/>
                  </a:lnTo>
                  <a:lnTo>
                    <a:pt x="618" y="498"/>
                  </a:lnTo>
                  <a:lnTo>
                    <a:pt x="622" y="503"/>
                  </a:lnTo>
                  <a:lnTo>
                    <a:pt x="622" y="503"/>
                  </a:lnTo>
                  <a:lnTo>
                    <a:pt x="622" y="507"/>
                  </a:lnTo>
                  <a:lnTo>
                    <a:pt x="627" y="512"/>
                  </a:lnTo>
                  <a:lnTo>
                    <a:pt x="627" y="516"/>
                  </a:lnTo>
                  <a:lnTo>
                    <a:pt x="631" y="521"/>
                  </a:lnTo>
                  <a:lnTo>
                    <a:pt x="631" y="526"/>
                  </a:lnTo>
                  <a:lnTo>
                    <a:pt x="631" y="526"/>
                  </a:lnTo>
                  <a:lnTo>
                    <a:pt x="631" y="530"/>
                  </a:lnTo>
                  <a:lnTo>
                    <a:pt x="636" y="535"/>
                  </a:lnTo>
                  <a:lnTo>
                    <a:pt x="631" y="544"/>
                  </a:lnTo>
                  <a:lnTo>
                    <a:pt x="631" y="548"/>
                  </a:lnTo>
                  <a:lnTo>
                    <a:pt x="631" y="558"/>
                  </a:lnTo>
                  <a:lnTo>
                    <a:pt x="627" y="562"/>
                  </a:lnTo>
                  <a:lnTo>
                    <a:pt x="627" y="567"/>
                  </a:lnTo>
                  <a:lnTo>
                    <a:pt x="627" y="567"/>
                  </a:lnTo>
                  <a:lnTo>
                    <a:pt x="622" y="567"/>
                  </a:lnTo>
                  <a:lnTo>
                    <a:pt x="622" y="571"/>
                  </a:lnTo>
                  <a:lnTo>
                    <a:pt x="622" y="576"/>
                  </a:lnTo>
                  <a:lnTo>
                    <a:pt x="622" y="576"/>
                  </a:lnTo>
                  <a:lnTo>
                    <a:pt x="622" y="580"/>
                  </a:lnTo>
                  <a:lnTo>
                    <a:pt x="622" y="585"/>
                  </a:lnTo>
                  <a:lnTo>
                    <a:pt x="622" y="590"/>
                  </a:lnTo>
                  <a:lnTo>
                    <a:pt x="622" y="590"/>
                  </a:lnTo>
                  <a:lnTo>
                    <a:pt x="622" y="594"/>
                  </a:lnTo>
                  <a:lnTo>
                    <a:pt x="622" y="594"/>
                  </a:lnTo>
                  <a:lnTo>
                    <a:pt x="622" y="599"/>
                  </a:lnTo>
                  <a:lnTo>
                    <a:pt x="627" y="599"/>
                  </a:lnTo>
                  <a:lnTo>
                    <a:pt x="627" y="603"/>
                  </a:lnTo>
                  <a:lnTo>
                    <a:pt x="636" y="603"/>
                  </a:lnTo>
                  <a:lnTo>
                    <a:pt x="640" y="603"/>
                  </a:lnTo>
                  <a:lnTo>
                    <a:pt x="645" y="603"/>
                  </a:lnTo>
                  <a:lnTo>
                    <a:pt x="645" y="608"/>
                  </a:lnTo>
                  <a:lnTo>
                    <a:pt x="645" y="612"/>
                  </a:lnTo>
                  <a:lnTo>
                    <a:pt x="645" y="612"/>
                  </a:lnTo>
                  <a:lnTo>
                    <a:pt x="650" y="612"/>
                  </a:lnTo>
                  <a:lnTo>
                    <a:pt x="659" y="631"/>
                  </a:lnTo>
                  <a:lnTo>
                    <a:pt x="659" y="635"/>
                  </a:lnTo>
                  <a:lnTo>
                    <a:pt x="663" y="635"/>
                  </a:lnTo>
                  <a:lnTo>
                    <a:pt x="663" y="635"/>
                  </a:lnTo>
                  <a:lnTo>
                    <a:pt x="663" y="640"/>
                  </a:lnTo>
                  <a:lnTo>
                    <a:pt x="668" y="640"/>
                  </a:lnTo>
                  <a:lnTo>
                    <a:pt x="668" y="644"/>
                  </a:lnTo>
                  <a:lnTo>
                    <a:pt x="668" y="649"/>
                  </a:lnTo>
                  <a:lnTo>
                    <a:pt x="668" y="654"/>
                  </a:lnTo>
                  <a:lnTo>
                    <a:pt x="672" y="654"/>
                  </a:lnTo>
                  <a:lnTo>
                    <a:pt x="677" y="658"/>
                  </a:lnTo>
                  <a:lnTo>
                    <a:pt x="677" y="663"/>
                  </a:lnTo>
                  <a:lnTo>
                    <a:pt x="682" y="667"/>
                  </a:lnTo>
                  <a:lnTo>
                    <a:pt x="686" y="672"/>
                  </a:lnTo>
                  <a:lnTo>
                    <a:pt x="695" y="676"/>
                  </a:lnTo>
                  <a:lnTo>
                    <a:pt x="700" y="676"/>
                  </a:lnTo>
                  <a:lnTo>
                    <a:pt x="714" y="676"/>
                  </a:lnTo>
                  <a:lnTo>
                    <a:pt x="714" y="676"/>
                  </a:lnTo>
                  <a:lnTo>
                    <a:pt x="723" y="676"/>
                  </a:lnTo>
                  <a:lnTo>
                    <a:pt x="732" y="676"/>
                  </a:lnTo>
                  <a:lnTo>
                    <a:pt x="736" y="676"/>
                  </a:lnTo>
                  <a:lnTo>
                    <a:pt x="750" y="681"/>
                  </a:lnTo>
                  <a:lnTo>
                    <a:pt x="759" y="686"/>
                  </a:lnTo>
                  <a:lnTo>
                    <a:pt x="768" y="686"/>
                  </a:lnTo>
                  <a:lnTo>
                    <a:pt x="778" y="690"/>
                  </a:lnTo>
                  <a:lnTo>
                    <a:pt x="782" y="690"/>
                  </a:lnTo>
                  <a:lnTo>
                    <a:pt x="796" y="695"/>
                  </a:lnTo>
                  <a:lnTo>
                    <a:pt x="800" y="695"/>
                  </a:lnTo>
                  <a:lnTo>
                    <a:pt x="805" y="695"/>
                  </a:lnTo>
                  <a:lnTo>
                    <a:pt x="810" y="699"/>
                  </a:lnTo>
                  <a:lnTo>
                    <a:pt x="814" y="699"/>
                  </a:lnTo>
                  <a:lnTo>
                    <a:pt x="823" y="699"/>
                  </a:lnTo>
                  <a:lnTo>
                    <a:pt x="823" y="699"/>
                  </a:lnTo>
                  <a:lnTo>
                    <a:pt x="828" y="699"/>
                  </a:lnTo>
                  <a:lnTo>
                    <a:pt x="832" y="704"/>
                  </a:lnTo>
                  <a:lnTo>
                    <a:pt x="832" y="708"/>
                  </a:lnTo>
                  <a:lnTo>
                    <a:pt x="828" y="708"/>
                  </a:lnTo>
                  <a:lnTo>
                    <a:pt x="828" y="713"/>
                  </a:lnTo>
                  <a:lnTo>
                    <a:pt x="828" y="718"/>
                  </a:lnTo>
                  <a:lnTo>
                    <a:pt x="823" y="718"/>
                  </a:lnTo>
                  <a:lnTo>
                    <a:pt x="823" y="722"/>
                  </a:lnTo>
                  <a:lnTo>
                    <a:pt x="823" y="722"/>
                  </a:lnTo>
                  <a:lnTo>
                    <a:pt x="823" y="722"/>
                  </a:lnTo>
                  <a:lnTo>
                    <a:pt x="819" y="727"/>
                  </a:lnTo>
                  <a:lnTo>
                    <a:pt x="814" y="731"/>
                  </a:lnTo>
                  <a:lnTo>
                    <a:pt x="810" y="736"/>
                  </a:lnTo>
                  <a:lnTo>
                    <a:pt x="805" y="736"/>
                  </a:lnTo>
                  <a:lnTo>
                    <a:pt x="800" y="740"/>
                  </a:lnTo>
                  <a:lnTo>
                    <a:pt x="796" y="740"/>
                  </a:lnTo>
                  <a:lnTo>
                    <a:pt x="782" y="740"/>
                  </a:lnTo>
                  <a:lnTo>
                    <a:pt x="778" y="740"/>
                  </a:lnTo>
                  <a:lnTo>
                    <a:pt x="778" y="745"/>
                  </a:lnTo>
                  <a:lnTo>
                    <a:pt x="768" y="745"/>
                  </a:lnTo>
                  <a:lnTo>
                    <a:pt x="764" y="745"/>
                  </a:lnTo>
                  <a:lnTo>
                    <a:pt x="755" y="750"/>
                  </a:lnTo>
                  <a:lnTo>
                    <a:pt x="755" y="754"/>
                  </a:lnTo>
                  <a:lnTo>
                    <a:pt x="755" y="759"/>
                  </a:lnTo>
                  <a:lnTo>
                    <a:pt x="755" y="763"/>
                  </a:lnTo>
                  <a:lnTo>
                    <a:pt x="755" y="772"/>
                  </a:lnTo>
                  <a:lnTo>
                    <a:pt x="755" y="777"/>
                  </a:lnTo>
                  <a:lnTo>
                    <a:pt x="755" y="777"/>
                  </a:lnTo>
                  <a:lnTo>
                    <a:pt x="755" y="782"/>
                  </a:lnTo>
                  <a:lnTo>
                    <a:pt x="759" y="786"/>
                  </a:lnTo>
                  <a:lnTo>
                    <a:pt x="764" y="786"/>
                  </a:lnTo>
                  <a:lnTo>
                    <a:pt x="768" y="791"/>
                  </a:lnTo>
                  <a:lnTo>
                    <a:pt x="768" y="795"/>
                  </a:lnTo>
                  <a:lnTo>
                    <a:pt x="764" y="795"/>
                  </a:lnTo>
                  <a:lnTo>
                    <a:pt x="759" y="795"/>
                  </a:lnTo>
                  <a:lnTo>
                    <a:pt x="755" y="795"/>
                  </a:lnTo>
                  <a:lnTo>
                    <a:pt x="755" y="791"/>
                  </a:lnTo>
                  <a:lnTo>
                    <a:pt x="750" y="791"/>
                  </a:lnTo>
                  <a:lnTo>
                    <a:pt x="746" y="791"/>
                  </a:lnTo>
                  <a:lnTo>
                    <a:pt x="746" y="786"/>
                  </a:lnTo>
                  <a:lnTo>
                    <a:pt x="736" y="786"/>
                  </a:lnTo>
                  <a:lnTo>
                    <a:pt x="732" y="786"/>
                  </a:lnTo>
                  <a:lnTo>
                    <a:pt x="714" y="786"/>
                  </a:lnTo>
                  <a:lnTo>
                    <a:pt x="691" y="782"/>
                  </a:lnTo>
                  <a:lnTo>
                    <a:pt x="686" y="782"/>
                  </a:lnTo>
                  <a:lnTo>
                    <a:pt x="682" y="786"/>
                  </a:lnTo>
                  <a:lnTo>
                    <a:pt x="677" y="786"/>
                  </a:lnTo>
                  <a:lnTo>
                    <a:pt x="672" y="782"/>
                  </a:lnTo>
                  <a:lnTo>
                    <a:pt x="668" y="782"/>
                  </a:lnTo>
                  <a:lnTo>
                    <a:pt x="668" y="777"/>
                  </a:lnTo>
                  <a:lnTo>
                    <a:pt x="668" y="772"/>
                  </a:lnTo>
                  <a:lnTo>
                    <a:pt x="668" y="768"/>
                  </a:lnTo>
                  <a:lnTo>
                    <a:pt x="668" y="763"/>
                  </a:lnTo>
                  <a:lnTo>
                    <a:pt x="663" y="759"/>
                  </a:lnTo>
                  <a:lnTo>
                    <a:pt x="663" y="754"/>
                  </a:lnTo>
                  <a:lnTo>
                    <a:pt x="659" y="736"/>
                  </a:lnTo>
                  <a:lnTo>
                    <a:pt x="654" y="722"/>
                  </a:lnTo>
                  <a:lnTo>
                    <a:pt x="654" y="722"/>
                  </a:lnTo>
                  <a:lnTo>
                    <a:pt x="654" y="718"/>
                  </a:lnTo>
                  <a:lnTo>
                    <a:pt x="650" y="708"/>
                  </a:lnTo>
                  <a:lnTo>
                    <a:pt x="645" y="699"/>
                  </a:lnTo>
                  <a:lnTo>
                    <a:pt x="645" y="695"/>
                  </a:lnTo>
                  <a:lnTo>
                    <a:pt x="645" y="690"/>
                  </a:lnTo>
                  <a:lnTo>
                    <a:pt x="640" y="690"/>
                  </a:lnTo>
                  <a:lnTo>
                    <a:pt x="636" y="681"/>
                  </a:lnTo>
                  <a:lnTo>
                    <a:pt x="631" y="681"/>
                  </a:lnTo>
                  <a:lnTo>
                    <a:pt x="631" y="676"/>
                  </a:lnTo>
                  <a:lnTo>
                    <a:pt x="627" y="676"/>
                  </a:lnTo>
                  <a:lnTo>
                    <a:pt x="622" y="676"/>
                  </a:lnTo>
                  <a:lnTo>
                    <a:pt x="622" y="676"/>
                  </a:lnTo>
                  <a:lnTo>
                    <a:pt x="618" y="676"/>
                  </a:lnTo>
                  <a:lnTo>
                    <a:pt x="613" y="676"/>
                  </a:lnTo>
                  <a:lnTo>
                    <a:pt x="604" y="676"/>
                  </a:lnTo>
                  <a:lnTo>
                    <a:pt x="599" y="676"/>
                  </a:lnTo>
                  <a:lnTo>
                    <a:pt x="595" y="681"/>
                  </a:lnTo>
                  <a:lnTo>
                    <a:pt x="586" y="681"/>
                  </a:lnTo>
                  <a:lnTo>
                    <a:pt x="581" y="686"/>
                  </a:lnTo>
                  <a:lnTo>
                    <a:pt x="576" y="686"/>
                  </a:lnTo>
                  <a:lnTo>
                    <a:pt x="572" y="686"/>
                  </a:lnTo>
                  <a:lnTo>
                    <a:pt x="567" y="686"/>
                  </a:lnTo>
                  <a:lnTo>
                    <a:pt x="558" y="686"/>
                  </a:lnTo>
                  <a:lnTo>
                    <a:pt x="558" y="686"/>
                  </a:lnTo>
                  <a:lnTo>
                    <a:pt x="554" y="681"/>
                  </a:lnTo>
                  <a:lnTo>
                    <a:pt x="549" y="681"/>
                  </a:lnTo>
                  <a:lnTo>
                    <a:pt x="549" y="676"/>
                  </a:lnTo>
                  <a:lnTo>
                    <a:pt x="544" y="676"/>
                  </a:lnTo>
                  <a:lnTo>
                    <a:pt x="544" y="676"/>
                  </a:lnTo>
                  <a:lnTo>
                    <a:pt x="540" y="672"/>
                  </a:lnTo>
                  <a:lnTo>
                    <a:pt x="540" y="667"/>
                  </a:lnTo>
                  <a:lnTo>
                    <a:pt x="540" y="663"/>
                  </a:lnTo>
                  <a:lnTo>
                    <a:pt x="535" y="658"/>
                  </a:lnTo>
                  <a:lnTo>
                    <a:pt x="535" y="654"/>
                  </a:lnTo>
                  <a:lnTo>
                    <a:pt x="531" y="654"/>
                  </a:lnTo>
                  <a:lnTo>
                    <a:pt x="526" y="654"/>
                  </a:lnTo>
                  <a:lnTo>
                    <a:pt x="522" y="654"/>
                  </a:lnTo>
                  <a:lnTo>
                    <a:pt x="512" y="654"/>
                  </a:lnTo>
                  <a:lnTo>
                    <a:pt x="512" y="658"/>
                  </a:lnTo>
                  <a:lnTo>
                    <a:pt x="499" y="663"/>
                  </a:lnTo>
                  <a:lnTo>
                    <a:pt x="494" y="663"/>
                  </a:lnTo>
                  <a:lnTo>
                    <a:pt x="490" y="658"/>
                  </a:lnTo>
                  <a:lnTo>
                    <a:pt x="485" y="658"/>
                  </a:lnTo>
                  <a:lnTo>
                    <a:pt x="480" y="658"/>
                  </a:lnTo>
                  <a:lnTo>
                    <a:pt x="480" y="654"/>
                  </a:lnTo>
                  <a:lnTo>
                    <a:pt x="476" y="654"/>
                  </a:lnTo>
                  <a:lnTo>
                    <a:pt x="471" y="654"/>
                  </a:lnTo>
                  <a:lnTo>
                    <a:pt x="471" y="654"/>
                  </a:lnTo>
                  <a:lnTo>
                    <a:pt x="467" y="649"/>
                  </a:lnTo>
                  <a:lnTo>
                    <a:pt x="462" y="649"/>
                  </a:lnTo>
                  <a:lnTo>
                    <a:pt x="458" y="644"/>
                  </a:lnTo>
                  <a:lnTo>
                    <a:pt x="448" y="644"/>
                  </a:lnTo>
                  <a:lnTo>
                    <a:pt x="448" y="640"/>
                  </a:lnTo>
                  <a:lnTo>
                    <a:pt x="439" y="640"/>
                  </a:lnTo>
                  <a:lnTo>
                    <a:pt x="435" y="640"/>
                  </a:lnTo>
                  <a:lnTo>
                    <a:pt x="430" y="640"/>
                  </a:lnTo>
                  <a:lnTo>
                    <a:pt x="426" y="644"/>
                  </a:lnTo>
                  <a:lnTo>
                    <a:pt x="426" y="644"/>
                  </a:lnTo>
                  <a:lnTo>
                    <a:pt x="421" y="640"/>
                  </a:lnTo>
                  <a:lnTo>
                    <a:pt x="426" y="635"/>
                  </a:lnTo>
                  <a:lnTo>
                    <a:pt x="426" y="631"/>
                  </a:lnTo>
                  <a:lnTo>
                    <a:pt x="426" y="626"/>
                  </a:lnTo>
                  <a:lnTo>
                    <a:pt x="421" y="617"/>
                  </a:lnTo>
                  <a:lnTo>
                    <a:pt x="426" y="612"/>
                  </a:lnTo>
                  <a:lnTo>
                    <a:pt x="426" y="608"/>
                  </a:lnTo>
                  <a:lnTo>
                    <a:pt x="426" y="603"/>
                  </a:lnTo>
                  <a:lnTo>
                    <a:pt x="426" y="603"/>
                  </a:lnTo>
                  <a:lnTo>
                    <a:pt x="430" y="594"/>
                  </a:lnTo>
                  <a:lnTo>
                    <a:pt x="430" y="590"/>
                  </a:lnTo>
                  <a:lnTo>
                    <a:pt x="435" y="590"/>
                  </a:lnTo>
                  <a:lnTo>
                    <a:pt x="439" y="590"/>
                  </a:lnTo>
                  <a:lnTo>
                    <a:pt x="444" y="590"/>
                  </a:lnTo>
                  <a:lnTo>
                    <a:pt x="448" y="590"/>
                  </a:lnTo>
                  <a:lnTo>
                    <a:pt x="453" y="590"/>
                  </a:lnTo>
                  <a:lnTo>
                    <a:pt x="458" y="585"/>
                  </a:lnTo>
                  <a:lnTo>
                    <a:pt x="458" y="580"/>
                  </a:lnTo>
                  <a:lnTo>
                    <a:pt x="462" y="576"/>
                  </a:lnTo>
                  <a:lnTo>
                    <a:pt x="462" y="571"/>
                  </a:lnTo>
                  <a:lnTo>
                    <a:pt x="467" y="567"/>
                  </a:lnTo>
                  <a:lnTo>
                    <a:pt x="471" y="567"/>
                  </a:lnTo>
                  <a:lnTo>
                    <a:pt x="471" y="562"/>
                  </a:lnTo>
                  <a:lnTo>
                    <a:pt x="471" y="558"/>
                  </a:lnTo>
                  <a:lnTo>
                    <a:pt x="467" y="558"/>
                  </a:lnTo>
                  <a:lnTo>
                    <a:pt x="462" y="558"/>
                  </a:lnTo>
                  <a:lnTo>
                    <a:pt x="453" y="558"/>
                  </a:lnTo>
                  <a:lnTo>
                    <a:pt x="448" y="558"/>
                  </a:lnTo>
                  <a:lnTo>
                    <a:pt x="448" y="553"/>
                  </a:lnTo>
                  <a:lnTo>
                    <a:pt x="448" y="548"/>
                  </a:lnTo>
                  <a:lnTo>
                    <a:pt x="448" y="544"/>
                  </a:lnTo>
                  <a:lnTo>
                    <a:pt x="444" y="544"/>
                  </a:lnTo>
                  <a:lnTo>
                    <a:pt x="435" y="539"/>
                  </a:lnTo>
                  <a:lnTo>
                    <a:pt x="430" y="535"/>
                  </a:lnTo>
                  <a:lnTo>
                    <a:pt x="426" y="535"/>
                  </a:lnTo>
                  <a:lnTo>
                    <a:pt x="426" y="530"/>
                  </a:lnTo>
                  <a:lnTo>
                    <a:pt x="421" y="526"/>
                  </a:lnTo>
                  <a:lnTo>
                    <a:pt x="421" y="526"/>
                  </a:lnTo>
                  <a:lnTo>
                    <a:pt x="416" y="516"/>
                  </a:lnTo>
                  <a:lnTo>
                    <a:pt x="421" y="516"/>
                  </a:lnTo>
                  <a:lnTo>
                    <a:pt x="421" y="512"/>
                  </a:lnTo>
                  <a:lnTo>
                    <a:pt x="421" y="507"/>
                  </a:lnTo>
                  <a:lnTo>
                    <a:pt x="426" y="507"/>
                  </a:lnTo>
                  <a:lnTo>
                    <a:pt x="426" y="503"/>
                  </a:lnTo>
                  <a:lnTo>
                    <a:pt x="426" y="498"/>
                  </a:lnTo>
                  <a:lnTo>
                    <a:pt x="421" y="498"/>
                  </a:lnTo>
                  <a:lnTo>
                    <a:pt x="416" y="498"/>
                  </a:lnTo>
                  <a:lnTo>
                    <a:pt x="407" y="503"/>
                  </a:lnTo>
                  <a:lnTo>
                    <a:pt x="403" y="503"/>
                  </a:lnTo>
                  <a:lnTo>
                    <a:pt x="398" y="503"/>
                  </a:lnTo>
                  <a:lnTo>
                    <a:pt x="394" y="503"/>
                  </a:lnTo>
                  <a:lnTo>
                    <a:pt x="389" y="503"/>
                  </a:lnTo>
                  <a:lnTo>
                    <a:pt x="384" y="498"/>
                  </a:lnTo>
                  <a:lnTo>
                    <a:pt x="384" y="494"/>
                  </a:lnTo>
                  <a:lnTo>
                    <a:pt x="384" y="489"/>
                  </a:lnTo>
                  <a:lnTo>
                    <a:pt x="384" y="484"/>
                  </a:lnTo>
                  <a:lnTo>
                    <a:pt x="384" y="480"/>
                  </a:lnTo>
                  <a:lnTo>
                    <a:pt x="384" y="475"/>
                  </a:lnTo>
                  <a:lnTo>
                    <a:pt x="384" y="471"/>
                  </a:lnTo>
                  <a:lnTo>
                    <a:pt x="389" y="471"/>
                  </a:lnTo>
                  <a:lnTo>
                    <a:pt x="389" y="466"/>
                  </a:lnTo>
                  <a:lnTo>
                    <a:pt x="389" y="462"/>
                  </a:lnTo>
                  <a:lnTo>
                    <a:pt x="394" y="457"/>
                  </a:lnTo>
                  <a:lnTo>
                    <a:pt x="398" y="457"/>
                  </a:lnTo>
                  <a:lnTo>
                    <a:pt x="403" y="457"/>
                  </a:lnTo>
                  <a:lnTo>
                    <a:pt x="403" y="452"/>
                  </a:lnTo>
                  <a:lnTo>
                    <a:pt x="407" y="452"/>
                  </a:lnTo>
                  <a:lnTo>
                    <a:pt x="407" y="448"/>
                  </a:lnTo>
                  <a:lnTo>
                    <a:pt x="412" y="443"/>
                  </a:lnTo>
                  <a:lnTo>
                    <a:pt x="412" y="425"/>
                  </a:lnTo>
                  <a:lnTo>
                    <a:pt x="412" y="416"/>
                  </a:lnTo>
                  <a:lnTo>
                    <a:pt x="412" y="407"/>
                  </a:lnTo>
                  <a:lnTo>
                    <a:pt x="412" y="402"/>
                  </a:lnTo>
                  <a:lnTo>
                    <a:pt x="412" y="398"/>
                  </a:lnTo>
                  <a:lnTo>
                    <a:pt x="407" y="393"/>
                  </a:lnTo>
                  <a:lnTo>
                    <a:pt x="407" y="393"/>
                  </a:lnTo>
                  <a:lnTo>
                    <a:pt x="407" y="379"/>
                  </a:lnTo>
                  <a:lnTo>
                    <a:pt x="403" y="370"/>
                  </a:lnTo>
                  <a:lnTo>
                    <a:pt x="403" y="370"/>
                  </a:lnTo>
                  <a:lnTo>
                    <a:pt x="403" y="366"/>
                  </a:lnTo>
                  <a:lnTo>
                    <a:pt x="398" y="366"/>
                  </a:lnTo>
                  <a:lnTo>
                    <a:pt x="394" y="361"/>
                  </a:lnTo>
                  <a:lnTo>
                    <a:pt x="394" y="361"/>
                  </a:lnTo>
                  <a:lnTo>
                    <a:pt x="389" y="366"/>
                  </a:lnTo>
                  <a:lnTo>
                    <a:pt x="384" y="366"/>
                  </a:lnTo>
                  <a:lnTo>
                    <a:pt x="384" y="370"/>
                  </a:lnTo>
                  <a:lnTo>
                    <a:pt x="384" y="370"/>
                  </a:lnTo>
                  <a:lnTo>
                    <a:pt x="384" y="375"/>
                  </a:lnTo>
                  <a:lnTo>
                    <a:pt x="384" y="384"/>
                  </a:lnTo>
                  <a:lnTo>
                    <a:pt x="384" y="388"/>
                  </a:lnTo>
                  <a:lnTo>
                    <a:pt x="380" y="388"/>
                  </a:lnTo>
                  <a:lnTo>
                    <a:pt x="371" y="388"/>
                  </a:lnTo>
                  <a:lnTo>
                    <a:pt x="366" y="384"/>
                  </a:lnTo>
                  <a:lnTo>
                    <a:pt x="362" y="384"/>
                  </a:lnTo>
                  <a:lnTo>
                    <a:pt x="357" y="384"/>
                  </a:lnTo>
                  <a:lnTo>
                    <a:pt x="357" y="379"/>
                  </a:lnTo>
                  <a:lnTo>
                    <a:pt x="357" y="375"/>
                  </a:lnTo>
                  <a:lnTo>
                    <a:pt x="362" y="375"/>
                  </a:lnTo>
                  <a:lnTo>
                    <a:pt x="362" y="370"/>
                  </a:lnTo>
                  <a:lnTo>
                    <a:pt x="362" y="366"/>
                  </a:lnTo>
                  <a:lnTo>
                    <a:pt x="357" y="366"/>
                  </a:lnTo>
                  <a:lnTo>
                    <a:pt x="352" y="361"/>
                  </a:lnTo>
                  <a:lnTo>
                    <a:pt x="339" y="366"/>
                  </a:lnTo>
                  <a:lnTo>
                    <a:pt x="339" y="366"/>
                  </a:lnTo>
                  <a:lnTo>
                    <a:pt x="334" y="366"/>
                  </a:lnTo>
                  <a:lnTo>
                    <a:pt x="325" y="370"/>
                  </a:lnTo>
                  <a:lnTo>
                    <a:pt x="320" y="370"/>
                  </a:lnTo>
                  <a:lnTo>
                    <a:pt x="311" y="366"/>
                  </a:lnTo>
                  <a:lnTo>
                    <a:pt x="307" y="366"/>
                  </a:lnTo>
                  <a:lnTo>
                    <a:pt x="302" y="361"/>
                  </a:lnTo>
                  <a:lnTo>
                    <a:pt x="298" y="356"/>
                  </a:lnTo>
                  <a:lnTo>
                    <a:pt x="298" y="352"/>
                  </a:lnTo>
                  <a:lnTo>
                    <a:pt x="298" y="347"/>
                  </a:lnTo>
                  <a:lnTo>
                    <a:pt x="302" y="347"/>
                  </a:lnTo>
                  <a:lnTo>
                    <a:pt x="302" y="347"/>
                  </a:lnTo>
                  <a:lnTo>
                    <a:pt x="307" y="347"/>
                  </a:lnTo>
                  <a:lnTo>
                    <a:pt x="307" y="343"/>
                  </a:lnTo>
                  <a:lnTo>
                    <a:pt x="311" y="343"/>
                  </a:lnTo>
                  <a:lnTo>
                    <a:pt x="311" y="338"/>
                  </a:lnTo>
                  <a:lnTo>
                    <a:pt x="311" y="334"/>
                  </a:lnTo>
                  <a:lnTo>
                    <a:pt x="311" y="329"/>
                  </a:lnTo>
                  <a:lnTo>
                    <a:pt x="316" y="324"/>
                  </a:lnTo>
                  <a:lnTo>
                    <a:pt x="316" y="324"/>
                  </a:lnTo>
                  <a:lnTo>
                    <a:pt x="311" y="320"/>
                  </a:lnTo>
                  <a:lnTo>
                    <a:pt x="311" y="315"/>
                  </a:lnTo>
                  <a:lnTo>
                    <a:pt x="307" y="315"/>
                  </a:lnTo>
                  <a:lnTo>
                    <a:pt x="307" y="311"/>
                  </a:lnTo>
                  <a:lnTo>
                    <a:pt x="302" y="302"/>
                  </a:lnTo>
                  <a:lnTo>
                    <a:pt x="298" y="297"/>
                  </a:lnTo>
                  <a:lnTo>
                    <a:pt x="298" y="292"/>
                  </a:lnTo>
                  <a:lnTo>
                    <a:pt x="293" y="288"/>
                  </a:lnTo>
                  <a:lnTo>
                    <a:pt x="293" y="283"/>
                  </a:lnTo>
                  <a:lnTo>
                    <a:pt x="293" y="283"/>
                  </a:lnTo>
                  <a:lnTo>
                    <a:pt x="293" y="283"/>
                  </a:lnTo>
                  <a:lnTo>
                    <a:pt x="288" y="283"/>
                  </a:lnTo>
                  <a:lnTo>
                    <a:pt x="284" y="283"/>
                  </a:lnTo>
                  <a:lnTo>
                    <a:pt x="275" y="283"/>
                  </a:lnTo>
                  <a:lnTo>
                    <a:pt x="270" y="283"/>
                  </a:lnTo>
                  <a:lnTo>
                    <a:pt x="256" y="283"/>
                  </a:lnTo>
                  <a:lnTo>
                    <a:pt x="252" y="283"/>
                  </a:lnTo>
                  <a:lnTo>
                    <a:pt x="252" y="283"/>
                  </a:lnTo>
                  <a:lnTo>
                    <a:pt x="243" y="283"/>
                  </a:lnTo>
                  <a:lnTo>
                    <a:pt x="238" y="279"/>
                  </a:lnTo>
                  <a:lnTo>
                    <a:pt x="234" y="270"/>
                  </a:lnTo>
                  <a:lnTo>
                    <a:pt x="234" y="265"/>
                  </a:lnTo>
                  <a:lnTo>
                    <a:pt x="238" y="265"/>
                  </a:lnTo>
                  <a:lnTo>
                    <a:pt x="238" y="260"/>
                  </a:lnTo>
                  <a:lnTo>
                    <a:pt x="238" y="260"/>
                  </a:lnTo>
                  <a:lnTo>
                    <a:pt x="243" y="256"/>
                  </a:lnTo>
                  <a:lnTo>
                    <a:pt x="247" y="256"/>
                  </a:lnTo>
                  <a:lnTo>
                    <a:pt x="247" y="251"/>
                  </a:lnTo>
                  <a:lnTo>
                    <a:pt x="247" y="247"/>
                  </a:lnTo>
                  <a:lnTo>
                    <a:pt x="247" y="242"/>
                  </a:lnTo>
                  <a:lnTo>
                    <a:pt x="243" y="238"/>
                  </a:lnTo>
                  <a:lnTo>
                    <a:pt x="243" y="238"/>
                  </a:lnTo>
                  <a:lnTo>
                    <a:pt x="238" y="238"/>
                  </a:lnTo>
                  <a:lnTo>
                    <a:pt x="238" y="233"/>
                  </a:lnTo>
                  <a:lnTo>
                    <a:pt x="229" y="233"/>
                  </a:lnTo>
                  <a:lnTo>
                    <a:pt x="229" y="228"/>
                  </a:lnTo>
                  <a:lnTo>
                    <a:pt x="215" y="228"/>
                  </a:lnTo>
                  <a:lnTo>
                    <a:pt x="211" y="228"/>
                  </a:lnTo>
                  <a:lnTo>
                    <a:pt x="206" y="224"/>
                  </a:lnTo>
                  <a:lnTo>
                    <a:pt x="206" y="219"/>
                  </a:lnTo>
                  <a:lnTo>
                    <a:pt x="206" y="219"/>
                  </a:lnTo>
                  <a:lnTo>
                    <a:pt x="206" y="219"/>
                  </a:lnTo>
                  <a:lnTo>
                    <a:pt x="206" y="215"/>
                  </a:lnTo>
                  <a:lnTo>
                    <a:pt x="206" y="210"/>
                  </a:lnTo>
                  <a:lnTo>
                    <a:pt x="206" y="201"/>
                  </a:lnTo>
                  <a:lnTo>
                    <a:pt x="211" y="196"/>
                  </a:lnTo>
                  <a:lnTo>
                    <a:pt x="211" y="187"/>
                  </a:lnTo>
                  <a:lnTo>
                    <a:pt x="215" y="187"/>
                  </a:lnTo>
                  <a:lnTo>
                    <a:pt x="211" y="183"/>
                  </a:lnTo>
                  <a:lnTo>
                    <a:pt x="211" y="178"/>
                  </a:lnTo>
                  <a:lnTo>
                    <a:pt x="206" y="174"/>
                  </a:lnTo>
                  <a:lnTo>
                    <a:pt x="206" y="174"/>
                  </a:lnTo>
                  <a:lnTo>
                    <a:pt x="197" y="178"/>
                  </a:lnTo>
                  <a:lnTo>
                    <a:pt x="188" y="178"/>
                  </a:lnTo>
                  <a:lnTo>
                    <a:pt x="183" y="178"/>
                  </a:lnTo>
                  <a:lnTo>
                    <a:pt x="183" y="178"/>
                  </a:lnTo>
                  <a:lnTo>
                    <a:pt x="179" y="174"/>
                  </a:lnTo>
                  <a:lnTo>
                    <a:pt x="174" y="174"/>
                  </a:lnTo>
                  <a:lnTo>
                    <a:pt x="170" y="174"/>
                  </a:lnTo>
                  <a:lnTo>
                    <a:pt x="165" y="174"/>
                  </a:lnTo>
                  <a:lnTo>
                    <a:pt x="165" y="174"/>
                  </a:lnTo>
                  <a:lnTo>
                    <a:pt x="165" y="169"/>
                  </a:lnTo>
                  <a:lnTo>
                    <a:pt x="160" y="169"/>
                  </a:lnTo>
                  <a:lnTo>
                    <a:pt x="156" y="169"/>
                  </a:lnTo>
                  <a:lnTo>
                    <a:pt x="151" y="174"/>
                  </a:lnTo>
                  <a:lnTo>
                    <a:pt x="147" y="174"/>
                  </a:lnTo>
                  <a:lnTo>
                    <a:pt x="142" y="174"/>
                  </a:lnTo>
                  <a:lnTo>
                    <a:pt x="142" y="174"/>
                  </a:lnTo>
                  <a:lnTo>
                    <a:pt x="142" y="174"/>
                  </a:lnTo>
                  <a:lnTo>
                    <a:pt x="128" y="174"/>
                  </a:lnTo>
                  <a:lnTo>
                    <a:pt x="119" y="174"/>
                  </a:lnTo>
                  <a:lnTo>
                    <a:pt x="119" y="174"/>
                  </a:lnTo>
                  <a:lnTo>
                    <a:pt x="115" y="178"/>
                  </a:lnTo>
                  <a:lnTo>
                    <a:pt x="106" y="183"/>
                  </a:lnTo>
                  <a:lnTo>
                    <a:pt x="101" y="187"/>
                  </a:lnTo>
                  <a:lnTo>
                    <a:pt x="96" y="192"/>
                  </a:lnTo>
                  <a:lnTo>
                    <a:pt x="96" y="196"/>
                  </a:lnTo>
                  <a:lnTo>
                    <a:pt x="96" y="196"/>
                  </a:lnTo>
                  <a:lnTo>
                    <a:pt x="96" y="196"/>
                  </a:lnTo>
                  <a:lnTo>
                    <a:pt x="92" y="206"/>
                  </a:lnTo>
                  <a:lnTo>
                    <a:pt x="92" y="215"/>
                  </a:lnTo>
                  <a:lnTo>
                    <a:pt x="87" y="215"/>
                  </a:lnTo>
                  <a:lnTo>
                    <a:pt x="87" y="219"/>
                  </a:lnTo>
                  <a:lnTo>
                    <a:pt x="87" y="224"/>
                  </a:lnTo>
                  <a:lnTo>
                    <a:pt x="87" y="228"/>
                  </a:lnTo>
                  <a:lnTo>
                    <a:pt x="83" y="228"/>
                  </a:lnTo>
                  <a:lnTo>
                    <a:pt x="83" y="233"/>
                  </a:lnTo>
                  <a:lnTo>
                    <a:pt x="78" y="238"/>
                  </a:lnTo>
                  <a:lnTo>
                    <a:pt x="78" y="233"/>
                  </a:lnTo>
                  <a:lnTo>
                    <a:pt x="74" y="233"/>
                  </a:lnTo>
                  <a:lnTo>
                    <a:pt x="74" y="228"/>
                  </a:lnTo>
                  <a:lnTo>
                    <a:pt x="74" y="219"/>
                  </a:lnTo>
                  <a:lnTo>
                    <a:pt x="74" y="219"/>
                  </a:lnTo>
                  <a:lnTo>
                    <a:pt x="74" y="215"/>
                  </a:lnTo>
                  <a:lnTo>
                    <a:pt x="74" y="210"/>
                  </a:lnTo>
                  <a:lnTo>
                    <a:pt x="74" y="206"/>
                  </a:lnTo>
                  <a:lnTo>
                    <a:pt x="74" y="201"/>
                  </a:lnTo>
                  <a:lnTo>
                    <a:pt x="69" y="201"/>
                  </a:lnTo>
                  <a:lnTo>
                    <a:pt x="69" y="196"/>
                  </a:lnTo>
                  <a:lnTo>
                    <a:pt x="64" y="196"/>
                  </a:lnTo>
                  <a:lnTo>
                    <a:pt x="60" y="192"/>
                  </a:lnTo>
                  <a:lnTo>
                    <a:pt x="55" y="187"/>
                  </a:lnTo>
                  <a:lnTo>
                    <a:pt x="55" y="183"/>
                  </a:lnTo>
                  <a:lnTo>
                    <a:pt x="51" y="174"/>
                  </a:lnTo>
                  <a:lnTo>
                    <a:pt x="46" y="174"/>
                  </a:lnTo>
                  <a:lnTo>
                    <a:pt x="42" y="174"/>
                  </a:lnTo>
                  <a:lnTo>
                    <a:pt x="42" y="174"/>
                  </a:lnTo>
                  <a:lnTo>
                    <a:pt x="37" y="174"/>
                  </a:lnTo>
                  <a:lnTo>
                    <a:pt x="32" y="174"/>
                  </a:lnTo>
                  <a:lnTo>
                    <a:pt x="32" y="169"/>
                  </a:lnTo>
                  <a:lnTo>
                    <a:pt x="19" y="169"/>
                  </a:lnTo>
                  <a:lnTo>
                    <a:pt x="14" y="164"/>
                  </a:lnTo>
                  <a:lnTo>
                    <a:pt x="10" y="160"/>
                  </a:lnTo>
                  <a:lnTo>
                    <a:pt x="5" y="151"/>
                  </a:lnTo>
                  <a:lnTo>
                    <a:pt x="5" y="146"/>
                  </a:lnTo>
                  <a:lnTo>
                    <a:pt x="0" y="142"/>
                  </a:lnTo>
                  <a:lnTo>
                    <a:pt x="0" y="142"/>
                  </a:lnTo>
                  <a:lnTo>
                    <a:pt x="0" y="132"/>
                  </a:lnTo>
                  <a:lnTo>
                    <a:pt x="0" y="128"/>
                  </a:lnTo>
                  <a:lnTo>
                    <a:pt x="0" y="119"/>
                  </a:lnTo>
                  <a:lnTo>
                    <a:pt x="0" y="114"/>
                  </a:lnTo>
                  <a:lnTo>
                    <a:pt x="0" y="100"/>
                  </a:lnTo>
                  <a:lnTo>
                    <a:pt x="0" y="96"/>
                  </a:lnTo>
                  <a:lnTo>
                    <a:pt x="0" y="91"/>
                  </a:lnTo>
                  <a:lnTo>
                    <a:pt x="0" y="87"/>
                  </a:lnTo>
                  <a:lnTo>
                    <a:pt x="5" y="87"/>
                  </a:lnTo>
                  <a:lnTo>
                    <a:pt x="5" y="87"/>
                  </a:lnTo>
                  <a:lnTo>
                    <a:pt x="10" y="82"/>
                  </a:lnTo>
                  <a:lnTo>
                    <a:pt x="14" y="78"/>
                  </a:lnTo>
                  <a:lnTo>
                    <a:pt x="28" y="73"/>
                  </a:lnTo>
                  <a:lnTo>
                    <a:pt x="32" y="73"/>
                  </a:lnTo>
                  <a:lnTo>
                    <a:pt x="32" y="73"/>
                  </a:lnTo>
                  <a:lnTo>
                    <a:pt x="37" y="73"/>
                  </a:lnTo>
                  <a:lnTo>
                    <a:pt x="42" y="73"/>
                  </a:lnTo>
                  <a:lnTo>
                    <a:pt x="42" y="78"/>
                  </a:lnTo>
                  <a:lnTo>
                    <a:pt x="46" y="78"/>
                  </a:lnTo>
                  <a:lnTo>
                    <a:pt x="55" y="78"/>
                  </a:lnTo>
                  <a:lnTo>
                    <a:pt x="55" y="82"/>
                  </a:lnTo>
                  <a:lnTo>
                    <a:pt x="64" y="82"/>
                  </a:lnTo>
                  <a:lnTo>
                    <a:pt x="69" y="82"/>
                  </a:lnTo>
                  <a:lnTo>
                    <a:pt x="74" y="87"/>
                  </a:lnTo>
                  <a:lnTo>
                    <a:pt x="83" y="87"/>
                  </a:lnTo>
                  <a:lnTo>
                    <a:pt x="87" y="82"/>
                  </a:lnTo>
                  <a:lnTo>
                    <a:pt x="92" y="82"/>
                  </a:lnTo>
                  <a:lnTo>
                    <a:pt x="96" y="82"/>
                  </a:lnTo>
                  <a:lnTo>
                    <a:pt x="96" y="82"/>
                  </a:lnTo>
                  <a:lnTo>
                    <a:pt x="106" y="82"/>
                  </a:lnTo>
                  <a:lnTo>
                    <a:pt x="110" y="78"/>
                  </a:lnTo>
                  <a:lnTo>
                    <a:pt x="124" y="73"/>
                  </a:lnTo>
                  <a:lnTo>
                    <a:pt x="133" y="73"/>
                  </a:lnTo>
                  <a:lnTo>
                    <a:pt x="142" y="78"/>
                  </a:lnTo>
                  <a:lnTo>
                    <a:pt x="142" y="82"/>
                  </a:lnTo>
                  <a:lnTo>
                    <a:pt x="151" y="87"/>
                  </a:lnTo>
                  <a:lnTo>
                    <a:pt x="156" y="87"/>
                  </a:lnTo>
                  <a:lnTo>
                    <a:pt x="156" y="96"/>
                  </a:lnTo>
                  <a:lnTo>
                    <a:pt x="160" y="96"/>
                  </a:lnTo>
                  <a:lnTo>
                    <a:pt x="160" y="100"/>
                  </a:lnTo>
                  <a:lnTo>
                    <a:pt x="165" y="105"/>
                  </a:lnTo>
                  <a:lnTo>
                    <a:pt x="165" y="110"/>
                  </a:lnTo>
                  <a:lnTo>
                    <a:pt x="165" y="110"/>
                  </a:lnTo>
                  <a:lnTo>
                    <a:pt x="170" y="110"/>
                  </a:lnTo>
                  <a:lnTo>
                    <a:pt x="174" y="114"/>
                  </a:lnTo>
                  <a:lnTo>
                    <a:pt x="174" y="114"/>
                  </a:lnTo>
                  <a:lnTo>
                    <a:pt x="179" y="123"/>
                  </a:lnTo>
                  <a:lnTo>
                    <a:pt x="183" y="123"/>
                  </a:lnTo>
                  <a:lnTo>
                    <a:pt x="183" y="128"/>
                  </a:lnTo>
                  <a:lnTo>
                    <a:pt x="188" y="128"/>
                  </a:lnTo>
                  <a:lnTo>
                    <a:pt x="192" y="132"/>
                  </a:lnTo>
                  <a:lnTo>
                    <a:pt x="197" y="132"/>
                  </a:lnTo>
                  <a:lnTo>
                    <a:pt x="202" y="137"/>
                  </a:lnTo>
                  <a:lnTo>
                    <a:pt x="211" y="142"/>
                  </a:lnTo>
                  <a:lnTo>
                    <a:pt x="224" y="142"/>
                  </a:lnTo>
                  <a:lnTo>
                    <a:pt x="229" y="146"/>
                  </a:lnTo>
                  <a:lnTo>
                    <a:pt x="234" y="142"/>
                  </a:lnTo>
                  <a:lnTo>
                    <a:pt x="252" y="142"/>
                  </a:lnTo>
                  <a:lnTo>
                    <a:pt x="252" y="142"/>
                  </a:lnTo>
                  <a:lnTo>
                    <a:pt x="261" y="142"/>
                  </a:lnTo>
                  <a:lnTo>
                    <a:pt x="270" y="137"/>
                  </a:lnTo>
                  <a:lnTo>
                    <a:pt x="275" y="132"/>
                  </a:lnTo>
                  <a:lnTo>
                    <a:pt x="279" y="128"/>
                  </a:lnTo>
                  <a:lnTo>
                    <a:pt x="284" y="128"/>
                  </a:lnTo>
                  <a:lnTo>
                    <a:pt x="288" y="128"/>
                  </a:lnTo>
                  <a:lnTo>
                    <a:pt x="288" y="123"/>
                  </a:lnTo>
                  <a:lnTo>
                    <a:pt x="293" y="123"/>
                  </a:lnTo>
                  <a:lnTo>
                    <a:pt x="293" y="119"/>
                  </a:lnTo>
                  <a:lnTo>
                    <a:pt x="293" y="114"/>
                  </a:lnTo>
                  <a:lnTo>
                    <a:pt x="293" y="114"/>
                  </a:lnTo>
                  <a:lnTo>
                    <a:pt x="293" y="110"/>
                  </a:lnTo>
                  <a:lnTo>
                    <a:pt x="298" y="110"/>
                  </a:lnTo>
                  <a:lnTo>
                    <a:pt x="298" y="110"/>
                  </a:lnTo>
                  <a:lnTo>
                    <a:pt x="302" y="105"/>
                  </a:lnTo>
                  <a:lnTo>
                    <a:pt x="302" y="100"/>
                  </a:lnTo>
                  <a:lnTo>
                    <a:pt x="307" y="100"/>
                  </a:lnTo>
                  <a:lnTo>
                    <a:pt x="311" y="91"/>
                  </a:lnTo>
                  <a:lnTo>
                    <a:pt x="298" y="68"/>
                  </a:lnTo>
                  <a:lnTo>
                    <a:pt x="302" y="68"/>
                  </a:lnTo>
                  <a:lnTo>
                    <a:pt x="307" y="73"/>
                  </a:lnTo>
                  <a:lnTo>
                    <a:pt x="307" y="73"/>
                  </a:lnTo>
                  <a:lnTo>
                    <a:pt x="311" y="68"/>
                  </a:lnTo>
                  <a:lnTo>
                    <a:pt x="316" y="68"/>
                  </a:lnTo>
                  <a:lnTo>
                    <a:pt x="325" y="68"/>
                  </a:lnTo>
                  <a:lnTo>
                    <a:pt x="339" y="68"/>
                  </a:lnTo>
                  <a:lnTo>
                    <a:pt x="339" y="68"/>
                  </a:lnTo>
                  <a:lnTo>
                    <a:pt x="348" y="68"/>
                  </a:lnTo>
                  <a:lnTo>
                    <a:pt x="348" y="73"/>
                  </a:lnTo>
                  <a:lnTo>
                    <a:pt x="352" y="73"/>
                  </a:lnTo>
                  <a:lnTo>
                    <a:pt x="357" y="73"/>
                  </a:lnTo>
                  <a:lnTo>
                    <a:pt x="357" y="73"/>
                  </a:lnTo>
                  <a:lnTo>
                    <a:pt x="371" y="73"/>
                  </a:lnTo>
                  <a:lnTo>
                    <a:pt x="371" y="73"/>
                  </a:lnTo>
                  <a:lnTo>
                    <a:pt x="375" y="73"/>
                  </a:lnTo>
                  <a:lnTo>
                    <a:pt x="380" y="73"/>
                  </a:lnTo>
                  <a:lnTo>
                    <a:pt x="380" y="73"/>
                  </a:lnTo>
                  <a:lnTo>
                    <a:pt x="380" y="73"/>
                  </a:lnTo>
                  <a:lnTo>
                    <a:pt x="384" y="73"/>
                  </a:lnTo>
                  <a:lnTo>
                    <a:pt x="403" y="73"/>
                  </a:lnTo>
                  <a:lnTo>
                    <a:pt x="403" y="73"/>
                  </a:lnTo>
                  <a:lnTo>
                    <a:pt x="403" y="78"/>
                  </a:lnTo>
                  <a:lnTo>
                    <a:pt x="412" y="73"/>
                  </a:lnTo>
                  <a:lnTo>
                    <a:pt x="412" y="78"/>
                  </a:lnTo>
                  <a:lnTo>
                    <a:pt x="416" y="78"/>
                  </a:lnTo>
                  <a:lnTo>
                    <a:pt x="426" y="78"/>
                  </a:lnTo>
                  <a:lnTo>
                    <a:pt x="426" y="82"/>
                  </a:lnTo>
                  <a:lnTo>
                    <a:pt x="430" y="78"/>
                  </a:lnTo>
                  <a:lnTo>
                    <a:pt x="435" y="82"/>
                  </a:lnTo>
                  <a:lnTo>
                    <a:pt x="439" y="82"/>
                  </a:lnTo>
                  <a:lnTo>
                    <a:pt x="444" y="82"/>
                  </a:lnTo>
                  <a:lnTo>
                    <a:pt x="448" y="78"/>
                  </a:lnTo>
                  <a:lnTo>
                    <a:pt x="453" y="78"/>
                  </a:lnTo>
                  <a:lnTo>
                    <a:pt x="458" y="78"/>
                  </a:lnTo>
                  <a:lnTo>
                    <a:pt x="462" y="78"/>
                  </a:lnTo>
                  <a:lnTo>
                    <a:pt x="467" y="78"/>
                  </a:lnTo>
                  <a:lnTo>
                    <a:pt x="467" y="78"/>
                  </a:lnTo>
                  <a:lnTo>
                    <a:pt x="476" y="78"/>
                  </a:lnTo>
                  <a:lnTo>
                    <a:pt x="480" y="78"/>
                  </a:lnTo>
                  <a:lnTo>
                    <a:pt x="480" y="78"/>
                  </a:lnTo>
                  <a:lnTo>
                    <a:pt x="503" y="82"/>
                  </a:lnTo>
                  <a:lnTo>
                    <a:pt x="512" y="82"/>
                  </a:lnTo>
                  <a:lnTo>
                    <a:pt x="517" y="82"/>
                  </a:lnTo>
                  <a:lnTo>
                    <a:pt x="526" y="82"/>
                  </a:lnTo>
                  <a:lnTo>
                    <a:pt x="526" y="82"/>
                  </a:lnTo>
                  <a:lnTo>
                    <a:pt x="535" y="82"/>
                  </a:lnTo>
                  <a:lnTo>
                    <a:pt x="540" y="82"/>
                  </a:lnTo>
                  <a:lnTo>
                    <a:pt x="540" y="82"/>
                  </a:lnTo>
                  <a:lnTo>
                    <a:pt x="540" y="91"/>
                  </a:lnTo>
                  <a:lnTo>
                    <a:pt x="567" y="87"/>
                  </a:lnTo>
                  <a:lnTo>
                    <a:pt x="576" y="87"/>
                  </a:lnTo>
                  <a:lnTo>
                    <a:pt x="581" y="87"/>
                  </a:lnTo>
                  <a:lnTo>
                    <a:pt x="581" y="87"/>
                  </a:lnTo>
                  <a:lnTo>
                    <a:pt x="590" y="87"/>
                  </a:lnTo>
                  <a:lnTo>
                    <a:pt x="599" y="87"/>
                  </a:lnTo>
                  <a:lnTo>
                    <a:pt x="604" y="87"/>
                  </a:lnTo>
                  <a:lnTo>
                    <a:pt x="604" y="87"/>
                  </a:lnTo>
                  <a:lnTo>
                    <a:pt x="613" y="87"/>
                  </a:lnTo>
                  <a:lnTo>
                    <a:pt x="618" y="87"/>
                  </a:lnTo>
                  <a:lnTo>
                    <a:pt x="622" y="87"/>
                  </a:lnTo>
                  <a:lnTo>
                    <a:pt x="636" y="87"/>
                  </a:lnTo>
                  <a:lnTo>
                    <a:pt x="645" y="87"/>
                  </a:lnTo>
                  <a:lnTo>
                    <a:pt x="645" y="82"/>
                  </a:lnTo>
                  <a:lnTo>
                    <a:pt x="645" y="82"/>
                  </a:lnTo>
                  <a:lnTo>
                    <a:pt x="650" y="78"/>
                  </a:lnTo>
                  <a:lnTo>
                    <a:pt x="654" y="73"/>
                  </a:lnTo>
                  <a:lnTo>
                    <a:pt x="654" y="68"/>
                  </a:lnTo>
                  <a:lnTo>
                    <a:pt x="659" y="68"/>
                  </a:lnTo>
                  <a:lnTo>
                    <a:pt x="663" y="59"/>
                  </a:lnTo>
                  <a:lnTo>
                    <a:pt x="668" y="50"/>
                  </a:lnTo>
                  <a:lnTo>
                    <a:pt x="668" y="46"/>
                  </a:lnTo>
                  <a:lnTo>
                    <a:pt x="668" y="41"/>
                  </a:lnTo>
                  <a:lnTo>
                    <a:pt x="668" y="41"/>
                  </a:lnTo>
                  <a:lnTo>
                    <a:pt x="672" y="41"/>
                  </a:lnTo>
                  <a:lnTo>
                    <a:pt x="677" y="36"/>
                  </a:lnTo>
                  <a:lnTo>
                    <a:pt x="682" y="32"/>
                  </a:lnTo>
                  <a:lnTo>
                    <a:pt x="686" y="32"/>
                  </a:lnTo>
                  <a:lnTo>
                    <a:pt x="691" y="27"/>
                  </a:lnTo>
                  <a:lnTo>
                    <a:pt x="691" y="27"/>
                  </a:lnTo>
                  <a:lnTo>
                    <a:pt x="695" y="23"/>
                  </a:lnTo>
                  <a:lnTo>
                    <a:pt x="700" y="23"/>
                  </a:lnTo>
                  <a:lnTo>
                    <a:pt x="704" y="23"/>
                  </a:lnTo>
                  <a:lnTo>
                    <a:pt x="714" y="18"/>
                  </a:lnTo>
                  <a:lnTo>
                    <a:pt x="723" y="18"/>
                  </a:lnTo>
                  <a:lnTo>
                    <a:pt x="727" y="18"/>
                  </a:lnTo>
                  <a:lnTo>
                    <a:pt x="736" y="18"/>
                  </a:lnTo>
                  <a:lnTo>
                    <a:pt x="736" y="14"/>
                  </a:lnTo>
                  <a:lnTo>
                    <a:pt x="741" y="14"/>
                  </a:lnTo>
                  <a:lnTo>
                    <a:pt x="746" y="9"/>
                  </a:lnTo>
                  <a:lnTo>
                    <a:pt x="750" y="9"/>
                  </a:lnTo>
                  <a:lnTo>
                    <a:pt x="755" y="0"/>
                  </a:lnTo>
                  <a:lnTo>
                    <a:pt x="759" y="0"/>
                  </a:lnTo>
                  <a:lnTo>
                    <a:pt x="768" y="0"/>
                  </a:lnTo>
                  <a:lnTo>
                    <a:pt x="773" y="0"/>
                  </a:lnTo>
                  <a:lnTo>
                    <a:pt x="778" y="0"/>
                  </a:lnTo>
                  <a:lnTo>
                    <a:pt x="778" y="0"/>
                  </a:lnTo>
                  <a:lnTo>
                    <a:pt x="782" y="4"/>
                  </a:lnTo>
                  <a:lnTo>
                    <a:pt x="782" y="9"/>
                  </a:lnTo>
                  <a:lnTo>
                    <a:pt x="787" y="14"/>
                  </a:lnTo>
                  <a:lnTo>
                    <a:pt x="787" y="18"/>
                  </a:lnTo>
                  <a:lnTo>
                    <a:pt x="791" y="32"/>
                  </a:lnTo>
                  <a:lnTo>
                    <a:pt x="796" y="41"/>
                  </a:lnTo>
                  <a:lnTo>
                    <a:pt x="800" y="55"/>
                  </a:lnTo>
                  <a:lnTo>
                    <a:pt x="796" y="64"/>
                  </a:lnTo>
                  <a:lnTo>
                    <a:pt x="800" y="68"/>
                  </a:lnTo>
                  <a:lnTo>
                    <a:pt x="800" y="73"/>
                  </a:lnTo>
                  <a:lnTo>
                    <a:pt x="800" y="78"/>
                  </a:lnTo>
                  <a:lnTo>
                    <a:pt x="800" y="82"/>
                  </a:lnTo>
                  <a:lnTo>
                    <a:pt x="805" y="87"/>
                  </a:lnTo>
                  <a:lnTo>
                    <a:pt x="810" y="87"/>
                  </a:lnTo>
                  <a:lnTo>
                    <a:pt x="814" y="87"/>
                  </a:lnTo>
                  <a:lnTo>
                    <a:pt x="819" y="87"/>
                  </a:lnTo>
                  <a:lnTo>
                    <a:pt x="823" y="87"/>
                  </a:lnTo>
                  <a:lnTo>
                    <a:pt x="823" y="82"/>
                  </a:lnTo>
                  <a:lnTo>
                    <a:pt x="823" y="82"/>
                  </a:lnTo>
                  <a:lnTo>
                    <a:pt x="828" y="82"/>
                  </a:lnTo>
                  <a:lnTo>
                    <a:pt x="832" y="78"/>
                  </a:lnTo>
                  <a:lnTo>
                    <a:pt x="837" y="78"/>
                  </a:lnTo>
                  <a:lnTo>
                    <a:pt x="842" y="82"/>
                  </a:lnTo>
                  <a:lnTo>
                    <a:pt x="846" y="82"/>
                  </a:lnTo>
                  <a:lnTo>
                    <a:pt x="846" y="87"/>
                  </a:lnTo>
                  <a:lnTo>
                    <a:pt x="855" y="87"/>
                  </a:lnTo>
                  <a:lnTo>
                    <a:pt x="864" y="87"/>
                  </a:lnTo>
                  <a:lnTo>
                    <a:pt x="869" y="87"/>
                  </a:lnTo>
                  <a:lnTo>
                    <a:pt x="878" y="87"/>
                  </a:lnTo>
                  <a:lnTo>
                    <a:pt x="892" y="87"/>
                  </a:lnTo>
                  <a:lnTo>
                    <a:pt x="896" y="87"/>
                  </a:lnTo>
                  <a:lnTo>
                    <a:pt x="901" y="87"/>
                  </a:lnTo>
                  <a:lnTo>
                    <a:pt x="906" y="91"/>
                  </a:lnTo>
                  <a:lnTo>
                    <a:pt x="910" y="96"/>
                  </a:lnTo>
                  <a:lnTo>
                    <a:pt x="910" y="110"/>
                  </a:lnTo>
                  <a:lnTo>
                    <a:pt x="910" y="123"/>
                  </a:lnTo>
                  <a:lnTo>
                    <a:pt x="915" y="137"/>
                  </a:lnTo>
                  <a:lnTo>
                    <a:pt x="915" y="151"/>
                  </a:lnTo>
                  <a:lnTo>
                    <a:pt x="919" y="174"/>
                  </a:lnTo>
                  <a:lnTo>
                    <a:pt x="924" y="187"/>
                  </a:lnTo>
                  <a:lnTo>
                    <a:pt x="919" y="196"/>
                  </a:lnTo>
                  <a:lnTo>
                    <a:pt x="919" y="196"/>
                  </a:lnTo>
                  <a:lnTo>
                    <a:pt x="915" y="201"/>
                  </a:lnTo>
                  <a:lnTo>
                    <a:pt x="910" y="201"/>
                  </a:lnTo>
                  <a:lnTo>
                    <a:pt x="910" y="206"/>
                  </a:lnTo>
                  <a:lnTo>
                    <a:pt x="910" y="206"/>
                  </a:lnTo>
                  <a:lnTo>
                    <a:pt x="906" y="210"/>
                  </a:lnTo>
                  <a:lnTo>
                    <a:pt x="896" y="215"/>
                  </a:lnTo>
                  <a:lnTo>
                    <a:pt x="887" y="219"/>
                  </a:lnTo>
                  <a:lnTo>
                    <a:pt x="887" y="219"/>
                  </a:lnTo>
                  <a:lnTo>
                    <a:pt x="883" y="219"/>
                  </a:lnTo>
                  <a:lnTo>
                    <a:pt x="883" y="224"/>
                  </a:lnTo>
                  <a:lnTo>
                    <a:pt x="878" y="224"/>
                  </a:lnTo>
                  <a:lnTo>
                    <a:pt x="878" y="228"/>
                  </a:lnTo>
                  <a:lnTo>
                    <a:pt x="874" y="228"/>
                  </a:lnTo>
                  <a:lnTo>
                    <a:pt x="874" y="233"/>
                  </a:lnTo>
                  <a:lnTo>
                    <a:pt x="869" y="233"/>
                  </a:lnTo>
                  <a:lnTo>
                    <a:pt x="864" y="233"/>
                  </a:lnTo>
                  <a:lnTo>
                    <a:pt x="864" y="233"/>
                  </a:lnTo>
                  <a:lnTo>
                    <a:pt x="860" y="228"/>
                  </a:lnTo>
                  <a:lnTo>
                    <a:pt x="855" y="224"/>
                  </a:lnTo>
                  <a:lnTo>
                    <a:pt x="851" y="224"/>
                  </a:lnTo>
                  <a:lnTo>
                    <a:pt x="846" y="224"/>
                  </a:lnTo>
                  <a:lnTo>
                    <a:pt x="837" y="228"/>
                  </a:lnTo>
                  <a:lnTo>
                    <a:pt x="832" y="228"/>
                  </a:lnTo>
                  <a:lnTo>
                    <a:pt x="823" y="228"/>
                  </a:lnTo>
                  <a:lnTo>
                    <a:pt x="814" y="233"/>
                  </a:lnTo>
                  <a:lnTo>
                    <a:pt x="810" y="233"/>
                  </a:lnTo>
                  <a:lnTo>
                    <a:pt x="805" y="233"/>
                  </a:lnTo>
                  <a:lnTo>
                    <a:pt x="800" y="238"/>
                  </a:lnTo>
                  <a:lnTo>
                    <a:pt x="796" y="238"/>
                  </a:lnTo>
                  <a:lnTo>
                    <a:pt x="796" y="238"/>
                  </a:lnTo>
                  <a:lnTo>
                    <a:pt x="791" y="242"/>
                  </a:lnTo>
                  <a:lnTo>
                    <a:pt x="787" y="242"/>
                  </a:lnTo>
                  <a:lnTo>
                    <a:pt x="787" y="247"/>
                  </a:lnTo>
                  <a:lnTo>
                    <a:pt x="782" y="247"/>
                  </a:lnTo>
                  <a:lnTo>
                    <a:pt x="778" y="251"/>
                  </a:lnTo>
                  <a:lnTo>
                    <a:pt x="778" y="256"/>
                  </a:lnTo>
                  <a:lnTo>
                    <a:pt x="778" y="260"/>
                  </a:lnTo>
                  <a:lnTo>
                    <a:pt x="778" y="260"/>
                  </a:lnTo>
                  <a:lnTo>
                    <a:pt x="773" y="265"/>
                  </a:lnTo>
                  <a:close/>
                </a:path>
              </a:pathLst>
            </a:custGeom>
            <a:solidFill>
              <a:srgbClr val="FFC000"/>
            </a:solidFill>
            <a:ln w="9525" cmpd="sng">
              <a:solidFill>
                <a:sysClr val="window" lastClr="FFFFFF">
                  <a:lumMod val="65000"/>
                </a:sysClr>
              </a:solidFill>
              <a:miter lim="800000"/>
              <a:headEnd/>
              <a:tailEnd/>
            </a:ln>
            <a:effectLst/>
          </p:spPr>
          <p:txBody>
            <a:bodyP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Jigawa</a:t>
              </a:r>
            </a:p>
          </p:txBody>
        </p:sp>
        <p:sp>
          <p:nvSpPr>
            <p:cNvPr id="142" name="Freeform 61">
              <a:extLst>
                <a:ext uri="{FF2B5EF4-FFF2-40B4-BE49-F238E27FC236}">
                  <a16:creationId xmlns:a16="http://schemas.microsoft.com/office/drawing/2014/main" id="{074088FB-17C5-4D4B-9CA4-7C04EEFC9322}"/>
                </a:ext>
              </a:extLst>
            </p:cNvPr>
            <p:cNvSpPr>
              <a:spLocks/>
            </p:cNvSpPr>
            <p:nvPr>
              <p:custDataLst>
                <p:tags r:id="rId54"/>
              </p:custDataLst>
            </p:nvPr>
          </p:nvSpPr>
          <p:spPr bwMode="auto">
            <a:xfrm>
              <a:off x="1272425" y="1726656"/>
              <a:ext cx="893694" cy="960918"/>
            </a:xfrm>
            <a:custGeom>
              <a:avLst/>
              <a:gdLst/>
              <a:ahLst/>
              <a:cxnLst>
                <a:cxn ang="0">
                  <a:pos x="686" y="819"/>
                </a:cxn>
                <a:cxn ang="0">
                  <a:pos x="627" y="823"/>
                </a:cxn>
                <a:cxn ang="0">
                  <a:pos x="563" y="800"/>
                </a:cxn>
                <a:cxn ang="0">
                  <a:pos x="453" y="828"/>
                </a:cxn>
                <a:cxn ang="0">
                  <a:pos x="430" y="791"/>
                </a:cxn>
                <a:cxn ang="0">
                  <a:pos x="457" y="741"/>
                </a:cxn>
                <a:cxn ang="0">
                  <a:pos x="462" y="704"/>
                </a:cxn>
                <a:cxn ang="0">
                  <a:pos x="444" y="672"/>
                </a:cxn>
                <a:cxn ang="0">
                  <a:pos x="457" y="645"/>
                </a:cxn>
                <a:cxn ang="0">
                  <a:pos x="453" y="567"/>
                </a:cxn>
                <a:cxn ang="0">
                  <a:pos x="371" y="558"/>
                </a:cxn>
                <a:cxn ang="0">
                  <a:pos x="307" y="535"/>
                </a:cxn>
                <a:cxn ang="0">
                  <a:pos x="334" y="494"/>
                </a:cxn>
                <a:cxn ang="0">
                  <a:pos x="357" y="444"/>
                </a:cxn>
                <a:cxn ang="0">
                  <a:pos x="325" y="403"/>
                </a:cxn>
                <a:cxn ang="0">
                  <a:pos x="284" y="362"/>
                </a:cxn>
                <a:cxn ang="0">
                  <a:pos x="247" y="325"/>
                </a:cxn>
                <a:cxn ang="0">
                  <a:pos x="197" y="362"/>
                </a:cxn>
                <a:cxn ang="0">
                  <a:pos x="147" y="339"/>
                </a:cxn>
                <a:cxn ang="0">
                  <a:pos x="96" y="380"/>
                </a:cxn>
                <a:cxn ang="0">
                  <a:pos x="64" y="412"/>
                </a:cxn>
                <a:cxn ang="0">
                  <a:pos x="19" y="412"/>
                </a:cxn>
                <a:cxn ang="0">
                  <a:pos x="5" y="371"/>
                </a:cxn>
                <a:cxn ang="0">
                  <a:pos x="5" y="302"/>
                </a:cxn>
                <a:cxn ang="0">
                  <a:pos x="32" y="243"/>
                </a:cxn>
                <a:cxn ang="0">
                  <a:pos x="78" y="202"/>
                </a:cxn>
                <a:cxn ang="0">
                  <a:pos x="160" y="183"/>
                </a:cxn>
                <a:cxn ang="0">
                  <a:pos x="238" y="151"/>
                </a:cxn>
                <a:cxn ang="0">
                  <a:pos x="270" y="87"/>
                </a:cxn>
                <a:cxn ang="0">
                  <a:pos x="316" y="55"/>
                </a:cxn>
                <a:cxn ang="0">
                  <a:pos x="334" y="106"/>
                </a:cxn>
                <a:cxn ang="0">
                  <a:pos x="384" y="133"/>
                </a:cxn>
                <a:cxn ang="0">
                  <a:pos x="416" y="96"/>
                </a:cxn>
                <a:cxn ang="0">
                  <a:pos x="480" y="69"/>
                </a:cxn>
                <a:cxn ang="0">
                  <a:pos x="540" y="55"/>
                </a:cxn>
                <a:cxn ang="0">
                  <a:pos x="572" y="119"/>
                </a:cxn>
                <a:cxn ang="0">
                  <a:pos x="622" y="87"/>
                </a:cxn>
                <a:cxn ang="0">
                  <a:pos x="677" y="51"/>
                </a:cxn>
                <a:cxn ang="0">
                  <a:pos x="755" y="10"/>
                </a:cxn>
                <a:cxn ang="0">
                  <a:pos x="777" y="55"/>
                </a:cxn>
                <a:cxn ang="0">
                  <a:pos x="828" y="83"/>
                </a:cxn>
                <a:cxn ang="0">
                  <a:pos x="896" y="124"/>
                </a:cxn>
                <a:cxn ang="0">
                  <a:pos x="933" y="165"/>
                </a:cxn>
                <a:cxn ang="0">
                  <a:pos x="942" y="206"/>
                </a:cxn>
                <a:cxn ang="0">
                  <a:pos x="942" y="307"/>
                </a:cxn>
                <a:cxn ang="0">
                  <a:pos x="965" y="343"/>
                </a:cxn>
                <a:cxn ang="0">
                  <a:pos x="1006" y="371"/>
                </a:cxn>
                <a:cxn ang="0">
                  <a:pos x="1024" y="462"/>
                </a:cxn>
                <a:cxn ang="0">
                  <a:pos x="983" y="517"/>
                </a:cxn>
                <a:cxn ang="0">
                  <a:pos x="974" y="604"/>
                </a:cxn>
                <a:cxn ang="0">
                  <a:pos x="960" y="695"/>
                </a:cxn>
                <a:cxn ang="0">
                  <a:pos x="947" y="782"/>
                </a:cxn>
                <a:cxn ang="0">
                  <a:pos x="992" y="823"/>
                </a:cxn>
                <a:cxn ang="0">
                  <a:pos x="974" y="883"/>
                </a:cxn>
                <a:cxn ang="0">
                  <a:pos x="947" y="942"/>
                </a:cxn>
                <a:cxn ang="0">
                  <a:pos x="887" y="933"/>
                </a:cxn>
                <a:cxn ang="0">
                  <a:pos x="823" y="906"/>
                </a:cxn>
                <a:cxn ang="0">
                  <a:pos x="787" y="947"/>
                </a:cxn>
                <a:cxn ang="0">
                  <a:pos x="764" y="883"/>
                </a:cxn>
                <a:cxn ang="0">
                  <a:pos x="736" y="823"/>
                </a:cxn>
              </a:cxnLst>
              <a:rect l="0" t="0" r="r" b="b"/>
              <a:pathLst>
                <a:path w="1024" h="951">
                  <a:moveTo>
                    <a:pt x="732" y="819"/>
                  </a:moveTo>
                  <a:lnTo>
                    <a:pt x="727" y="819"/>
                  </a:lnTo>
                  <a:lnTo>
                    <a:pt x="727" y="814"/>
                  </a:lnTo>
                  <a:lnTo>
                    <a:pt x="723" y="810"/>
                  </a:lnTo>
                  <a:lnTo>
                    <a:pt x="723" y="810"/>
                  </a:lnTo>
                  <a:lnTo>
                    <a:pt x="723" y="805"/>
                  </a:lnTo>
                  <a:lnTo>
                    <a:pt x="718" y="805"/>
                  </a:lnTo>
                  <a:lnTo>
                    <a:pt x="709" y="805"/>
                  </a:lnTo>
                  <a:lnTo>
                    <a:pt x="704" y="805"/>
                  </a:lnTo>
                  <a:lnTo>
                    <a:pt x="700" y="810"/>
                  </a:lnTo>
                  <a:lnTo>
                    <a:pt x="700" y="810"/>
                  </a:lnTo>
                  <a:lnTo>
                    <a:pt x="691" y="810"/>
                  </a:lnTo>
                  <a:lnTo>
                    <a:pt x="691" y="814"/>
                  </a:lnTo>
                  <a:lnTo>
                    <a:pt x="686" y="814"/>
                  </a:lnTo>
                  <a:lnTo>
                    <a:pt x="686" y="819"/>
                  </a:lnTo>
                  <a:lnTo>
                    <a:pt x="681" y="819"/>
                  </a:lnTo>
                  <a:lnTo>
                    <a:pt x="681" y="823"/>
                  </a:lnTo>
                  <a:lnTo>
                    <a:pt x="677" y="823"/>
                  </a:lnTo>
                  <a:lnTo>
                    <a:pt x="677" y="828"/>
                  </a:lnTo>
                  <a:lnTo>
                    <a:pt x="668" y="832"/>
                  </a:lnTo>
                  <a:lnTo>
                    <a:pt x="659" y="837"/>
                  </a:lnTo>
                  <a:lnTo>
                    <a:pt x="654" y="837"/>
                  </a:lnTo>
                  <a:lnTo>
                    <a:pt x="654" y="832"/>
                  </a:lnTo>
                  <a:lnTo>
                    <a:pt x="645" y="832"/>
                  </a:lnTo>
                  <a:lnTo>
                    <a:pt x="645" y="828"/>
                  </a:lnTo>
                  <a:lnTo>
                    <a:pt x="640" y="828"/>
                  </a:lnTo>
                  <a:lnTo>
                    <a:pt x="636" y="823"/>
                  </a:lnTo>
                  <a:lnTo>
                    <a:pt x="631" y="823"/>
                  </a:lnTo>
                  <a:lnTo>
                    <a:pt x="631" y="823"/>
                  </a:lnTo>
                  <a:lnTo>
                    <a:pt x="627" y="823"/>
                  </a:lnTo>
                  <a:lnTo>
                    <a:pt x="622" y="828"/>
                  </a:lnTo>
                  <a:lnTo>
                    <a:pt x="617" y="823"/>
                  </a:lnTo>
                  <a:lnTo>
                    <a:pt x="617" y="823"/>
                  </a:lnTo>
                  <a:lnTo>
                    <a:pt x="617" y="819"/>
                  </a:lnTo>
                  <a:lnTo>
                    <a:pt x="613" y="814"/>
                  </a:lnTo>
                  <a:lnTo>
                    <a:pt x="613" y="814"/>
                  </a:lnTo>
                  <a:lnTo>
                    <a:pt x="608" y="814"/>
                  </a:lnTo>
                  <a:lnTo>
                    <a:pt x="604" y="814"/>
                  </a:lnTo>
                  <a:lnTo>
                    <a:pt x="599" y="814"/>
                  </a:lnTo>
                  <a:lnTo>
                    <a:pt x="599" y="819"/>
                  </a:lnTo>
                  <a:lnTo>
                    <a:pt x="595" y="819"/>
                  </a:lnTo>
                  <a:lnTo>
                    <a:pt x="590" y="819"/>
                  </a:lnTo>
                  <a:lnTo>
                    <a:pt x="590" y="819"/>
                  </a:lnTo>
                  <a:lnTo>
                    <a:pt x="585" y="823"/>
                  </a:lnTo>
                  <a:lnTo>
                    <a:pt x="563" y="800"/>
                  </a:lnTo>
                  <a:lnTo>
                    <a:pt x="540" y="819"/>
                  </a:lnTo>
                  <a:lnTo>
                    <a:pt x="526" y="823"/>
                  </a:lnTo>
                  <a:lnTo>
                    <a:pt x="517" y="819"/>
                  </a:lnTo>
                  <a:lnTo>
                    <a:pt x="499" y="823"/>
                  </a:lnTo>
                  <a:lnTo>
                    <a:pt x="499" y="819"/>
                  </a:lnTo>
                  <a:lnTo>
                    <a:pt x="489" y="819"/>
                  </a:lnTo>
                  <a:lnTo>
                    <a:pt x="485" y="819"/>
                  </a:lnTo>
                  <a:lnTo>
                    <a:pt x="480" y="819"/>
                  </a:lnTo>
                  <a:lnTo>
                    <a:pt x="480" y="823"/>
                  </a:lnTo>
                  <a:lnTo>
                    <a:pt x="480" y="823"/>
                  </a:lnTo>
                  <a:lnTo>
                    <a:pt x="476" y="823"/>
                  </a:lnTo>
                  <a:lnTo>
                    <a:pt x="471" y="823"/>
                  </a:lnTo>
                  <a:lnTo>
                    <a:pt x="462" y="823"/>
                  </a:lnTo>
                  <a:lnTo>
                    <a:pt x="457" y="828"/>
                  </a:lnTo>
                  <a:lnTo>
                    <a:pt x="453" y="828"/>
                  </a:lnTo>
                  <a:lnTo>
                    <a:pt x="448" y="828"/>
                  </a:lnTo>
                  <a:lnTo>
                    <a:pt x="444" y="823"/>
                  </a:lnTo>
                  <a:lnTo>
                    <a:pt x="439" y="823"/>
                  </a:lnTo>
                  <a:lnTo>
                    <a:pt x="439" y="819"/>
                  </a:lnTo>
                  <a:lnTo>
                    <a:pt x="444" y="819"/>
                  </a:lnTo>
                  <a:lnTo>
                    <a:pt x="444" y="814"/>
                  </a:lnTo>
                  <a:lnTo>
                    <a:pt x="453" y="805"/>
                  </a:lnTo>
                  <a:lnTo>
                    <a:pt x="453" y="800"/>
                  </a:lnTo>
                  <a:lnTo>
                    <a:pt x="453" y="800"/>
                  </a:lnTo>
                  <a:lnTo>
                    <a:pt x="448" y="796"/>
                  </a:lnTo>
                  <a:lnTo>
                    <a:pt x="444" y="796"/>
                  </a:lnTo>
                  <a:lnTo>
                    <a:pt x="435" y="800"/>
                  </a:lnTo>
                  <a:lnTo>
                    <a:pt x="435" y="800"/>
                  </a:lnTo>
                  <a:lnTo>
                    <a:pt x="430" y="796"/>
                  </a:lnTo>
                  <a:lnTo>
                    <a:pt x="430" y="791"/>
                  </a:lnTo>
                  <a:lnTo>
                    <a:pt x="425" y="787"/>
                  </a:lnTo>
                  <a:lnTo>
                    <a:pt x="425" y="782"/>
                  </a:lnTo>
                  <a:lnTo>
                    <a:pt x="425" y="778"/>
                  </a:lnTo>
                  <a:lnTo>
                    <a:pt x="425" y="773"/>
                  </a:lnTo>
                  <a:lnTo>
                    <a:pt x="430" y="768"/>
                  </a:lnTo>
                  <a:lnTo>
                    <a:pt x="430" y="764"/>
                  </a:lnTo>
                  <a:lnTo>
                    <a:pt x="435" y="764"/>
                  </a:lnTo>
                  <a:lnTo>
                    <a:pt x="435" y="759"/>
                  </a:lnTo>
                  <a:lnTo>
                    <a:pt x="435" y="759"/>
                  </a:lnTo>
                  <a:lnTo>
                    <a:pt x="439" y="755"/>
                  </a:lnTo>
                  <a:lnTo>
                    <a:pt x="444" y="755"/>
                  </a:lnTo>
                  <a:lnTo>
                    <a:pt x="448" y="755"/>
                  </a:lnTo>
                  <a:lnTo>
                    <a:pt x="448" y="750"/>
                  </a:lnTo>
                  <a:lnTo>
                    <a:pt x="453" y="746"/>
                  </a:lnTo>
                  <a:lnTo>
                    <a:pt x="457" y="741"/>
                  </a:lnTo>
                  <a:lnTo>
                    <a:pt x="457" y="736"/>
                  </a:lnTo>
                  <a:lnTo>
                    <a:pt x="457" y="732"/>
                  </a:lnTo>
                  <a:lnTo>
                    <a:pt x="457" y="732"/>
                  </a:lnTo>
                  <a:lnTo>
                    <a:pt x="462" y="727"/>
                  </a:lnTo>
                  <a:lnTo>
                    <a:pt x="462" y="723"/>
                  </a:lnTo>
                  <a:lnTo>
                    <a:pt x="467" y="723"/>
                  </a:lnTo>
                  <a:lnTo>
                    <a:pt x="467" y="718"/>
                  </a:lnTo>
                  <a:lnTo>
                    <a:pt x="471" y="718"/>
                  </a:lnTo>
                  <a:lnTo>
                    <a:pt x="476" y="714"/>
                  </a:lnTo>
                  <a:lnTo>
                    <a:pt x="476" y="714"/>
                  </a:lnTo>
                  <a:lnTo>
                    <a:pt x="471" y="714"/>
                  </a:lnTo>
                  <a:lnTo>
                    <a:pt x="471" y="709"/>
                  </a:lnTo>
                  <a:lnTo>
                    <a:pt x="467" y="709"/>
                  </a:lnTo>
                  <a:lnTo>
                    <a:pt x="462" y="709"/>
                  </a:lnTo>
                  <a:lnTo>
                    <a:pt x="462" y="704"/>
                  </a:lnTo>
                  <a:lnTo>
                    <a:pt x="457" y="704"/>
                  </a:lnTo>
                  <a:lnTo>
                    <a:pt x="457" y="700"/>
                  </a:lnTo>
                  <a:lnTo>
                    <a:pt x="457" y="700"/>
                  </a:lnTo>
                  <a:lnTo>
                    <a:pt x="453" y="700"/>
                  </a:lnTo>
                  <a:lnTo>
                    <a:pt x="448" y="695"/>
                  </a:lnTo>
                  <a:lnTo>
                    <a:pt x="448" y="691"/>
                  </a:lnTo>
                  <a:lnTo>
                    <a:pt x="448" y="691"/>
                  </a:lnTo>
                  <a:lnTo>
                    <a:pt x="453" y="686"/>
                  </a:lnTo>
                  <a:lnTo>
                    <a:pt x="453" y="682"/>
                  </a:lnTo>
                  <a:lnTo>
                    <a:pt x="457" y="682"/>
                  </a:lnTo>
                  <a:lnTo>
                    <a:pt x="457" y="677"/>
                  </a:lnTo>
                  <a:lnTo>
                    <a:pt x="453" y="677"/>
                  </a:lnTo>
                  <a:lnTo>
                    <a:pt x="453" y="672"/>
                  </a:lnTo>
                  <a:lnTo>
                    <a:pt x="448" y="672"/>
                  </a:lnTo>
                  <a:lnTo>
                    <a:pt x="444" y="672"/>
                  </a:lnTo>
                  <a:lnTo>
                    <a:pt x="439" y="672"/>
                  </a:lnTo>
                  <a:lnTo>
                    <a:pt x="435" y="672"/>
                  </a:lnTo>
                  <a:lnTo>
                    <a:pt x="435" y="672"/>
                  </a:lnTo>
                  <a:lnTo>
                    <a:pt x="430" y="668"/>
                  </a:lnTo>
                  <a:lnTo>
                    <a:pt x="425" y="668"/>
                  </a:lnTo>
                  <a:lnTo>
                    <a:pt x="425" y="663"/>
                  </a:lnTo>
                  <a:lnTo>
                    <a:pt x="430" y="663"/>
                  </a:lnTo>
                  <a:lnTo>
                    <a:pt x="430" y="659"/>
                  </a:lnTo>
                  <a:lnTo>
                    <a:pt x="435" y="659"/>
                  </a:lnTo>
                  <a:lnTo>
                    <a:pt x="435" y="654"/>
                  </a:lnTo>
                  <a:lnTo>
                    <a:pt x="439" y="654"/>
                  </a:lnTo>
                  <a:lnTo>
                    <a:pt x="444" y="650"/>
                  </a:lnTo>
                  <a:lnTo>
                    <a:pt x="448" y="650"/>
                  </a:lnTo>
                  <a:lnTo>
                    <a:pt x="453" y="645"/>
                  </a:lnTo>
                  <a:lnTo>
                    <a:pt x="457" y="645"/>
                  </a:lnTo>
                  <a:lnTo>
                    <a:pt x="457" y="640"/>
                  </a:lnTo>
                  <a:lnTo>
                    <a:pt x="457" y="636"/>
                  </a:lnTo>
                  <a:lnTo>
                    <a:pt x="457" y="627"/>
                  </a:lnTo>
                  <a:lnTo>
                    <a:pt x="457" y="618"/>
                  </a:lnTo>
                  <a:lnTo>
                    <a:pt x="457" y="618"/>
                  </a:lnTo>
                  <a:lnTo>
                    <a:pt x="457" y="613"/>
                  </a:lnTo>
                  <a:lnTo>
                    <a:pt x="457" y="604"/>
                  </a:lnTo>
                  <a:lnTo>
                    <a:pt x="453" y="599"/>
                  </a:lnTo>
                  <a:lnTo>
                    <a:pt x="453" y="595"/>
                  </a:lnTo>
                  <a:lnTo>
                    <a:pt x="453" y="590"/>
                  </a:lnTo>
                  <a:lnTo>
                    <a:pt x="457" y="581"/>
                  </a:lnTo>
                  <a:lnTo>
                    <a:pt x="457" y="576"/>
                  </a:lnTo>
                  <a:lnTo>
                    <a:pt x="457" y="572"/>
                  </a:lnTo>
                  <a:lnTo>
                    <a:pt x="457" y="567"/>
                  </a:lnTo>
                  <a:lnTo>
                    <a:pt x="453" y="567"/>
                  </a:lnTo>
                  <a:lnTo>
                    <a:pt x="453" y="563"/>
                  </a:lnTo>
                  <a:lnTo>
                    <a:pt x="448" y="558"/>
                  </a:lnTo>
                  <a:lnTo>
                    <a:pt x="444" y="558"/>
                  </a:lnTo>
                  <a:lnTo>
                    <a:pt x="439" y="558"/>
                  </a:lnTo>
                  <a:lnTo>
                    <a:pt x="435" y="558"/>
                  </a:lnTo>
                  <a:lnTo>
                    <a:pt x="425" y="558"/>
                  </a:lnTo>
                  <a:lnTo>
                    <a:pt x="416" y="558"/>
                  </a:lnTo>
                  <a:lnTo>
                    <a:pt x="416" y="558"/>
                  </a:lnTo>
                  <a:lnTo>
                    <a:pt x="412" y="558"/>
                  </a:lnTo>
                  <a:lnTo>
                    <a:pt x="403" y="563"/>
                  </a:lnTo>
                  <a:lnTo>
                    <a:pt x="393" y="563"/>
                  </a:lnTo>
                  <a:lnTo>
                    <a:pt x="389" y="563"/>
                  </a:lnTo>
                  <a:lnTo>
                    <a:pt x="384" y="558"/>
                  </a:lnTo>
                  <a:lnTo>
                    <a:pt x="375" y="558"/>
                  </a:lnTo>
                  <a:lnTo>
                    <a:pt x="371" y="558"/>
                  </a:lnTo>
                  <a:lnTo>
                    <a:pt x="371" y="558"/>
                  </a:lnTo>
                  <a:lnTo>
                    <a:pt x="366" y="558"/>
                  </a:lnTo>
                  <a:lnTo>
                    <a:pt x="357" y="554"/>
                  </a:lnTo>
                  <a:lnTo>
                    <a:pt x="352" y="554"/>
                  </a:lnTo>
                  <a:lnTo>
                    <a:pt x="348" y="554"/>
                  </a:lnTo>
                  <a:lnTo>
                    <a:pt x="348" y="554"/>
                  </a:lnTo>
                  <a:lnTo>
                    <a:pt x="343" y="554"/>
                  </a:lnTo>
                  <a:lnTo>
                    <a:pt x="339" y="554"/>
                  </a:lnTo>
                  <a:lnTo>
                    <a:pt x="334" y="554"/>
                  </a:lnTo>
                  <a:lnTo>
                    <a:pt x="329" y="549"/>
                  </a:lnTo>
                  <a:lnTo>
                    <a:pt x="325" y="544"/>
                  </a:lnTo>
                  <a:lnTo>
                    <a:pt x="316" y="535"/>
                  </a:lnTo>
                  <a:lnTo>
                    <a:pt x="311" y="535"/>
                  </a:lnTo>
                  <a:lnTo>
                    <a:pt x="311" y="535"/>
                  </a:lnTo>
                  <a:lnTo>
                    <a:pt x="307" y="535"/>
                  </a:lnTo>
                  <a:lnTo>
                    <a:pt x="307" y="526"/>
                  </a:lnTo>
                  <a:lnTo>
                    <a:pt x="307" y="522"/>
                  </a:lnTo>
                  <a:lnTo>
                    <a:pt x="307" y="517"/>
                  </a:lnTo>
                  <a:lnTo>
                    <a:pt x="307" y="512"/>
                  </a:lnTo>
                  <a:lnTo>
                    <a:pt x="311" y="512"/>
                  </a:lnTo>
                  <a:lnTo>
                    <a:pt x="311" y="512"/>
                  </a:lnTo>
                  <a:lnTo>
                    <a:pt x="316" y="512"/>
                  </a:lnTo>
                  <a:lnTo>
                    <a:pt x="320" y="508"/>
                  </a:lnTo>
                  <a:lnTo>
                    <a:pt x="320" y="503"/>
                  </a:lnTo>
                  <a:lnTo>
                    <a:pt x="325" y="503"/>
                  </a:lnTo>
                  <a:lnTo>
                    <a:pt x="325" y="499"/>
                  </a:lnTo>
                  <a:lnTo>
                    <a:pt x="325" y="499"/>
                  </a:lnTo>
                  <a:lnTo>
                    <a:pt x="325" y="494"/>
                  </a:lnTo>
                  <a:lnTo>
                    <a:pt x="329" y="494"/>
                  </a:lnTo>
                  <a:lnTo>
                    <a:pt x="334" y="494"/>
                  </a:lnTo>
                  <a:lnTo>
                    <a:pt x="334" y="490"/>
                  </a:lnTo>
                  <a:lnTo>
                    <a:pt x="343" y="480"/>
                  </a:lnTo>
                  <a:lnTo>
                    <a:pt x="348" y="480"/>
                  </a:lnTo>
                  <a:lnTo>
                    <a:pt x="348" y="476"/>
                  </a:lnTo>
                  <a:lnTo>
                    <a:pt x="352" y="476"/>
                  </a:lnTo>
                  <a:lnTo>
                    <a:pt x="352" y="471"/>
                  </a:lnTo>
                  <a:lnTo>
                    <a:pt x="361" y="471"/>
                  </a:lnTo>
                  <a:lnTo>
                    <a:pt x="361" y="467"/>
                  </a:lnTo>
                  <a:lnTo>
                    <a:pt x="361" y="462"/>
                  </a:lnTo>
                  <a:lnTo>
                    <a:pt x="366" y="458"/>
                  </a:lnTo>
                  <a:lnTo>
                    <a:pt x="366" y="453"/>
                  </a:lnTo>
                  <a:lnTo>
                    <a:pt x="366" y="448"/>
                  </a:lnTo>
                  <a:lnTo>
                    <a:pt x="361" y="448"/>
                  </a:lnTo>
                  <a:lnTo>
                    <a:pt x="361" y="448"/>
                  </a:lnTo>
                  <a:lnTo>
                    <a:pt x="357" y="444"/>
                  </a:lnTo>
                  <a:lnTo>
                    <a:pt x="352" y="439"/>
                  </a:lnTo>
                  <a:lnTo>
                    <a:pt x="348" y="435"/>
                  </a:lnTo>
                  <a:lnTo>
                    <a:pt x="348" y="435"/>
                  </a:lnTo>
                  <a:lnTo>
                    <a:pt x="343" y="435"/>
                  </a:lnTo>
                  <a:lnTo>
                    <a:pt x="334" y="435"/>
                  </a:lnTo>
                  <a:lnTo>
                    <a:pt x="329" y="435"/>
                  </a:lnTo>
                  <a:lnTo>
                    <a:pt x="325" y="435"/>
                  </a:lnTo>
                  <a:lnTo>
                    <a:pt x="320" y="430"/>
                  </a:lnTo>
                  <a:lnTo>
                    <a:pt x="316" y="426"/>
                  </a:lnTo>
                  <a:lnTo>
                    <a:pt x="316" y="426"/>
                  </a:lnTo>
                  <a:lnTo>
                    <a:pt x="320" y="416"/>
                  </a:lnTo>
                  <a:lnTo>
                    <a:pt x="320" y="412"/>
                  </a:lnTo>
                  <a:lnTo>
                    <a:pt x="320" y="407"/>
                  </a:lnTo>
                  <a:lnTo>
                    <a:pt x="325" y="403"/>
                  </a:lnTo>
                  <a:lnTo>
                    <a:pt x="325" y="403"/>
                  </a:lnTo>
                  <a:lnTo>
                    <a:pt x="325" y="398"/>
                  </a:lnTo>
                  <a:lnTo>
                    <a:pt x="325" y="394"/>
                  </a:lnTo>
                  <a:lnTo>
                    <a:pt x="325" y="384"/>
                  </a:lnTo>
                  <a:lnTo>
                    <a:pt x="320" y="380"/>
                  </a:lnTo>
                  <a:lnTo>
                    <a:pt x="316" y="375"/>
                  </a:lnTo>
                  <a:lnTo>
                    <a:pt x="316" y="371"/>
                  </a:lnTo>
                  <a:lnTo>
                    <a:pt x="311" y="371"/>
                  </a:lnTo>
                  <a:lnTo>
                    <a:pt x="307" y="371"/>
                  </a:lnTo>
                  <a:lnTo>
                    <a:pt x="307" y="371"/>
                  </a:lnTo>
                  <a:lnTo>
                    <a:pt x="293" y="371"/>
                  </a:lnTo>
                  <a:lnTo>
                    <a:pt x="288" y="371"/>
                  </a:lnTo>
                  <a:lnTo>
                    <a:pt x="284" y="371"/>
                  </a:lnTo>
                  <a:lnTo>
                    <a:pt x="284" y="366"/>
                  </a:lnTo>
                  <a:lnTo>
                    <a:pt x="284" y="362"/>
                  </a:lnTo>
                  <a:lnTo>
                    <a:pt x="284" y="362"/>
                  </a:lnTo>
                  <a:lnTo>
                    <a:pt x="284" y="362"/>
                  </a:lnTo>
                  <a:lnTo>
                    <a:pt x="284" y="357"/>
                  </a:lnTo>
                  <a:lnTo>
                    <a:pt x="284" y="352"/>
                  </a:lnTo>
                  <a:lnTo>
                    <a:pt x="288" y="348"/>
                  </a:lnTo>
                  <a:lnTo>
                    <a:pt x="288" y="343"/>
                  </a:lnTo>
                  <a:lnTo>
                    <a:pt x="284" y="339"/>
                  </a:lnTo>
                  <a:lnTo>
                    <a:pt x="284" y="339"/>
                  </a:lnTo>
                  <a:lnTo>
                    <a:pt x="284" y="339"/>
                  </a:lnTo>
                  <a:lnTo>
                    <a:pt x="284" y="334"/>
                  </a:lnTo>
                  <a:lnTo>
                    <a:pt x="279" y="330"/>
                  </a:lnTo>
                  <a:lnTo>
                    <a:pt x="270" y="330"/>
                  </a:lnTo>
                  <a:lnTo>
                    <a:pt x="261" y="325"/>
                  </a:lnTo>
                  <a:lnTo>
                    <a:pt x="256" y="325"/>
                  </a:lnTo>
                  <a:lnTo>
                    <a:pt x="252" y="325"/>
                  </a:lnTo>
                  <a:lnTo>
                    <a:pt x="247" y="325"/>
                  </a:lnTo>
                  <a:lnTo>
                    <a:pt x="243" y="330"/>
                  </a:lnTo>
                  <a:lnTo>
                    <a:pt x="238" y="330"/>
                  </a:lnTo>
                  <a:lnTo>
                    <a:pt x="238" y="334"/>
                  </a:lnTo>
                  <a:lnTo>
                    <a:pt x="238" y="339"/>
                  </a:lnTo>
                  <a:lnTo>
                    <a:pt x="238" y="339"/>
                  </a:lnTo>
                  <a:lnTo>
                    <a:pt x="243" y="343"/>
                  </a:lnTo>
                  <a:lnTo>
                    <a:pt x="243" y="348"/>
                  </a:lnTo>
                  <a:lnTo>
                    <a:pt x="243" y="352"/>
                  </a:lnTo>
                  <a:lnTo>
                    <a:pt x="229" y="352"/>
                  </a:lnTo>
                  <a:lnTo>
                    <a:pt x="215" y="352"/>
                  </a:lnTo>
                  <a:lnTo>
                    <a:pt x="215" y="357"/>
                  </a:lnTo>
                  <a:lnTo>
                    <a:pt x="206" y="357"/>
                  </a:lnTo>
                  <a:lnTo>
                    <a:pt x="197" y="357"/>
                  </a:lnTo>
                  <a:lnTo>
                    <a:pt x="197" y="362"/>
                  </a:lnTo>
                  <a:lnTo>
                    <a:pt x="197" y="362"/>
                  </a:lnTo>
                  <a:lnTo>
                    <a:pt x="188" y="362"/>
                  </a:lnTo>
                  <a:lnTo>
                    <a:pt x="183" y="362"/>
                  </a:lnTo>
                  <a:lnTo>
                    <a:pt x="179" y="362"/>
                  </a:lnTo>
                  <a:lnTo>
                    <a:pt x="174" y="366"/>
                  </a:lnTo>
                  <a:lnTo>
                    <a:pt x="174" y="366"/>
                  </a:lnTo>
                  <a:lnTo>
                    <a:pt x="169" y="362"/>
                  </a:lnTo>
                  <a:lnTo>
                    <a:pt x="169" y="362"/>
                  </a:lnTo>
                  <a:lnTo>
                    <a:pt x="165" y="357"/>
                  </a:lnTo>
                  <a:lnTo>
                    <a:pt x="165" y="348"/>
                  </a:lnTo>
                  <a:lnTo>
                    <a:pt x="160" y="348"/>
                  </a:lnTo>
                  <a:lnTo>
                    <a:pt x="160" y="343"/>
                  </a:lnTo>
                  <a:lnTo>
                    <a:pt x="156" y="343"/>
                  </a:lnTo>
                  <a:lnTo>
                    <a:pt x="151" y="339"/>
                  </a:lnTo>
                  <a:lnTo>
                    <a:pt x="151" y="339"/>
                  </a:lnTo>
                  <a:lnTo>
                    <a:pt x="147" y="339"/>
                  </a:lnTo>
                  <a:lnTo>
                    <a:pt x="147" y="343"/>
                  </a:lnTo>
                  <a:lnTo>
                    <a:pt x="142" y="343"/>
                  </a:lnTo>
                  <a:lnTo>
                    <a:pt x="137" y="343"/>
                  </a:lnTo>
                  <a:lnTo>
                    <a:pt x="137" y="348"/>
                  </a:lnTo>
                  <a:lnTo>
                    <a:pt x="128" y="348"/>
                  </a:lnTo>
                  <a:lnTo>
                    <a:pt x="128" y="352"/>
                  </a:lnTo>
                  <a:lnTo>
                    <a:pt x="128" y="352"/>
                  </a:lnTo>
                  <a:lnTo>
                    <a:pt x="124" y="357"/>
                  </a:lnTo>
                  <a:lnTo>
                    <a:pt x="119" y="357"/>
                  </a:lnTo>
                  <a:lnTo>
                    <a:pt x="119" y="362"/>
                  </a:lnTo>
                  <a:lnTo>
                    <a:pt x="105" y="371"/>
                  </a:lnTo>
                  <a:lnTo>
                    <a:pt x="105" y="371"/>
                  </a:lnTo>
                  <a:lnTo>
                    <a:pt x="101" y="375"/>
                  </a:lnTo>
                  <a:lnTo>
                    <a:pt x="101" y="380"/>
                  </a:lnTo>
                  <a:lnTo>
                    <a:pt x="96" y="380"/>
                  </a:lnTo>
                  <a:lnTo>
                    <a:pt x="92" y="380"/>
                  </a:lnTo>
                  <a:lnTo>
                    <a:pt x="92" y="384"/>
                  </a:lnTo>
                  <a:lnTo>
                    <a:pt x="87" y="384"/>
                  </a:lnTo>
                  <a:lnTo>
                    <a:pt x="87" y="384"/>
                  </a:lnTo>
                  <a:lnTo>
                    <a:pt x="87" y="384"/>
                  </a:lnTo>
                  <a:lnTo>
                    <a:pt x="87" y="389"/>
                  </a:lnTo>
                  <a:lnTo>
                    <a:pt x="83" y="389"/>
                  </a:lnTo>
                  <a:lnTo>
                    <a:pt x="78" y="394"/>
                  </a:lnTo>
                  <a:lnTo>
                    <a:pt x="73" y="394"/>
                  </a:lnTo>
                  <a:lnTo>
                    <a:pt x="73" y="398"/>
                  </a:lnTo>
                  <a:lnTo>
                    <a:pt x="69" y="403"/>
                  </a:lnTo>
                  <a:lnTo>
                    <a:pt x="69" y="403"/>
                  </a:lnTo>
                  <a:lnTo>
                    <a:pt x="64" y="403"/>
                  </a:lnTo>
                  <a:lnTo>
                    <a:pt x="64" y="407"/>
                  </a:lnTo>
                  <a:lnTo>
                    <a:pt x="64" y="412"/>
                  </a:lnTo>
                  <a:lnTo>
                    <a:pt x="64" y="412"/>
                  </a:lnTo>
                  <a:lnTo>
                    <a:pt x="60" y="421"/>
                  </a:lnTo>
                  <a:lnTo>
                    <a:pt x="55" y="421"/>
                  </a:lnTo>
                  <a:lnTo>
                    <a:pt x="55" y="426"/>
                  </a:lnTo>
                  <a:lnTo>
                    <a:pt x="51" y="426"/>
                  </a:lnTo>
                  <a:lnTo>
                    <a:pt x="46" y="426"/>
                  </a:lnTo>
                  <a:lnTo>
                    <a:pt x="46" y="430"/>
                  </a:lnTo>
                  <a:lnTo>
                    <a:pt x="41" y="430"/>
                  </a:lnTo>
                  <a:lnTo>
                    <a:pt x="37" y="430"/>
                  </a:lnTo>
                  <a:lnTo>
                    <a:pt x="32" y="426"/>
                  </a:lnTo>
                  <a:lnTo>
                    <a:pt x="28" y="426"/>
                  </a:lnTo>
                  <a:lnTo>
                    <a:pt x="23" y="426"/>
                  </a:lnTo>
                  <a:lnTo>
                    <a:pt x="23" y="426"/>
                  </a:lnTo>
                  <a:lnTo>
                    <a:pt x="19" y="416"/>
                  </a:lnTo>
                  <a:lnTo>
                    <a:pt x="19" y="412"/>
                  </a:lnTo>
                  <a:lnTo>
                    <a:pt x="19" y="407"/>
                  </a:lnTo>
                  <a:lnTo>
                    <a:pt x="19" y="403"/>
                  </a:lnTo>
                  <a:lnTo>
                    <a:pt x="19" y="403"/>
                  </a:lnTo>
                  <a:lnTo>
                    <a:pt x="19" y="403"/>
                  </a:lnTo>
                  <a:lnTo>
                    <a:pt x="14" y="403"/>
                  </a:lnTo>
                  <a:lnTo>
                    <a:pt x="9" y="403"/>
                  </a:lnTo>
                  <a:lnTo>
                    <a:pt x="5" y="398"/>
                  </a:lnTo>
                  <a:lnTo>
                    <a:pt x="0" y="398"/>
                  </a:lnTo>
                  <a:lnTo>
                    <a:pt x="0" y="394"/>
                  </a:lnTo>
                  <a:lnTo>
                    <a:pt x="0" y="389"/>
                  </a:lnTo>
                  <a:lnTo>
                    <a:pt x="0" y="384"/>
                  </a:lnTo>
                  <a:lnTo>
                    <a:pt x="0" y="384"/>
                  </a:lnTo>
                  <a:lnTo>
                    <a:pt x="0" y="380"/>
                  </a:lnTo>
                  <a:lnTo>
                    <a:pt x="5" y="375"/>
                  </a:lnTo>
                  <a:lnTo>
                    <a:pt x="5" y="371"/>
                  </a:lnTo>
                  <a:lnTo>
                    <a:pt x="14" y="362"/>
                  </a:lnTo>
                  <a:lnTo>
                    <a:pt x="14" y="357"/>
                  </a:lnTo>
                  <a:lnTo>
                    <a:pt x="19" y="357"/>
                  </a:lnTo>
                  <a:lnTo>
                    <a:pt x="19" y="348"/>
                  </a:lnTo>
                  <a:lnTo>
                    <a:pt x="14" y="339"/>
                  </a:lnTo>
                  <a:lnTo>
                    <a:pt x="14" y="334"/>
                  </a:lnTo>
                  <a:lnTo>
                    <a:pt x="19" y="330"/>
                  </a:lnTo>
                  <a:lnTo>
                    <a:pt x="19" y="320"/>
                  </a:lnTo>
                  <a:lnTo>
                    <a:pt x="19" y="316"/>
                  </a:lnTo>
                  <a:lnTo>
                    <a:pt x="14" y="316"/>
                  </a:lnTo>
                  <a:lnTo>
                    <a:pt x="14" y="316"/>
                  </a:lnTo>
                  <a:lnTo>
                    <a:pt x="9" y="311"/>
                  </a:lnTo>
                  <a:lnTo>
                    <a:pt x="9" y="307"/>
                  </a:lnTo>
                  <a:lnTo>
                    <a:pt x="5" y="307"/>
                  </a:lnTo>
                  <a:lnTo>
                    <a:pt x="5" y="302"/>
                  </a:lnTo>
                  <a:lnTo>
                    <a:pt x="5" y="298"/>
                  </a:lnTo>
                  <a:lnTo>
                    <a:pt x="5" y="293"/>
                  </a:lnTo>
                  <a:lnTo>
                    <a:pt x="9" y="293"/>
                  </a:lnTo>
                  <a:lnTo>
                    <a:pt x="9" y="288"/>
                  </a:lnTo>
                  <a:lnTo>
                    <a:pt x="9" y="284"/>
                  </a:lnTo>
                  <a:lnTo>
                    <a:pt x="9" y="279"/>
                  </a:lnTo>
                  <a:lnTo>
                    <a:pt x="9" y="275"/>
                  </a:lnTo>
                  <a:lnTo>
                    <a:pt x="14" y="275"/>
                  </a:lnTo>
                  <a:lnTo>
                    <a:pt x="14" y="275"/>
                  </a:lnTo>
                  <a:lnTo>
                    <a:pt x="14" y="270"/>
                  </a:lnTo>
                  <a:lnTo>
                    <a:pt x="19" y="256"/>
                  </a:lnTo>
                  <a:lnTo>
                    <a:pt x="19" y="252"/>
                  </a:lnTo>
                  <a:lnTo>
                    <a:pt x="19" y="252"/>
                  </a:lnTo>
                  <a:lnTo>
                    <a:pt x="28" y="243"/>
                  </a:lnTo>
                  <a:lnTo>
                    <a:pt x="32" y="243"/>
                  </a:lnTo>
                  <a:lnTo>
                    <a:pt x="41" y="243"/>
                  </a:lnTo>
                  <a:lnTo>
                    <a:pt x="46" y="243"/>
                  </a:lnTo>
                  <a:lnTo>
                    <a:pt x="51" y="243"/>
                  </a:lnTo>
                  <a:lnTo>
                    <a:pt x="51" y="238"/>
                  </a:lnTo>
                  <a:lnTo>
                    <a:pt x="55" y="238"/>
                  </a:lnTo>
                  <a:lnTo>
                    <a:pt x="55" y="234"/>
                  </a:lnTo>
                  <a:lnTo>
                    <a:pt x="55" y="229"/>
                  </a:lnTo>
                  <a:lnTo>
                    <a:pt x="60" y="229"/>
                  </a:lnTo>
                  <a:lnTo>
                    <a:pt x="60" y="220"/>
                  </a:lnTo>
                  <a:lnTo>
                    <a:pt x="64" y="215"/>
                  </a:lnTo>
                  <a:lnTo>
                    <a:pt x="64" y="211"/>
                  </a:lnTo>
                  <a:lnTo>
                    <a:pt x="64" y="211"/>
                  </a:lnTo>
                  <a:lnTo>
                    <a:pt x="73" y="206"/>
                  </a:lnTo>
                  <a:lnTo>
                    <a:pt x="78" y="206"/>
                  </a:lnTo>
                  <a:lnTo>
                    <a:pt x="78" y="202"/>
                  </a:lnTo>
                  <a:lnTo>
                    <a:pt x="83" y="197"/>
                  </a:lnTo>
                  <a:lnTo>
                    <a:pt x="87" y="192"/>
                  </a:lnTo>
                  <a:lnTo>
                    <a:pt x="87" y="192"/>
                  </a:lnTo>
                  <a:lnTo>
                    <a:pt x="101" y="183"/>
                  </a:lnTo>
                  <a:lnTo>
                    <a:pt x="105" y="183"/>
                  </a:lnTo>
                  <a:lnTo>
                    <a:pt x="110" y="183"/>
                  </a:lnTo>
                  <a:lnTo>
                    <a:pt x="110" y="179"/>
                  </a:lnTo>
                  <a:lnTo>
                    <a:pt x="119" y="179"/>
                  </a:lnTo>
                  <a:lnTo>
                    <a:pt x="128" y="183"/>
                  </a:lnTo>
                  <a:lnTo>
                    <a:pt x="128" y="183"/>
                  </a:lnTo>
                  <a:lnTo>
                    <a:pt x="137" y="183"/>
                  </a:lnTo>
                  <a:lnTo>
                    <a:pt x="147" y="183"/>
                  </a:lnTo>
                  <a:lnTo>
                    <a:pt x="151" y="183"/>
                  </a:lnTo>
                  <a:lnTo>
                    <a:pt x="156" y="183"/>
                  </a:lnTo>
                  <a:lnTo>
                    <a:pt x="160" y="183"/>
                  </a:lnTo>
                  <a:lnTo>
                    <a:pt x="169" y="183"/>
                  </a:lnTo>
                  <a:lnTo>
                    <a:pt x="174" y="183"/>
                  </a:lnTo>
                  <a:lnTo>
                    <a:pt x="192" y="183"/>
                  </a:lnTo>
                  <a:lnTo>
                    <a:pt x="197" y="183"/>
                  </a:lnTo>
                  <a:lnTo>
                    <a:pt x="201" y="179"/>
                  </a:lnTo>
                  <a:lnTo>
                    <a:pt x="211" y="174"/>
                  </a:lnTo>
                  <a:lnTo>
                    <a:pt x="215" y="174"/>
                  </a:lnTo>
                  <a:lnTo>
                    <a:pt x="215" y="170"/>
                  </a:lnTo>
                  <a:lnTo>
                    <a:pt x="215" y="170"/>
                  </a:lnTo>
                  <a:lnTo>
                    <a:pt x="220" y="165"/>
                  </a:lnTo>
                  <a:lnTo>
                    <a:pt x="224" y="165"/>
                  </a:lnTo>
                  <a:lnTo>
                    <a:pt x="229" y="165"/>
                  </a:lnTo>
                  <a:lnTo>
                    <a:pt x="233" y="160"/>
                  </a:lnTo>
                  <a:lnTo>
                    <a:pt x="238" y="156"/>
                  </a:lnTo>
                  <a:lnTo>
                    <a:pt x="238" y="151"/>
                  </a:lnTo>
                  <a:lnTo>
                    <a:pt x="238" y="151"/>
                  </a:lnTo>
                  <a:lnTo>
                    <a:pt x="238" y="142"/>
                  </a:lnTo>
                  <a:lnTo>
                    <a:pt x="243" y="138"/>
                  </a:lnTo>
                  <a:lnTo>
                    <a:pt x="243" y="133"/>
                  </a:lnTo>
                  <a:lnTo>
                    <a:pt x="247" y="133"/>
                  </a:lnTo>
                  <a:lnTo>
                    <a:pt x="247" y="128"/>
                  </a:lnTo>
                  <a:lnTo>
                    <a:pt x="247" y="124"/>
                  </a:lnTo>
                  <a:lnTo>
                    <a:pt x="247" y="119"/>
                  </a:lnTo>
                  <a:lnTo>
                    <a:pt x="247" y="115"/>
                  </a:lnTo>
                  <a:lnTo>
                    <a:pt x="252" y="101"/>
                  </a:lnTo>
                  <a:lnTo>
                    <a:pt x="256" y="96"/>
                  </a:lnTo>
                  <a:lnTo>
                    <a:pt x="261" y="92"/>
                  </a:lnTo>
                  <a:lnTo>
                    <a:pt x="261" y="92"/>
                  </a:lnTo>
                  <a:lnTo>
                    <a:pt x="265" y="87"/>
                  </a:lnTo>
                  <a:lnTo>
                    <a:pt x="270" y="87"/>
                  </a:lnTo>
                  <a:lnTo>
                    <a:pt x="275" y="83"/>
                  </a:lnTo>
                  <a:lnTo>
                    <a:pt x="279" y="83"/>
                  </a:lnTo>
                  <a:lnTo>
                    <a:pt x="279" y="78"/>
                  </a:lnTo>
                  <a:lnTo>
                    <a:pt x="284" y="78"/>
                  </a:lnTo>
                  <a:lnTo>
                    <a:pt x="284" y="74"/>
                  </a:lnTo>
                  <a:lnTo>
                    <a:pt x="284" y="74"/>
                  </a:lnTo>
                  <a:lnTo>
                    <a:pt x="288" y="74"/>
                  </a:lnTo>
                  <a:lnTo>
                    <a:pt x="293" y="64"/>
                  </a:lnTo>
                  <a:lnTo>
                    <a:pt x="297" y="64"/>
                  </a:lnTo>
                  <a:lnTo>
                    <a:pt x="302" y="60"/>
                  </a:lnTo>
                  <a:lnTo>
                    <a:pt x="307" y="55"/>
                  </a:lnTo>
                  <a:lnTo>
                    <a:pt x="307" y="55"/>
                  </a:lnTo>
                  <a:lnTo>
                    <a:pt x="302" y="51"/>
                  </a:lnTo>
                  <a:lnTo>
                    <a:pt x="307" y="55"/>
                  </a:lnTo>
                  <a:lnTo>
                    <a:pt x="316" y="55"/>
                  </a:lnTo>
                  <a:lnTo>
                    <a:pt x="320" y="55"/>
                  </a:lnTo>
                  <a:lnTo>
                    <a:pt x="329" y="55"/>
                  </a:lnTo>
                  <a:lnTo>
                    <a:pt x="339" y="60"/>
                  </a:lnTo>
                  <a:lnTo>
                    <a:pt x="343" y="60"/>
                  </a:lnTo>
                  <a:lnTo>
                    <a:pt x="343" y="64"/>
                  </a:lnTo>
                  <a:lnTo>
                    <a:pt x="348" y="69"/>
                  </a:lnTo>
                  <a:lnTo>
                    <a:pt x="348" y="74"/>
                  </a:lnTo>
                  <a:lnTo>
                    <a:pt x="348" y="74"/>
                  </a:lnTo>
                  <a:lnTo>
                    <a:pt x="343" y="83"/>
                  </a:lnTo>
                  <a:lnTo>
                    <a:pt x="339" y="83"/>
                  </a:lnTo>
                  <a:lnTo>
                    <a:pt x="339" y="87"/>
                  </a:lnTo>
                  <a:lnTo>
                    <a:pt x="334" y="92"/>
                  </a:lnTo>
                  <a:lnTo>
                    <a:pt x="334" y="96"/>
                  </a:lnTo>
                  <a:lnTo>
                    <a:pt x="334" y="96"/>
                  </a:lnTo>
                  <a:lnTo>
                    <a:pt x="334" y="106"/>
                  </a:lnTo>
                  <a:lnTo>
                    <a:pt x="339" y="106"/>
                  </a:lnTo>
                  <a:lnTo>
                    <a:pt x="343" y="106"/>
                  </a:lnTo>
                  <a:lnTo>
                    <a:pt x="343" y="110"/>
                  </a:lnTo>
                  <a:lnTo>
                    <a:pt x="348" y="110"/>
                  </a:lnTo>
                  <a:lnTo>
                    <a:pt x="348" y="110"/>
                  </a:lnTo>
                  <a:lnTo>
                    <a:pt x="352" y="115"/>
                  </a:lnTo>
                  <a:lnTo>
                    <a:pt x="357" y="115"/>
                  </a:lnTo>
                  <a:lnTo>
                    <a:pt x="361" y="115"/>
                  </a:lnTo>
                  <a:lnTo>
                    <a:pt x="366" y="119"/>
                  </a:lnTo>
                  <a:lnTo>
                    <a:pt x="371" y="119"/>
                  </a:lnTo>
                  <a:lnTo>
                    <a:pt x="371" y="119"/>
                  </a:lnTo>
                  <a:lnTo>
                    <a:pt x="371" y="119"/>
                  </a:lnTo>
                  <a:lnTo>
                    <a:pt x="375" y="124"/>
                  </a:lnTo>
                  <a:lnTo>
                    <a:pt x="380" y="128"/>
                  </a:lnTo>
                  <a:lnTo>
                    <a:pt x="384" y="133"/>
                  </a:lnTo>
                  <a:lnTo>
                    <a:pt x="389" y="133"/>
                  </a:lnTo>
                  <a:lnTo>
                    <a:pt x="389" y="138"/>
                  </a:lnTo>
                  <a:lnTo>
                    <a:pt x="393" y="142"/>
                  </a:lnTo>
                  <a:lnTo>
                    <a:pt x="398" y="142"/>
                  </a:lnTo>
                  <a:lnTo>
                    <a:pt x="403" y="142"/>
                  </a:lnTo>
                  <a:lnTo>
                    <a:pt x="412" y="142"/>
                  </a:lnTo>
                  <a:lnTo>
                    <a:pt x="412" y="138"/>
                  </a:lnTo>
                  <a:lnTo>
                    <a:pt x="416" y="138"/>
                  </a:lnTo>
                  <a:lnTo>
                    <a:pt x="416" y="133"/>
                  </a:lnTo>
                  <a:lnTo>
                    <a:pt x="416" y="128"/>
                  </a:lnTo>
                  <a:lnTo>
                    <a:pt x="416" y="119"/>
                  </a:lnTo>
                  <a:lnTo>
                    <a:pt x="416" y="119"/>
                  </a:lnTo>
                  <a:lnTo>
                    <a:pt x="416" y="106"/>
                  </a:lnTo>
                  <a:lnTo>
                    <a:pt x="416" y="96"/>
                  </a:lnTo>
                  <a:lnTo>
                    <a:pt x="416" y="96"/>
                  </a:lnTo>
                  <a:lnTo>
                    <a:pt x="416" y="92"/>
                  </a:lnTo>
                  <a:lnTo>
                    <a:pt x="416" y="92"/>
                  </a:lnTo>
                  <a:lnTo>
                    <a:pt x="425" y="87"/>
                  </a:lnTo>
                  <a:lnTo>
                    <a:pt x="430" y="87"/>
                  </a:lnTo>
                  <a:lnTo>
                    <a:pt x="435" y="87"/>
                  </a:lnTo>
                  <a:lnTo>
                    <a:pt x="448" y="87"/>
                  </a:lnTo>
                  <a:lnTo>
                    <a:pt x="453" y="92"/>
                  </a:lnTo>
                  <a:lnTo>
                    <a:pt x="457" y="92"/>
                  </a:lnTo>
                  <a:lnTo>
                    <a:pt x="457" y="92"/>
                  </a:lnTo>
                  <a:lnTo>
                    <a:pt x="462" y="92"/>
                  </a:lnTo>
                  <a:lnTo>
                    <a:pt x="471" y="92"/>
                  </a:lnTo>
                  <a:lnTo>
                    <a:pt x="471" y="87"/>
                  </a:lnTo>
                  <a:lnTo>
                    <a:pt x="476" y="87"/>
                  </a:lnTo>
                  <a:lnTo>
                    <a:pt x="476" y="83"/>
                  </a:lnTo>
                  <a:lnTo>
                    <a:pt x="480" y="69"/>
                  </a:lnTo>
                  <a:lnTo>
                    <a:pt x="480" y="60"/>
                  </a:lnTo>
                  <a:lnTo>
                    <a:pt x="480" y="55"/>
                  </a:lnTo>
                  <a:lnTo>
                    <a:pt x="485" y="55"/>
                  </a:lnTo>
                  <a:lnTo>
                    <a:pt x="489" y="55"/>
                  </a:lnTo>
                  <a:lnTo>
                    <a:pt x="494" y="55"/>
                  </a:lnTo>
                  <a:lnTo>
                    <a:pt x="503" y="51"/>
                  </a:lnTo>
                  <a:lnTo>
                    <a:pt x="503" y="51"/>
                  </a:lnTo>
                  <a:lnTo>
                    <a:pt x="508" y="51"/>
                  </a:lnTo>
                  <a:lnTo>
                    <a:pt x="517" y="51"/>
                  </a:lnTo>
                  <a:lnTo>
                    <a:pt x="521" y="51"/>
                  </a:lnTo>
                  <a:lnTo>
                    <a:pt x="521" y="51"/>
                  </a:lnTo>
                  <a:lnTo>
                    <a:pt x="526" y="55"/>
                  </a:lnTo>
                  <a:lnTo>
                    <a:pt x="531" y="55"/>
                  </a:lnTo>
                  <a:lnTo>
                    <a:pt x="535" y="55"/>
                  </a:lnTo>
                  <a:lnTo>
                    <a:pt x="540" y="55"/>
                  </a:lnTo>
                  <a:lnTo>
                    <a:pt x="540" y="60"/>
                  </a:lnTo>
                  <a:lnTo>
                    <a:pt x="544" y="64"/>
                  </a:lnTo>
                  <a:lnTo>
                    <a:pt x="544" y="64"/>
                  </a:lnTo>
                  <a:lnTo>
                    <a:pt x="549" y="69"/>
                  </a:lnTo>
                  <a:lnTo>
                    <a:pt x="553" y="74"/>
                  </a:lnTo>
                  <a:lnTo>
                    <a:pt x="558" y="74"/>
                  </a:lnTo>
                  <a:lnTo>
                    <a:pt x="563" y="74"/>
                  </a:lnTo>
                  <a:lnTo>
                    <a:pt x="567" y="83"/>
                  </a:lnTo>
                  <a:lnTo>
                    <a:pt x="567" y="87"/>
                  </a:lnTo>
                  <a:lnTo>
                    <a:pt x="567" y="87"/>
                  </a:lnTo>
                  <a:lnTo>
                    <a:pt x="567" y="92"/>
                  </a:lnTo>
                  <a:lnTo>
                    <a:pt x="567" y="96"/>
                  </a:lnTo>
                  <a:lnTo>
                    <a:pt x="567" y="110"/>
                  </a:lnTo>
                  <a:lnTo>
                    <a:pt x="567" y="115"/>
                  </a:lnTo>
                  <a:lnTo>
                    <a:pt x="572" y="119"/>
                  </a:lnTo>
                  <a:lnTo>
                    <a:pt x="576" y="119"/>
                  </a:lnTo>
                  <a:lnTo>
                    <a:pt x="581" y="119"/>
                  </a:lnTo>
                  <a:lnTo>
                    <a:pt x="585" y="119"/>
                  </a:lnTo>
                  <a:lnTo>
                    <a:pt x="585" y="115"/>
                  </a:lnTo>
                  <a:lnTo>
                    <a:pt x="590" y="115"/>
                  </a:lnTo>
                  <a:lnTo>
                    <a:pt x="590" y="115"/>
                  </a:lnTo>
                  <a:lnTo>
                    <a:pt x="595" y="110"/>
                  </a:lnTo>
                  <a:lnTo>
                    <a:pt x="599" y="106"/>
                  </a:lnTo>
                  <a:lnTo>
                    <a:pt x="608" y="96"/>
                  </a:lnTo>
                  <a:lnTo>
                    <a:pt x="613" y="96"/>
                  </a:lnTo>
                  <a:lnTo>
                    <a:pt x="613" y="96"/>
                  </a:lnTo>
                  <a:lnTo>
                    <a:pt x="613" y="96"/>
                  </a:lnTo>
                  <a:lnTo>
                    <a:pt x="613" y="92"/>
                  </a:lnTo>
                  <a:lnTo>
                    <a:pt x="617" y="92"/>
                  </a:lnTo>
                  <a:lnTo>
                    <a:pt x="622" y="87"/>
                  </a:lnTo>
                  <a:lnTo>
                    <a:pt x="627" y="87"/>
                  </a:lnTo>
                  <a:lnTo>
                    <a:pt x="627" y="83"/>
                  </a:lnTo>
                  <a:lnTo>
                    <a:pt x="631" y="83"/>
                  </a:lnTo>
                  <a:lnTo>
                    <a:pt x="631" y="78"/>
                  </a:lnTo>
                  <a:lnTo>
                    <a:pt x="631" y="78"/>
                  </a:lnTo>
                  <a:lnTo>
                    <a:pt x="636" y="74"/>
                  </a:lnTo>
                  <a:lnTo>
                    <a:pt x="640" y="74"/>
                  </a:lnTo>
                  <a:lnTo>
                    <a:pt x="645" y="74"/>
                  </a:lnTo>
                  <a:lnTo>
                    <a:pt x="654" y="64"/>
                  </a:lnTo>
                  <a:lnTo>
                    <a:pt x="659" y="60"/>
                  </a:lnTo>
                  <a:lnTo>
                    <a:pt x="663" y="55"/>
                  </a:lnTo>
                  <a:lnTo>
                    <a:pt x="668" y="55"/>
                  </a:lnTo>
                  <a:lnTo>
                    <a:pt x="668" y="55"/>
                  </a:lnTo>
                  <a:lnTo>
                    <a:pt x="672" y="55"/>
                  </a:lnTo>
                  <a:lnTo>
                    <a:pt x="677" y="51"/>
                  </a:lnTo>
                  <a:lnTo>
                    <a:pt x="677" y="46"/>
                  </a:lnTo>
                  <a:lnTo>
                    <a:pt x="686" y="37"/>
                  </a:lnTo>
                  <a:lnTo>
                    <a:pt x="691" y="37"/>
                  </a:lnTo>
                  <a:lnTo>
                    <a:pt x="700" y="28"/>
                  </a:lnTo>
                  <a:lnTo>
                    <a:pt x="700" y="28"/>
                  </a:lnTo>
                  <a:lnTo>
                    <a:pt x="709" y="23"/>
                  </a:lnTo>
                  <a:lnTo>
                    <a:pt x="713" y="23"/>
                  </a:lnTo>
                  <a:lnTo>
                    <a:pt x="723" y="19"/>
                  </a:lnTo>
                  <a:lnTo>
                    <a:pt x="723" y="14"/>
                  </a:lnTo>
                  <a:lnTo>
                    <a:pt x="727" y="14"/>
                  </a:lnTo>
                  <a:lnTo>
                    <a:pt x="732" y="14"/>
                  </a:lnTo>
                  <a:lnTo>
                    <a:pt x="736" y="14"/>
                  </a:lnTo>
                  <a:lnTo>
                    <a:pt x="741" y="10"/>
                  </a:lnTo>
                  <a:lnTo>
                    <a:pt x="750" y="10"/>
                  </a:lnTo>
                  <a:lnTo>
                    <a:pt x="755" y="10"/>
                  </a:lnTo>
                  <a:lnTo>
                    <a:pt x="755" y="5"/>
                  </a:lnTo>
                  <a:lnTo>
                    <a:pt x="759" y="5"/>
                  </a:lnTo>
                  <a:lnTo>
                    <a:pt x="764" y="5"/>
                  </a:lnTo>
                  <a:lnTo>
                    <a:pt x="764" y="0"/>
                  </a:lnTo>
                  <a:lnTo>
                    <a:pt x="768" y="5"/>
                  </a:lnTo>
                  <a:lnTo>
                    <a:pt x="773" y="10"/>
                  </a:lnTo>
                  <a:lnTo>
                    <a:pt x="782" y="19"/>
                  </a:lnTo>
                  <a:lnTo>
                    <a:pt x="782" y="23"/>
                  </a:lnTo>
                  <a:lnTo>
                    <a:pt x="782" y="28"/>
                  </a:lnTo>
                  <a:lnTo>
                    <a:pt x="777" y="37"/>
                  </a:lnTo>
                  <a:lnTo>
                    <a:pt x="777" y="42"/>
                  </a:lnTo>
                  <a:lnTo>
                    <a:pt x="773" y="46"/>
                  </a:lnTo>
                  <a:lnTo>
                    <a:pt x="773" y="51"/>
                  </a:lnTo>
                  <a:lnTo>
                    <a:pt x="777" y="51"/>
                  </a:lnTo>
                  <a:lnTo>
                    <a:pt x="777" y="55"/>
                  </a:lnTo>
                  <a:lnTo>
                    <a:pt x="782" y="60"/>
                  </a:lnTo>
                  <a:lnTo>
                    <a:pt x="782" y="64"/>
                  </a:lnTo>
                  <a:lnTo>
                    <a:pt x="787" y="64"/>
                  </a:lnTo>
                  <a:lnTo>
                    <a:pt x="787" y="69"/>
                  </a:lnTo>
                  <a:lnTo>
                    <a:pt x="791" y="69"/>
                  </a:lnTo>
                  <a:lnTo>
                    <a:pt x="796" y="69"/>
                  </a:lnTo>
                  <a:lnTo>
                    <a:pt x="800" y="74"/>
                  </a:lnTo>
                  <a:lnTo>
                    <a:pt x="805" y="74"/>
                  </a:lnTo>
                  <a:lnTo>
                    <a:pt x="809" y="74"/>
                  </a:lnTo>
                  <a:lnTo>
                    <a:pt x="809" y="74"/>
                  </a:lnTo>
                  <a:lnTo>
                    <a:pt x="814" y="78"/>
                  </a:lnTo>
                  <a:lnTo>
                    <a:pt x="819" y="78"/>
                  </a:lnTo>
                  <a:lnTo>
                    <a:pt x="823" y="78"/>
                  </a:lnTo>
                  <a:lnTo>
                    <a:pt x="823" y="83"/>
                  </a:lnTo>
                  <a:lnTo>
                    <a:pt x="828" y="83"/>
                  </a:lnTo>
                  <a:lnTo>
                    <a:pt x="828" y="87"/>
                  </a:lnTo>
                  <a:lnTo>
                    <a:pt x="828" y="96"/>
                  </a:lnTo>
                  <a:lnTo>
                    <a:pt x="832" y="101"/>
                  </a:lnTo>
                  <a:lnTo>
                    <a:pt x="832" y="106"/>
                  </a:lnTo>
                  <a:lnTo>
                    <a:pt x="837" y="110"/>
                  </a:lnTo>
                  <a:lnTo>
                    <a:pt x="841" y="115"/>
                  </a:lnTo>
                  <a:lnTo>
                    <a:pt x="846" y="115"/>
                  </a:lnTo>
                  <a:lnTo>
                    <a:pt x="851" y="115"/>
                  </a:lnTo>
                  <a:lnTo>
                    <a:pt x="855" y="119"/>
                  </a:lnTo>
                  <a:lnTo>
                    <a:pt x="860" y="119"/>
                  </a:lnTo>
                  <a:lnTo>
                    <a:pt x="869" y="119"/>
                  </a:lnTo>
                  <a:lnTo>
                    <a:pt x="873" y="119"/>
                  </a:lnTo>
                  <a:lnTo>
                    <a:pt x="887" y="124"/>
                  </a:lnTo>
                  <a:lnTo>
                    <a:pt x="892" y="124"/>
                  </a:lnTo>
                  <a:lnTo>
                    <a:pt x="896" y="124"/>
                  </a:lnTo>
                  <a:lnTo>
                    <a:pt x="896" y="128"/>
                  </a:lnTo>
                  <a:lnTo>
                    <a:pt x="896" y="128"/>
                  </a:lnTo>
                  <a:lnTo>
                    <a:pt x="901" y="133"/>
                  </a:lnTo>
                  <a:lnTo>
                    <a:pt x="905" y="133"/>
                  </a:lnTo>
                  <a:lnTo>
                    <a:pt x="910" y="138"/>
                  </a:lnTo>
                  <a:lnTo>
                    <a:pt x="910" y="142"/>
                  </a:lnTo>
                  <a:lnTo>
                    <a:pt x="915" y="142"/>
                  </a:lnTo>
                  <a:lnTo>
                    <a:pt x="919" y="142"/>
                  </a:lnTo>
                  <a:lnTo>
                    <a:pt x="919" y="142"/>
                  </a:lnTo>
                  <a:lnTo>
                    <a:pt x="919" y="147"/>
                  </a:lnTo>
                  <a:lnTo>
                    <a:pt x="924" y="147"/>
                  </a:lnTo>
                  <a:lnTo>
                    <a:pt x="924" y="151"/>
                  </a:lnTo>
                  <a:lnTo>
                    <a:pt x="928" y="156"/>
                  </a:lnTo>
                  <a:lnTo>
                    <a:pt x="933" y="160"/>
                  </a:lnTo>
                  <a:lnTo>
                    <a:pt x="933" y="165"/>
                  </a:lnTo>
                  <a:lnTo>
                    <a:pt x="937" y="165"/>
                  </a:lnTo>
                  <a:lnTo>
                    <a:pt x="937" y="165"/>
                  </a:lnTo>
                  <a:lnTo>
                    <a:pt x="937" y="165"/>
                  </a:lnTo>
                  <a:lnTo>
                    <a:pt x="942" y="165"/>
                  </a:lnTo>
                  <a:lnTo>
                    <a:pt x="942" y="170"/>
                  </a:lnTo>
                  <a:lnTo>
                    <a:pt x="942" y="174"/>
                  </a:lnTo>
                  <a:lnTo>
                    <a:pt x="942" y="179"/>
                  </a:lnTo>
                  <a:lnTo>
                    <a:pt x="942" y="183"/>
                  </a:lnTo>
                  <a:lnTo>
                    <a:pt x="947" y="183"/>
                  </a:lnTo>
                  <a:lnTo>
                    <a:pt x="947" y="183"/>
                  </a:lnTo>
                  <a:lnTo>
                    <a:pt x="947" y="188"/>
                  </a:lnTo>
                  <a:lnTo>
                    <a:pt x="947" y="192"/>
                  </a:lnTo>
                  <a:lnTo>
                    <a:pt x="947" y="202"/>
                  </a:lnTo>
                  <a:lnTo>
                    <a:pt x="947" y="206"/>
                  </a:lnTo>
                  <a:lnTo>
                    <a:pt x="942" y="206"/>
                  </a:lnTo>
                  <a:lnTo>
                    <a:pt x="942" y="229"/>
                  </a:lnTo>
                  <a:lnTo>
                    <a:pt x="942" y="234"/>
                  </a:lnTo>
                  <a:lnTo>
                    <a:pt x="942" y="238"/>
                  </a:lnTo>
                  <a:lnTo>
                    <a:pt x="942" y="243"/>
                  </a:lnTo>
                  <a:lnTo>
                    <a:pt x="942" y="252"/>
                  </a:lnTo>
                  <a:lnTo>
                    <a:pt x="942" y="261"/>
                  </a:lnTo>
                  <a:lnTo>
                    <a:pt x="942" y="275"/>
                  </a:lnTo>
                  <a:lnTo>
                    <a:pt x="947" y="288"/>
                  </a:lnTo>
                  <a:lnTo>
                    <a:pt x="947" y="293"/>
                  </a:lnTo>
                  <a:lnTo>
                    <a:pt x="947" y="293"/>
                  </a:lnTo>
                  <a:lnTo>
                    <a:pt x="947" y="298"/>
                  </a:lnTo>
                  <a:lnTo>
                    <a:pt x="947" y="302"/>
                  </a:lnTo>
                  <a:lnTo>
                    <a:pt x="947" y="307"/>
                  </a:lnTo>
                  <a:lnTo>
                    <a:pt x="942" y="307"/>
                  </a:lnTo>
                  <a:lnTo>
                    <a:pt x="942" y="307"/>
                  </a:lnTo>
                  <a:lnTo>
                    <a:pt x="937" y="311"/>
                  </a:lnTo>
                  <a:lnTo>
                    <a:pt x="928" y="311"/>
                  </a:lnTo>
                  <a:lnTo>
                    <a:pt x="919" y="316"/>
                  </a:lnTo>
                  <a:lnTo>
                    <a:pt x="919" y="316"/>
                  </a:lnTo>
                  <a:lnTo>
                    <a:pt x="924" y="325"/>
                  </a:lnTo>
                  <a:lnTo>
                    <a:pt x="928" y="325"/>
                  </a:lnTo>
                  <a:lnTo>
                    <a:pt x="937" y="325"/>
                  </a:lnTo>
                  <a:lnTo>
                    <a:pt x="942" y="330"/>
                  </a:lnTo>
                  <a:lnTo>
                    <a:pt x="942" y="330"/>
                  </a:lnTo>
                  <a:lnTo>
                    <a:pt x="951" y="330"/>
                  </a:lnTo>
                  <a:lnTo>
                    <a:pt x="956" y="330"/>
                  </a:lnTo>
                  <a:lnTo>
                    <a:pt x="960" y="334"/>
                  </a:lnTo>
                  <a:lnTo>
                    <a:pt x="960" y="339"/>
                  </a:lnTo>
                  <a:lnTo>
                    <a:pt x="965" y="339"/>
                  </a:lnTo>
                  <a:lnTo>
                    <a:pt x="965" y="343"/>
                  </a:lnTo>
                  <a:lnTo>
                    <a:pt x="969" y="348"/>
                  </a:lnTo>
                  <a:lnTo>
                    <a:pt x="969" y="352"/>
                  </a:lnTo>
                  <a:lnTo>
                    <a:pt x="974" y="357"/>
                  </a:lnTo>
                  <a:lnTo>
                    <a:pt x="979" y="362"/>
                  </a:lnTo>
                  <a:lnTo>
                    <a:pt x="983" y="362"/>
                  </a:lnTo>
                  <a:lnTo>
                    <a:pt x="983" y="362"/>
                  </a:lnTo>
                  <a:lnTo>
                    <a:pt x="983" y="362"/>
                  </a:lnTo>
                  <a:lnTo>
                    <a:pt x="992" y="366"/>
                  </a:lnTo>
                  <a:lnTo>
                    <a:pt x="997" y="366"/>
                  </a:lnTo>
                  <a:lnTo>
                    <a:pt x="1001" y="366"/>
                  </a:lnTo>
                  <a:lnTo>
                    <a:pt x="1006" y="362"/>
                  </a:lnTo>
                  <a:lnTo>
                    <a:pt x="1006" y="362"/>
                  </a:lnTo>
                  <a:lnTo>
                    <a:pt x="1011" y="366"/>
                  </a:lnTo>
                  <a:lnTo>
                    <a:pt x="1011" y="371"/>
                  </a:lnTo>
                  <a:lnTo>
                    <a:pt x="1006" y="371"/>
                  </a:lnTo>
                  <a:lnTo>
                    <a:pt x="1006" y="375"/>
                  </a:lnTo>
                  <a:lnTo>
                    <a:pt x="1006" y="380"/>
                  </a:lnTo>
                  <a:lnTo>
                    <a:pt x="1006" y="384"/>
                  </a:lnTo>
                  <a:lnTo>
                    <a:pt x="1006" y="389"/>
                  </a:lnTo>
                  <a:lnTo>
                    <a:pt x="1006" y="403"/>
                  </a:lnTo>
                  <a:lnTo>
                    <a:pt x="1006" y="407"/>
                  </a:lnTo>
                  <a:lnTo>
                    <a:pt x="1006" y="412"/>
                  </a:lnTo>
                  <a:lnTo>
                    <a:pt x="1011" y="426"/>
                  </a:lnTo>
                  <a:lnTo>
                    <a:pt x="1015" y="426"/>
                  </a:lnTo>
                  <a:lnTo>
                    <a:pt x="1020" y="426"/>
                  </a:lnTo>
                  <a:lnTo>
                    <a:pt x="1020" y="430"/>
                  </a:lnTo>
                  <a:lnTo>
                    <a:pt x="1024" y="435"/>
                  </a:lnTo>
                  <a:lnTo>
                    <a:pt x="1024" y="444"/>
                  </a:lnTo>
                  <a:lnTo>
                    <a:pt x="1024" y="448"/>
                  </a:lnTo>
                  <a:lnTo>
                    <a:pt x="1024" y="462"/>
                  </a:lnTo>
                  <a:lnTo>
                    <a:pt x="1024" y="467"/>
                  </a:lnTo>
                  <a:lnTo>
                    <a:pt x="1020" y="471"/>
                  </a:lnTo>
                  <a:lnTo>
                    <a:pt x="1015" y="476"/>
                  </a:lnTo>
                  <a:lnTo>
                    <a:pt x="1015" y="480"/>
                  </a:lnTo>
                  <a:lnTo>
                    <a:pt x="1011" y="485"/>
                  </a:lnTo>
                  <a:lnTo>
                    <a:pt x="1006" y="490"/>
                  </a:lnTo>
                  <a:lnTo>
                    <a:pt x="1006" y="494"/>
                  </a:lnTo>
                  <a:lnTo>
                    <a:pt x="1001" y="494"/>
                  </a:lnTo>
                  <a:lnTo>
                    <a:pt x="1001" y="494"/>
                  </a:lnTo>
                  <a:lnTo>
                    <a:pt x="997" y="494"/>
                  </a:lnTo>
                  <a:lnTo>
                    <a:pt x="992" y="499"/>
                  </a:lnTo>
                  <a:lnTo>
                    <a:pt x="988" y="503"/>
                  </a:lnTo>
                  <a:lnTo>
                    <a:pt x="983" y="508"/>
                  </a:lnTo>
                  <a:lnTo>
                    <a:pt x="983" y="512"/>
                  </a:lnTo>
                  <a:lnTo>
                    <a:pt x="983" y="517"/>
                  </a:lnTo>
                  <a:lnTo>
                    <a:pt x="983" y="526"/>
                  </a:lnTo>
                  <a:lnTo>
                    <a:pt x="983" y="535"/>
                  </a:lnTo>
                  <a:lnTo>
                    <a:pt x="983" y="554"/>
                  </a:lnTo>
                  <a:lnTo>
                    <a:pt x="983" y="558"/>
                  </a:lnTo>
                  <a:lnTo>
                    <a:pt x="983" y="563"/>
                  </a:lnTo>
                  <a:lnTo>
                    <a:pt x="983" y="567"/>
                  </a:lnTo>
                  <a:lnTo>
                    <a:pt x="983" y="572"/>
                  </a:lnTo>
                  <a:lnTo>
                    <a:pt x="983" y="576"/>
                  </a:lnTo>
                  <a:lnTo>
                    <a:pt x="983" y="581"/>
                  </a:lnTo>
                  <a:lnTo>
                    <a:pt x="979" y="581"/>
                  </a:lnTo>
                  <a:lnTo>
                    <a:pt x="979" y="590"/>
                  </a:lnTo>
                  <a:lnTo>
                    <a:pt x="974" y="590"/>
                  </a:lnTo>
                  <a:lnTo>
                    <a:pt x="974" y="595"/>
                  </a:lnTo>
                  <a:lnTo>
                    <a:pt x="974" y="599"/>
                  </a:lnTo>
                  <a:lnTo>
                    <a:pt x="974" y="604"/>
                  </a:lnTo>
                  <a:lnTo>
                    <a:pt x="965" y="608"/>
                  </a:lnTo>
                  <a:lnTo>
                    <a:pt x="965" y="613"/>
                  </a:lnTo>
                  <a:lnTo>
                    <a:pt x="965" y="618"/>
                  </a:lnTo>
                  <a:lnTo>
                    <a:pt x="960" y="622"/>
                  </a:lnTo>
                  <a:lnTo>
                    <a:pt x="960" y="631"/>
                  </a:lnTo>
                  <a:lnTo>
                    <a:pt x="960" y="636"/>
                  </a:lnTo>
                  <a:lnTo>
                    <a:pt x="960" y="659"/>
                  </a:lnTo>
                  <a:lnTo>
                    <a:pt x="960" y="663"/>
                  </a:lnTo>
                  <a:lnTo>
                    <a:pt x="960" y="668"/>
                  </a:lnTo>
                  <a:lnTo>
                    <a:pt x="960" y="672"/>
                  </a:lnTo>
                  <a:lnTo>
                    <a:pt x="960" y="677"/>
                  </a:lnTo>
                  <a:lnTo>
                    <a:pt x="960" y="686"/>
                  </a:lnTo>
                  <a:lnTo>
                    <a:pt x="960" y="691"/>
                  </a:lnTo>
                  <a:lnTo>
                    <a:pt x="960" y="691"/>
                  </a:lnTo>
                  <a:lnTo>
                    <a:pt x="960" y="695"/>
                  </a:lnTo>
                  <a:lnTo>
                    <a:pt x="956" y="700"/>
                  </a:lnTo>
                  <a:lnTo>
                    <a:pt x="956" y="704"/>
                  </a:lnTo>
                  <a:lnTo>
                    <a:pt x="956" y="709"/>
                  </a:lnTo>
                  <a:lnTo>
                    <a:pt x="951" y="714"/>
                  </a:lnTo>
                  <a:lnTo>
                    <a:pt x="947" y="727"/>
                  </a:lnTo>
                  <a:lnTo>
                    <a:pt x="942" y="732"/>
                  </a:lnTo>
                  <a:lnTo>
                    <a:pt x="942" y="736"/>
                  </a:lnTo>
                  <a:lnTo>
                    <a:pt x="942" y="741"/>
                  </a:lnTo>
                  <a:lnTo>
                    <a:pt x="942" y="750"/>
                  </a:lnTo>
                  <a:lnTo>
                    <a:pt x="942" y="759"/>
                  </a:lnTo>
                  <a:lnTo>
                    <a:pt x="942" y="768"/>
                  </a:lnTo>
                  <a:lnTo>
                    <a:pt x="942" y="773"/>
                  </a:lnTo>
                  <a:lnTo>
                    <a:pt x="942" y="778"/>
                  </a:lnTo>
                  <a:lnTo>
                    <a:pt x="947" y="778"/>
                  </a:lnTo>
                  <a:lnTo>
                    <a:pt x="947" y="782"/>
                  </a:lnTo>
                  <a:lnTo>
                    <a:pt x="951" y="787"/>
                  </a:lnTo>
                  <a:lnTo>
                    <a:pt x="951" y="791"/>
                  </a:lnTo>
                  <a:lnTo>
                    <a:pt x="956" y="791"/>
                  </a:lnTo>
                  <a:lnTo>
                    <a:pt x="956" y="791"/>
                  </a:lnTo>
                  <a:lnTo>
                    <a:pt x="960" y="800"/>
                  </a:lnTo>
                  <a:lnTo>
                    <a:pt x="969" y="810"/>
                  </a:lnTo>
                  <a:lnTo>
                    <a:pt x="974" y="810"/>
                  </a:lnTo>
                  <a:lnTo>
                    <a:pt x="974" y="814"/>
                  </a:lnTo>
                  <a:lnTo>
                    <a:pt x="979" y="814"/>
                  </a:lnTo>
                  <a:lnTo>
                    <a:pt x="983" y="814"/>
                  </a:lnTo>
                  <a:lnTo>
                    <a:pt x="983" y="819"/>
                  </a:lnTo>
                  <a:lnTo>
                    <a:pt x="983" y="819"/>
                  </a:lnTo>
                  <a:lnTo>
                    <a:pt x="988" y="819"/>
                  </a:lnTo>
                  <a:lnTo>
                    <a:pt x="988" y="823"/>
                  </a:lnTo>
                  <a:lnTo>
                    <a:pt x="992" y="823"/>
                  </a:lnTo>
                  <a:lnTo>
                    <a:pt x="997" y="828"/>
                  </a:lnTo>
                  <a:lnTo>
                    <a:pt x="997" y="832"/>
                  </a:lnTo>
                  <a:lnTo>
                    <a:pt x="997" y="837"/>
                  </a:lnTo>
                  <a:lnTo>
                    <a:pt x="992" y="842"/>
                  </a:lnTo>
                  <a:lnTo>
                    <a:pt x="992" y="842"/>
                  </a:lnTo>
                  <a:lnTo>
                    <a:pt x="988" y="846"/>
                  </a:lnTo>
                  <a:lnTo>
                    <a:pt x="988" y="851"/>
                  </a:lnTo>
                  <a:lnTo>
                    <a:pt x="983" y="855"/>
                  </a:lnTo>
                  <a:lnTo>
                    <a:pt x="983" y="860"/>
                  </a:lnTo>
                  <a:lnTo>
                    <a:pt x="983" y="864"/>
                  </a:lnTo>
                  <a:lnTo>
                    <a:pt x="983" y="864"/>
                  </a:lnTo>
                  <a:lnTo>
                    <a:pt x="979" y="869"/>
                  </a:lnTo>
                  <a:lnTo>
                    <a:pt x="979" y="874"/>
                  </a:lnTo>
                  <a:lnTo>
                    <a:pt x="974" y="878"/>
                  </a:lnTo>
                  <a:lnTo>
                    <a:pt x="974" y="883"/>
                  </a:lnTo>
                  <a:lnTo>
                    <a:pt x="969" y="887"/>
                  </a:lnTo>
                  <a:lnTo>
                    <a:pt x="969" y="887"/>
                  </a:lnTo>
                  <a:lnTo>
                    <a:pt x="969" y="892"/>
                  </a:lnTo>
                  <a:lnTo>
                    <a:pt x="965" y="896"/>
                  </a:lnTo>
                  <a:lnTo>
                    <a:pt x="965" y="901"/>
                  </a:lnTo>
                  <a:lnTo>
                    <a:pt x="960" y="906"/>
                  </a:lnTo>
                  <a:lnTo>
                    <a:pt x="960" y="910"/>
                  </a:lnTo>
                  <a:lnTo>
                    <a:pt x="960" y="915"/>
                  </a:lnTo>
                  <a:lnTo>
                    <a:pt x="960" y="919"/>
                  </a:lnTo>
                  <a:lnTo>
                    <a:pt x="956" y="924"/>
                  </a:lnTo>
                  <a:lnTo>
                    <a:pt x="956" y="929"/>
                  </a:lnTo>
                  <a:lnTo>
                    <a:pt x="956" y="933"/>
                  </a:lnTo>
                  <a:lnTo>
                    <a:pt x="956" y="938"/>
                  </a:lnTo>
                  <a:lnTo>
                    <a:pt x="951" y="942"/>
                  </a:lnTo>
                  <a:lnTo>
                    <a:pt x="947" y="942"/>
                  </a:lnTo>
                  <a:lnTo>
                    <a:pt x="942" y="947"/>
                  </a:lnTo>
                  <a:lnTo>
                    <a:pt x="942" y="951"/>
                  </a:lnTo>
                  <a:lnTo>
                    <a:pt x="937" y="951"/>
                  </a:lnTo>
                  <a:lnTo>
                    <a:pt x="933" y="951"/>
                  </a:lnTo>
                  <a:lnTo>
                    <a:pt x="928" y="951"/>
                  </a:lnTo>
                  <a:lnTo>
                    <a:pt x="924" y="951"/>
                  </a:lnTo>
                  <a:lnTo>
                    <a:pt x="915" y="951"/>
                  </a:lnTo>
                  <a:lnTo>
                    <a:pt x="910" y="951"/>
                  </a:lnTo>
                  <a:lnTo>
                    <a:pt x="901" y="951"/>
                  </a:lnTo>
                  <a:lnTo>
                    <a:pt x="896" y="947"/>
                  </a:lnTo>
                  <a:lnTo>
                    <a:pt x="896" y="942"/>
                  </a:lnTo>
                  <a:lnTo>
                    <a:pt x="892" y="942"/>
                  </a:lnTo>
                  <a:lnTo>
                    <a:pt x="892" y="938"/>
                  </a:lnTo>
                  <a:lnTo>
                    <a:pt x="887" y="938"/>
                  </a:lnTo>
                  <a:lnTo>
                    <a:pt x="887" y="933"/>
                  </a:lnTo>
                  <a:lnTo>
                    <a:pt x="883" y="933"/>
                  </a:lnTo>
                  <a:lnTo>
                    <a:pt x="883" y="929"/>
                  </a:lnTo>
                  <a:lnTo>
                    <a:pt x="878" y="924"/>
                  </a:lnTo>
                  <a:lnTo>
                    <a:pt x="873" y="919"/>
                  </a:lnTo>
                  <a:lnTo>
                    <a:pt x="873" y="915"/>
                  </a:lnTo>
                  <a:lnTo>
                    <a:pt x="869" y="910"/>
                  </a:lnTo>
                  <a:lnTo>
                    <a:pt x="869" y="910"/>
                  </a:lnTo>
                  <a:lnTo>
                    <a:pt x="864" y="906"/>
                  </a:lnTo>
                  <a:lnTo>
                    <a:pt x="860" y="906"/>
                  </a:lnTo>
                  <a:lnTo>
                    <a:pt x="855" y="906"/>
                  </a:lnTo>
                  <a:lnTo>
                    <a:pt x="846" y="906"/>
                  </a:lnTo>
                  <a:lnTo>
                    <a:pt x="841" y="901"/>
                  </a:lnTo>
                  <a:lnTo>
                    <a:pt x="832" y="906"/>
                  </a:lnTo>
                  <a:lnTo>
                    <a:pt x="828" y="906"/>
                  </a:lnTo>
                  <a:lnTo>
                    <a:pt x="823" y="906"/>
                  </a:lnTo>
                  <a:lnTo>
                    <a:pt x="819" y="910"/>
                  </a:lnTo>
                  <a:lnTo>
                    <a:pt x="814" y="910"/>
                  </a:lnTo>
                  <a:lnTo>
                    <a:pt x="814" y="910"/>
                  </a:lnTo>
                  <a:lnTo>
                    <a:pt x="809" y="915"/>
                  </a:lnTo>
                  <a:lnTo>
                    <a:pt x="809" y="919"/>
                  </a:lnTo>
                  <a:lnTo>
                    <a:pt x="809" y="924"/>
                  </a:lnTo>
                  <a:lnTo>
                    <a:pt x="805" y="924"/>
                  </a:lnTo>
                  <a:lnTo>
                    <a:pt x="805" y="929"/>
                  </a:lnTo>
                  <a:lnTo>
                    <a:pt x="800" y="933"/>
                  </a:lnTo>
                  <a:lnTo>
                    <a:pt x="796" y="933"/>
                  </a:lnTo>
                  <a:lnTo>
                    <a:pt x="791" y="933"/>
                  </a:lnTo>
                  <a:lnTo>
                    <a:pt x="791" y="938"/>
                  </a:lnTo>
                  <a:lnTo>
                    <a:pt x="791" y="938"/>
                  </a:lnTo>
                  <a:lnTo>
                    <a:pt x="787" y="942"/>
                  </a:lnTo>
                  <a:lnTo>
                    <a:pt x="787" y="947"/>
                  </a:lnTo>
                  <a:lnTo>
                    <a:pt x="782" y="951"/>
                  </a:lnTo>
                  <a:lnTo>
                    <a:pt x="777" y="951"/>
                  </a:lnTo>
                  <a:lnTo>
                    <a:pt x="773" y="951"/>
                  </a:lnTo>
                  <a:lnTo>
                    <a:pt x="768" y="951"/>
                  </a:lnTo>
                  <a:lnTo>
                    <a:pt x="768" y="951"/>
                  </a:lnTo>
                  <a:lnTo>
                    <a:pt x="764" y="938"/>
                  </a:lnTo>
                  <a:lnTo>
                    <a:pt x="764" y="933"/>
                  </a:lnTo>
                  <a:lnTo>
                    <a:pt x="768" y="915"/>
                  </a:lnTo>
                  <a:lnTo>
                    <a:pt x="768" y="910"/>
                  </a:lnTo>
                  <a:lnTo>
                    <a:pt x="768" y="906"/>
                  </a:lnTo>
                  <a:lnTo>
                    <a:pt x="768" y="896"/>
                  </a:lnTo>
                  <a:lnTo>
                    <a:pt x="768" y="892"/>
                  </a:lnTo>
                  <a:lnTo>
                    <a:pt x="764" y="887"/>
                  </a:lnTo>
                  <a:lnTo>
                    <a:pt x="764" y="887"/>
                  </a:lnTo>
                  <a:lnTo>
                    <a:pt x="764" y="883"/>
                  </a:lnTo>
                  <a:lnTo>
                    <a:pt x="764" y="878"/>
                  </a:lnTo>
                  <a:lnTo>
                    <a:pt x="759" y="878"/>
                  </a:lnTo>
                  <a:lnTo>
                    <a:pt x="759" y="874"/>
                  </a:lnTo>
                  <a:lnTo>
                    <a:pt x="755" y="869"/>
                  </a:lnTo>
                  <a:lnTo>
                    <a:pt x="755" y="864"/>
                  </a:lnTo>
                  <a:lnTo>
                    <a:pt x="750" y="864"/>
                  </a:lnTo>
                  <a:lnTo>
                    <a:pt x="750" y="864"/>
                  </a:lnTo>
                  <a:lnTo>
                    <a:pt x="745" y="860"/>
                  </a:lnTo>
                  <a:lnTo>
                    <a:pt x="745" y="855"/>
                  </a:lnTo>
                  <a:lnTo>
                    <a:pt x="741" y="846"/>
                  </a:lnTo>
                  <a:lnTo>
                    <a:pt x="741" y="842"/>
                  </a:lnTo>
                  <a:lnTo>
                    <a:pt x="741" y="837"/>
                  </a:lnTo>
                  <a:lnTo>
                    <a:pt x="741" y="832"/>
                  </a:lnTo>
                  <a:lnTo>
                    <a:pt x="736" y="832"/>
                  </a:lnTo>
                  <a:lnTo>
                    <a:pt x="736" y="823"/>
                  </a:lnTo>
                  <a:lnTo>
                    <a:pt x="732" y="823"/>
                  </a:lnTo>
                  <a:lnTo>
                    <a:pt x="732" y="819"/>
                  </a:lnTo>
                  <a:close/>
                </a:path>
              </a:pathLst>
            </a:custGeom>
            <a:blipFill>
              <a:blip r:embed="rId77"/>
              <a:tile tx="0" ty="0" sx="100000" sy="100000" flip="none" algn="tl"/>
            </a:blipFill>
            <a:ln w="9525" cap="flat" cmpd="sng" algn="ctr">
              <a:solidFill>
                <a:srgbClr val="002060"/>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Kaduna</a:t>
              </a: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1"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p>
          </p:txBody>
        </p:sp>
        <p:sp>
          <p:nvSpPr>
            <p:cNvPr id="143" name="Freeform 62">
              <a:extLst>
                <a:ext uri="{FF2B5EF4-FFF2-40B4-BE49-F238E27FC236}">
                  <a16:creationId xmlns:a16="http://schemas.microsoft.com/office/drawing/2014/main" id="{8FC47C63-48EE-4EC2-A3BA-2A1873AFCBDE}"/>
                </a:ext>
              </a:extLst>
            </p:cNvPr>
            <p:cNvSpPr>
              <a:spLocks/>
            </p:cNvSpPr>
            <p:nvPr>
              <p:custDataLst>
                <p:tags r:id="rId55"/>
              </p:custDataLst>
            </p:nvPr>
          </p:nvSpPr>
          <p:spPr bwMode="auto">
            <a:xfrm>
              <a:off x="1787146" y="1310804"/>
              <a:ext cx="575527" cy="785665"/>
            </a:xfrm>
            <a:custGeom>
              <a:avLst/>
              <a:gdLst/>
              <a:ahLst/>
              <a:cxnLst>
                <a:cxn ang="0">
                  <a:pos x="430" y="594"/>
                </a:cxn>
                <a:cxn ang="0">
                  <a:pos x="430" y="667"/>
                </a:cxn>
                <a:cxn ang="0">
                  <a:pos x="453" y="709"/>
                </a:cxn>
                <a:cxn ang="0">
                  <a:pos x="439" y="750"/>
                </a:cxn>
                <a:cxn ang="0">
                  <a:pos x="411" y="777"/>
                </a:cxn>
                <a:cxn ang="0">
                  <a:pos x="375" y="754"/>
                </a:cxn>
                <a:cxn ang="0">
                  <a:pos x="334" y="736"/>
                </a:cxn>
                <a:cxn ang="0">
                  <a:pos x="357" y="704"/>
                </a:cxn>
                <a:cxn ang="0">
                  <a:pos x="352" y="617"/>
                </a:cxn>
                <a:cxn ang="0">
                  <a:pos x="352" y="581"/>
                </a:cxn>
                <a:cxn ang="0">
                  <a:pos x="329" y="553"/>
                </a:cxn>
                <a:cxn ang="0">
                  <a:pos x="306" y="535"/>
                </a:cxn>
                <a:cxn ang="0">
                  <a:pos x="247" y="521"/>
                </a:cxn>
                <a:cxn ang="0">
                  <a:pos x="219" y="485"/>
                </a:cxn>
                <a:cxn ang="0">
                  <a:pos x="187" y="466"/>
                </a:cxn>
                <a:cxn ang="0">
                  <a:pos x="178" y="416"/>
                </a:cxn>
                <a:cxn ang="0">
                  <a:pos x="142" y="425"/>
                </a:cxn>
                <a:cxn ang="0">
                  <a:pos x="87" y="457"/>
                </a:cxn>
                <a:cxn ang="0">
                  <a:pos x="46" y="471"/>
                </a:cxn>
                <a:cxn ang="0">
                  <a:pos x="14" y="439"/>
                </a:cxn>
                <a:cxn ang="0">
                  <a:pos x="18" y="407"/>
                </a:cxn>
                <a:cxn ang="0">
                  <a:pos x="41" y="379"/>
                </a:cxn>
                <a:cxn ang="0">
                  <a:pos x="91" y="357"/>
                </a:cxn>
                <a:cxn ang="0">
                  <a:pos x="78" y="311"/>
                </a:cxn>
                <a:cxn ang="0">
                  <a:pos x="64" y="270"/>
                </a:cxn>
                <a:cxn ang="0">
                  <a:pos x="64" y="206"/>
                </a:cxn>
                <a:cxn ang="0">
                  <a:pos x="55" y="137"/>
                </a:cxn>
                <a:cxn ang="0">
                  <a:pos x="101" y="101"/>
                </a:cxn>
                <a:cxn ang="0">
                  <a:pos x="151" y="91"/>
                </a:cxn>
                <a:cxn ang="0">
                  <a:pos x="183" y="64"/>
                </a:cxn>
                <a:cxn ang="0">
                  <a:pos x="206" y="23"/>
                </a:cxn>
                <a:cxn ang="0">
                  <a:pos x="242" y="18"/>
                </a:cxn>
                <a:cxn ang="0">
                  <a:pos x="261" y="50"/>
                </a:cxn>
                <a:cxn ang="0">
                  <a:pos x="274" y="46"/>
                </a:cxn>
                <a:cxn ang="0">
                  <a:pos x="302" y="9"/>
                </a:cxn>
                <a:cxn ang="0">
                  <a:pos x="347" y="0"/>
                </a:cxn>
                <a:cxn ang="0">
                  <a:pos x="384" y="9"/>
                </a:cxn>
                <a:cxn ang="0">
                  <a:pos x="393" y="46"/>
                </a:cxn>
                <a:cxn ang="0">
                  <a:pos x="425" y="69"/>
                </a:cxn>
                <a:cxn ang="0">
                  <a:pos x="425" y="96"/>
                </a:cxn>
                <a:cxn ang="0">
                  <a:pos x="471" y="114"/>
                </a:cxn>
                <a:cxn ang="0">
                  <a:pos x="494" y="146"/>
                </a:cxn>
                <a:cxn ang="0">
                  <a:pos x="494" y="178"/>
                </a:cxn>
                <a:cxn ang="0">
                  <a:pos x="512" y="201"/>
                </a:cxn>
                <a:cxn ang="0">
                  <a:pos x="544" y="206"/>
                </a:cxn>
                <a:cxn ang="0">
                  <a:pos x="571" y="201"/>
                </a:cxn>
                <a:cxn ang="0">
                  <a:pos x="594" y="224"/>
                </a:cxn>
                <a:cxn ang="0">
                  <a:pos x="590" y="283"/>
                </a:cxn>
                <a:cxn ang="0">
                  <a:pos x="571" y="311"/>
                </a:cxn>
                <a:cxn ang="0">
                  <a:pos x="603" y="329"/>
                </a:cxn>
                <a:cxn ang="0">
                  <a:pos x="608" y="357"/>
                </a:cxn>
                <a:cxn ang="0">
                  <a:pos x="640" y="389"/>
                </a:cxn>
                <a:cxn ang="0">
                  <a:pos x="645" y="416"/>
                </a:cxn>
                <a:cxn ang="0">
                  <a:pos x="613" y="439"/>
                </a:cxn>
                <a:cxn ang="0">
                  <a:pos x="590" y="475"/>
                </a:cxn>
                <a:cxn ang="0">
                  <a:pos x="553" y="485"/>
                </a:cxn>
                <a:cxn ang="0">
                  <a:pos x="526" y="503"/>
                </a:cxn>
                <a:cxn ang="0">
                  <a:pos x="489" y="535"/>
                </a:cxn>
                <a:cxn ang="0">
                  <a:pos x="466" y="567"/>
                </a:cxn>
              </a:cxnLst>
              <a:rect l="0" t="0" r="r" b="b"/>
              <a:pathLst>
                <a:path w="658" h="777">
                  <a:moveTo>
                    <a:pt x="439" y="576"/>
                  </a:moveTo>
                  <a:lnTo>
                    <a:pt x="439" y="576"/>
                  </a:lnTo>
                  <a:lnTo>
                    <a:pt x="439" y="576"/>
                  </a:lnTo>
                  <a:lnTo>
                    <a:pt x="434" y="576"/>
                  </a:lnTo>
                  <a:lnTo>
                    <a:pt x="434" y="581"/>
                  </a:lnTo>
                  <a:lnTo>
                    <a:pt x="434" y="585"/>
                  </a:lnTo>
                  <a:lnTo>
                    <a:pt x="430" y="585"/>
                  </a:lnTo>
                  <a:lnTo>
                    <a:pt x="430" y="590"/>
                  </a:lnTo>
                  <a:lnTo>
                    <a:pt x="430" y="594"/>
                  </a:lnTo>
                  <a:lnTo>
                    <a:pt x="430" y="594"/>
                  </a:lnTo>
                  <a:lnTo>
                    <a:pt x="430" y="599"/>
                  </a:lnTo>
                  <a:lnTo>
                    <a:pt x="430" y="613"/>
                  </a:lnTo>
                  <a:lnTo>
                    <a:pt x="430" y="617"/>
                  </a:lnTo>
                  <a:lnTo>
                    <a:pt x="425" y="631"/>
                  </a:lnTo>
                  <a:lnTo>
                    <a:pt x="425" y="645"/>
                  </a:lnTo>
                  <a:lnTo>
                    <a:pt x="425" y="649"/>
                  </a:lnTo>
                  <a:lnTo>
                    <a:pt x="425" y="654"/>
                  </a:lnTo>
                  <a:lnTo>
                    <a:pt x="430" y="663"/>
                  </a:lnTo>
                  <a:lnTo>
                    <a:pt x="430" y="663"/>
                  </a:lnTo>
                  <a:lnTo>
                    <a:pt x="430" y="667"/>
                  </a:lnTo>
                  <a:lnTo>
                    <a:pt x="434" y="672"/>
                  </a:lnTo>
                  <a:lnTo>
                    <a:pt x="439" y="677"/>
                  </a:lnTo>
                  <a:lnTo>
                    <a:pt x="439" y="681"/>
                  </a:lnTo>
                  <a:lnTo>
                    <a:pt x="439" y="686"/>
                  </a:lnTo>
                  <a:lnTo>
                    <a:pt x="443" y="686"/>
                  </a:lnTo>
                  <a:lnTo>
                    <a:pt x="443" y="690"/>
                  </a:lnTo>
                  <a:lnTo>
                    <a:pt x="448" y="690"/>
                  </a:lnTo>
                  <a:lnTo>
                    <a:pt x="453" y="695"/>
                  </a:lnTo>
                  <a:lnTo>
                    <a:pt x="453" y="704"/>
                  </a:lnTo>
                  <a:lnTo>
                    <a:pt x="453" y="709"/>
                  </a:lnTo>
                  <a:lnTo>
                    <a:pt x="453" y="718"/>
                  </a:lnTo>
                  <a:lnTo>
                    <a:pt x="453" y="722"/>
                  </a:lnTo>
                  <a:lnTo>
                    <a:pt x="453" y="727"/>
                  </a:lnTo>
                  <a:lnTo>
                    <a:pt x="453" y="727"/>
                  </a:lnTo>
                  <a:lnTo>
                    <a:pt x="453" y="736"/>
                  </a:lnTo>
                  <a:lnTo>
                    <a:pt x="448" y="741"/>
                  </a:lnTo>
                  <a:lnTo>
                    <a:pt x="448" y="745"/>
                  </a:lnTo>
                  <a:lnTo>
                    <a:pt x="443" y="745"/>
                  </a:lnTo>
                  <a:lnTo>
                    <a:pt x="443" y="750"/>
                  </a:lnTo>
                  <a:lnTo>
                    <a:pt x="439" y="750"/>
                  </a:lnTo>
                  <a:lnTo>
                    <a:pt x="439" y="754"/>
                  </a:lnTo>
                  <a:lnTo>
                    <a:pt x="434" y="759"/>
                  </a:lnTo>
                  <a:lnTo>
                    <a:pt x="434" y="763"/>
                  </a:lnTo>
                  <a:lnTo>
                    <a:pt x="430" y="768"/>
                  </a:lnTo>
                  <a:lnTo>
                    <a:pt x="430" y="773"/>
                  </a:lnTo>
                  <a:lnTo>
                    <a:pt x="425" y="773"/>
                  </a:lnTo>
                  <a:lnTo>
                    <a:pt x="421" y="777"/>
                  </a:lnTo>
                  <a:lnTo>
                    <a:pt x="416" y="773"/>
                  </a:lnTo>
                  <a:lnTo>
                    <a:pt x="416" y="773"/>
                  </a:lnTo>
                  <a:lnTo>
                    <a:pt x="411" y="777"/>
                  </a:lnTo>
                  <a:lnTo>
                    <a:pt x="407" y="777"/>
                  </a:lnTo>
                  <a:lnTo>
                    <a:pt x="402" y="777"/>
                  </a:lnTo>
                  <a:lnTo>
                    <a:pt x="393" y="773"/>
                  </a:lnTo>
                  <a:lnTo>
                    <a:pt x="393" y="773"/>
                  </a:lnTo>
                  <a:lnTo>
                    <a:pt x="393" y="773"/>
                  </a:lnTo>
                  <a:lnTo>
                    <a:pt x="389" y="773"/>
                  </a:lnTo>
                  <a:lnTo>
                    <a:pt x="384" y="768"/>
                  </a:lnTo>
                  <a:lnTo>
                    <a:pt x="379" y="763"/>
                  </a:lnTo>
                  <a:lnTo>
                    <a:pt x="379" y="759"/>
                  </a:lnTo>
                  <a:lnTo>
                    <a:pt x="375" y="754"/>
                  </a:lnTo>
                  <a:lnTo>
                    <a:pt x="375" y="750"/>
                  </a:lnTo>
                  <a:lnTo>
                    <a:pt x="370" y="750"/>
                  </a:lnTo>
                  <a:lnTo>
                    <a:pt x="370" y="745"/>
                  </a:lnTo>
                  <a:lnTo>
                    <a:pt x="366" y="741"/>
                  </a:lnTo>
                  <a:lnTo>
                    <a:pt x="361" y="741"/>
                  </a:lnTo>
                  <a:lnTo>
                    <a:pt x="352" y="741"/>
                  </a:lnTo>
                  <a:lnTo>
                    <a:pt x="352" y="741"/>
                  </a:lnTo>
                  <a:lnTo>
                    <a:pt x="347" y="736"/>
                  </a:lnTo>
                  <a:lnTo>
                    <a:pt x="338" y="736"/>
                  </a:lnTo>
                  <a:lnTo>
                    <a:pt x="334" y="736"/>
                  </a:lnTo>
                  <a:lnTo>
                    <a:pt x="329" y="727"/>
                  </a:lnTo>
                  <a:lnTo>
                    <a:pt x="329" y="727"/>
                  </a:lnTo>
                  <a:lnTo>
                    <a:pt x="338" y="722"/>
                  </a:lnTo>
                  <a:lnTo>
                    <a:pt x="347" y="722"/>
                  </a:lnTo>
                  <a:lnTo>
                    <a:pt x="352" y="718"/>
                  </a:lnTo>
                  <a:lnTo>
                    <a:pt x="352" y="718"/>
                  </a:lnTo>
                  <a:lnTo>
                    <a:pt x="357" y="718"/>
                  </a:lnTo>
                  <a:lnTo>
                    <a:pt x="357" y="713"/>
                  </a:lnTo>
                  <a:lnTo>
                    <a:pt x="357" y="709"/>
                  </a:lnTo>
                  <a:lnTo>
                    <a:pt x="357" y="704"/>
                  </a:lnTo>
                  <a:lnTo>
                    <a:pt x="357" y="704"/>
                  </a:lnTo>
                  <a:lnTo>
                    <a:pt x="357" y="699"/>
                  </a:lnTo>
                  <a:lnTo>
                    <a:pt x="352" y="686"/>
                  </a:lnTo>
                  <a:lnTo>
                    <a:pt x="352" y="672"/>
                  </a:lnTo>
                  <a:lnTo>
                    <a:pt x="352" y="663"/>
                  </a:lnTo>
                  <a:lnTo>
                    <a:pt x="352" y="654"/>
                  </a:lnTo>
                  <a:lnTo>
                    <a:pt x="352" y="649"/>
                  </a:lnTo>
                  <a:lnTo>
                    <a:pt x="352" y="645"/>
                  </a:lnTo>
                  <a:lnTo>
                    <a:pt x="352" y="640"/>
                  </a:lnTo>
                  <a:lnTo>
                    <a:pt x="352" y="617"/>
                  </a:lnTo>
                  <a:lnTo>
                    <a:pt x="357" y="617"/>
                  </a:lnTo>
                  <a:lnTo>
                    <a:pt x="357" y="613"/>
                  </a:lnTo>
                  <a:lnTo>
                    <a:pt x="357" y="603"/>
                  </a:lnTo>
                  <a:lnTo>
                    <a:pt x="357" y="599"/>
                  </a:lnTo>
                  <a:lnTo>
                    <a:pt x="357" y="594"/>
                  </a:lnTo>
                  <a:lnTo>
                    <a:pt x="357" y="594"/>
                  </a:lnTo>
                  <a:lnTo>
                    <a:pt x="352" y="594"/>
                  </a:lnTo>
                  <a:lnTo>
                    <a:pt x="352" y="590"/>
                  </a:lnTo>
                  <a:lnTo>
                    <a:pt x="352" y="585"/>
                  </a:lnTo>
                  <a:lnTo>
                    <a:pt x="352" y="581"/>
                  </a:lnTo>
                  <a:lnTo>
                    <a:pt x="352" y="576"/>
                  </a:lnTo>
                  <a:lnTo>
                    <a:pt x="347" y="576"/>
                  </a:lnTo>
                  <a:lnTo>
                    <a:pt x="347" y="576"/>
                  </a:lnTo>
                  <a:lnTo>
                    <a:pt x="343" y="576"/>
                  </a:lnTo>
                  <a:lnTo>
                    <a:pt x="343" y="571"/>
                  </a:lnTo>
                  <a:lnTo>
                    <a:pt x="338" y="567"/>
                  </a:lnTo>
                  <a:lnTo>
                    <a:pt x="334" y="562"/>
                  </a:lnTo>
                  <a:lnTo>
                    <a:pt x="334" y="558"/>
                  </a:lnTo>
                  <a:lnTo>
                    <a:pt x="329" y="558"/>
                  </a:lnTo>
                  <a:lnTo>
                    <a:pt x="329" y="553"/>
                  </a:lnTo>
                  <a:lnTo>
                    <a:pt x="329" y="553"/>
                  </a:lnTo>
                  <a:lnTo>
                    <a:pt x="325" y="553"/>
                  </a:lnTo>
                  <a:lnTo>
                    <a:pt x="320" y="553"/>
                  </a:lnTo>
                  <a:lnTo>
                    <a:pt x="320" y="549"/>
                  </a:lnTo>
                  <a:lnTo>
                    <a:pt x="315" y="544"/>
                  </a:lnTo>
                  <a:lnTo>
                    <a:pt x="311" y="544"/>
                  </a:lnTo>
                  <a:lnTo>
                    <a:pt x="311" y="544"/>
                  </a:lnTo>
                  <a:lnTo>
                    <a:pt x="306" y="539"/>
                  </a:lnTo>
                  <a:lnTo>
                    <a:pt x="306" y="539"/>
                  </a:lnTo>
                  <a:lnTo>
                    <a:pt x="306" y="535"/>
                  </a:lnTo>
                  <a:lnTo>
                    <a:pt x="302" y="535"/>
                  </a:lnTo>
                  <a:lnTo>
                    <a:pt x="297" y="535"/>
                  </a:lnTo>
                  <a:lnTo>
                    <a:pt x="283" y="530"/>
                  </a:lnTo>
                  <a:lnTo>
                    <a:pt x="279" y="530"/>
                  </a:lnTo>
                  <a:lnTo>
                    <a:pt x="270" y="530"/>
                  </a:lnTo>
                  <a:lnTo>
                    <a:pt x="265" y="530"/>
                  </a:lnTo>
                  <a:lnTo>
                    <a:pt x="261" y="526"/>
                  </a:lnTo>
                  <a:lnTo>
                    <a:pt x="256" y="526"/>
                  </a:lnTo>
                  <a:lnTo>
                    <a:pt x="251" y="526"/>
                  </a:lnTo>
                  <a:lnTo>
                    <a:pt x="247" y="521"/>
                  </a:lnTo>
                  <a:lnTo>
                    <a:pt x="242" y="517"/>
                  </a:lnTo>
                  <a:lnTo>
                    <a:pt x="242" y="512"/>
                  </a:lnTo>
                  <a:lnTo>
                    <a:pt x="238" y="507"/>
                  </a:lnTo>
                  <a:lnTo>
                    <a:pt x="238" y="498"/>
                  </a:lnTo>
                  <a:lnTo>
                    <a:pt x="238" y="494"/>
                  </a:lnTo>
                  <a:lnTo>
                    <a:pt x="233" y="494"/>
                  </a:lnTo>
                  <a:lnTo>
                    <a:pt x="233" y="489"/>
                  </a:lnTo>
                  <a:lnTo>
                    <a:pt x="229" y="489"/>
                  </a:lnTo>
                  <a:lnTo>
                    <a:pt x="224" y="489"/>
                  </a:lnTo>
                  <a:lnTo>
                    <a:pt x="219" y="485"/>
                  </a:lnTo>
                  <a:lnTo>
                    <a:pt x="219" y="485"/>
                  </a:lnTo>
                  <a:lnTo>
                    <a:pt x="215" y="485"/>
                  </a:lnTo>
                  <a:lnTo>
                    <a:pt x="210" y="485"/>
                  </a:lnTo>
                  <a:lnTo>
                    <a:pt x="206" y="480"/>
                  </a:lnTo>
                  <a:lnTo>
                    <a:pt x="201" y="480"/>
                  </a:lnTo>
                  <a:lnTo>
                    <a:pt x="197" y="480"/>
                  </a:lnTo>
                  <a:lnTo>
                    <a:pt x="197" y="475"/>
                  </a:lnTo>
                  <a:lnTo>
                    <a:pt x="192" y="475"/>
                  </a:lnTo>
                  <a:lnTo>
                    <a:pt x="192" y="471"/>
                  </a:lnTo>
                  <a:lnTo>
                    <a:pt x="187" y="466"/>
                  </a:lnTo>
                  <a:lnTo>
                    <a:pt x="187" y="462"/>
                  </a:lnTo>
                  <a:lnTo>
                    <a:pt x="183" y="462"/>
                  </a:lnTo>
                  <a:lnTo>
                    <a:pt x="183" y="457"/>
                  </a:lnTo>
                  <a:lnTo>
                    <a:pt x="187" y="453"/>
                  </a:lnTo>
                  <a:lnTo>
                    <a:pt x="187" y="448"/>
                  </a:lnTo>
                  <a:lnTo>
                    <a:pt x="192" y="439"/>
                  </a:lnTo>
                  <a:lnTo>
                    <a:pt x="192" y="434"/>
                  </a:lnTo>
                  <a:lnTo>
                    <a:pt x="192" y="430"/>
                  </a:lnTo>
                  <a:lnTo>
                    <a:pt x="183" y="421"/>
                  </a:lnTo>
                  <a:lnTo>
                    <a:pt x="178" y="416"/>
                  </a:lnTo>
                  <a:lnTo>
                    <a:pt x="174" y="411"/>
                  </a:lnTo>
                  <a:lnTo>
                    <a:pt x="174" y="411"/>
                  </a:lnTo>
                  <a:lnTo>
                    <a:pt x="174" y="416"/>
                  </a:lnTo>
                  <a:lnTo>
                    <a:pt x="169" y="416"/>
                  </a:lnTo>
                  <a:lnTo>
                    <a:pt x="165" y="416"/>
                  </a:lnTo>
                  <a:lnTo>
                    <a:pt x="165" y="421"/>
                  </a:lnTo>
                  <a:lnTo>
                    <a:pt x="160" y="421"/>
                  </a:lnTo>
                  <a:lnTo>
                    <a:pt x="151" y="421"/>
                  </a:lnTo>
                  <a:lnTo>
                    <a:pt x="146" y="425"/>
                  </a:lnTo>
                  <a:lnTo>
                    <a:pt x="142" y="425"/>
                  </a:lnTo>
                  <a:lnTo>
                    <a:pt x="137" y="425"/>
                  </a:lnTo>
                  <a:lnTo>
                    <a:pt x="133" y="425"/>
                  </a:lnTo>
                  <a:lnTo>
                    <a:pt x="133" y="430"/>
                  </a:lnTo>
                  <a:lnTo>
                    <a:pt x="123" y="434"/>
                  </a:lnTo>
                  <a:lnTo>
                    <a:pt x="119" y="434"/>
                  </a:lnTo>
                  <a:lnTo>
                    <a:pt x="110" y="439"/>
                  </a:lnTo>
                  <a:lnTo>
                    <a:pt x="110" y="439"/>
                  </a:lnTo>
                  <a:lnTo>
                    <a:pt x="101" y="448"/>
                  </a:lnTo>
                  <a:lnTo>
                    <a:pt x="96" y="448"/>
                  </a:lnTo>
                  <a:lnTo>
                    <a:pt x="87" y="457"/>
                  </a:lnTo>
                  <a:lnTo>
                    <a:pt x="87" y="462"/>
                  </a:lnTo>
                  <a:lnTo>
                    <a:pt x="82" y="466"/>
                  </a:lnTo>
                  <a:lnTo>
                    <a:pt x="78" y="466"/>
                  </a:lnTo>
                  <a:lnTo>
                    <a:pt x="78" y="466"/>
                  </a:lnTo>
                  <a:lnTo>
                    <a:pt x="73" y="466"/>
                  </a:lnTo>
                  <a:lnTo>
                    <a:pt x="69" y="471"/>
                  </a:lnTo>
                  <a:lnTo>
                    <a:pt x="64" y="471"/>
                  </a:lnTo>
                  <a:lnTo>
                    <a:pt x="64" y="471"/>
                  </a:lnTo>
                  <a:lnTo>
                    <a:pt x="55" y="471"/>
                  </a:lnTo>
                  <a:lnTo>
                    <a:pt x="46" y="471"/>
                  </a:lnTo>
                  <a:lnTo>
                    <a:pt x="41" y="471"/>
                  </a:lnTo>
                  <a:lnTo>
                    <a:pt x="41" y="471"/>
                  </a:lnTo>
                  <a:lnTo>
                    <a:pt x="27" y="466"/>
                  </a:lnTo>
                  <a:lnTo>
                    <a:pt x="27" y="462"/>
                  </a:lnTo>
                  <a:lnTo>
                    <a:pt x="27" y="457"/>
                  </a:lnTo>
                  <a:lnTo>
                    <a:pt x="23" y="453"/>
                  </a:lnTo>
                  <a:lnTo>
                    <a:pt x="18" y="443"/>
                  </a:lnTo>
                  <a:lnTo>
                    <a:pt x="18" y="443"/>
                  </a:lnTo>
                  <a:lnTo>
                    <a:pt x="14" y="443"/>
                  </a:lnTo>
                  <a:lnTo>
                    <a:pt x="14" y="439"/>
                  </a:lnTo>
                  <a:lnTo>
                    <a:pt x="9" y="434"/>
                  </a:lnTo>
                  <a:lnTo>
                    <a:pt x="5" y="430"/>
                  </a:lnTo>
                  <a:lnTo>
                    <a:pt x="5" y="425"/>
                  </a:lnTo>
                  <a:lnTo>
                    <a:pt x="0" y="421"/>
                  </a:lnTo>
                  <a:lnTo>
                    <a:pt x="0" y="421"/>
                  </a:lnTo>
                  <a:lnTo>
                    <a:pt x="5" y="421"/>
                  </a:lnTo>
                  <a:lnTo>
                    <a:pt x="9" y="411"/>
                  </a:lnTo>
                  <a:lnTo>
                    <a:pt x="14" y="411"/>
                  </a:lnTo>
                  <a:lnTo>
                    <a:pt x="14" y="407"/>
                  </a:lnTo>
                  <a:lnTo>
                    <a:pt x="18" y="407"/>
                  </a:lnTo>
                  <a:lnTo>
                    <a:pt x="23" y="407"/>
                  </a:lnTo>
                  <a:lnTo>
                    <a:pt x="23" y="402"/>
                  </a:lnTo>
                  <a:lnTo>
                    <a:pt x="23" y="398"/>
                  </a:lnTo>
                  <a:lnTo>
                    <a:pt x="23" y="393"/>
                  </a:lnTo>
                  <a:lnTo>
                    <a:pt x="27" y="389"/>
                  </a:lnTo>
                  <a:lnTo>
                    <a:pt x="27" y="384"/>
                  </a:lnTo>
                  <a:lnTo>
                    <a:pt x="32" y="384"/>
                  </a:lnTo>
                  <a:lnTo>
                    <a:pt x="37" y="384"/>
                  </a:lnTo>
                  <a:lnTo>
                    <a:pt x="41" y="379"/>
                  </a:lnTo>
                  <a:lnTo>
                    <a:pt x="41" y="379"/>
                  </a:lnTo>
                  <a:lnTo>
                    <a:pt x="50" y="375"/>
                  </a:lnTo>
                  <a:lnTo>
                    <a:pt x="55" y="375"/>
                  </a:lnTo>
                  <a:lnTo>
                    <a:pt x="59" y="375"/>
                  </a:lnTo>
                  <a:lnTo>
                    <a:pt x="73" y="375"/>
                  </a:lnTo>
                  <a:lnTo>
                    <a:pt x="78" y="375"/>
                  </a:lnTo>
                  <a:lnTo>
                    <a:pt x="87" y="370"/>
                  </a:lnTo>
                  <a:lnTo>
                    <a:pt x="91" y="366"/>
                  </a:lnTo>
                  <a:lnTo>
                    <a:pt x="91" y="366"/>
                  </a:lnTo>
                  <a:lnTo>
                    <a:pt x="91" y="361"/>
                  </a:lnTo>
                  <a:lnTo>
                    <a:pt x="91" y="357"/>
                  </a:lnTo>
                  <a:lnTo>
                    <a:pt x="91" y="357"/>
                  </a:lnTo>
                  <a:lnTo>
                    <a:pt x="87" y="347"/>
                  </a:lnTo>
                  <a:lnTo>
                    <a:pt x="87" y="343"/>
                  </a:lnTo>
                  <a:lnTo>
                    <a:pt x="87" y="338"/>
                  </a:lnTo>
                  <a:lnTo>
                    <a:pt x="82" y="334"/>
                  </a:lnTo>
                  <a:lnTo>
                    <a:pt x="82" y="334"/>
                  </a:lnTo>
                  <a:lnTo>
                    <a:pt x="82" y="329"/>
                  </a:lnTo>
                  <a:lnTo>
                    <a:pt x="78" y="315"/>
                  </a:lnTo>
                  <a:lnTo>
                    <a:pt x="78" y="311"/>
                  </a:lnTo>
                  <a:lnTo>
                    <a:pt x="78" y="311"/>
                  </a:lnTo>
                  <a:lnTo>
                    <a:pt x="78" y="306"/>
                  </a:lnTo>
                  <a:lnTo>
                    <a:pt x="78" y="302"/>
                  </a:lnTo>
                  <a:lnTo>
                    <a:pt x="78" y="297"/>
                  </a:lnTo>
                  <a:lnTo>
                    <a:pt x="78" y="288"/>
                  </a:lnTo>
                  <a:lnTo>
                    <a:pt x="73" y="288"/>
                  </a:lnTo>
                  <a:lnTo>
                    <a:pt x="73" y="283"/>
                  </a:lnTo>
                  <a:lnTo>
                    <a:pt x="73" y="279"/>
                  </a:lnTo>
                  <a:lnTo>
                    <a:pt x="69" y="279"/>
                  </a:lnTo>
                  <a:lnTo>
                    <a:pt x="64" y="274"/>
                  </a:lnTo>
                  <a:lnTo>
                    <a:pt x="64" y="270"/>
                  </a:lnTo>
                  <a:lnTo>
                    <a:pt x="64" y="265"/>
                  </a:lnTo>
                  <a:lnTo>
                    <a:pt x="64" y="265"/>
                  </a:lnTo>
                  <a:lnTo>
                    <a:pt x="64" y="261"/>
                  </a:lnTo>
                  <a:lnTo>
                    <a:pt x="64" y="251"/>
                  </a:lnTo>
                  <a:lnTo>
                    <a:pt x="64" y="247"/>
                  </a:lnTo>
                  <a:lnTo>
                    <a:pt x="64" y="238"/>
                  </a:lnTo>
                  <a:lnTo>
                    <a:pt x="64" y="233"/>
                  </a:lnTo>
                  <a:lnTo>
                    <a:pt x="64" y="219"/>
                  </a:lnTo>
                  <a:lnTo>
                    <a:pt x="64" y="215"/>
                  </a:lnTo>
                  <a:lnTo>
                    <a:pt x="64" y="206"/>
                  </a:lnTo>
                  <a:lnTo>
                    <a:pt x="64" y="197"/>
                  </a:lnTo>
                  <a:lnTo>
                    <a:pt x="64" y="192"/>
                  </a:lnTo>
                  <a:lnTo>
                    <a:pt x="64" y="183"/>
                  </a:lnTo>
                  <a:lnTo>
                    <a:pt x="59" y="169"/>
                  </a:lnTo>
                  <a:lnTo>
                    <a:pt x="55" y="165"/>
                  </a:lnTo>
                  <a:lnTo>
                    <a:pt x="55" y="160"/>
                  </a:lnTo>
                  <a:lnTo>
                    <a:pt x="55" y="155"/>
                  </a:lnTo>
                  <a:lnTo>
                    <a:pt x="55" y="155"/>
                  </a:lnTo>
                  <a:lnTo>
                    <a:pt x="55" y="146"/>
                  </a:lnTo>
                  <a:lnTo>
                    <a:pt x="55" y="137"/>
                  </a:lnTo>
                  <a:lnTo>
                    <a:pt x="59" y="133"/>
                  </a:lnTo>
                  <a:lnTo>
                    <a:pt x="64" y="128"/>
                  </a:lnTo>
                  <a:lnTo>
                    <a:pt x="64" y="123"/>
                  </a:lnTo>
                  <a:lnTo>
                    <a:pt x="69" y="119"/>
                  </a:lnTo>
                  <a:lnTo>
                    <a:pt x="73" y="114"/>
                  </a:lnTo>
                  <a:lnTo>
                    <a:pt x="78" y="114"/>
                  </a:lnTo>
                  <a:lnTo>
                    <a:pt x="82" y="114"/>
                  </a:lnTo>
                  <a:lnTo>
                    <a:pt x="87" y="110"/>
                  </a:lnTo>
                  <a:lnTo>
                    <a:pt x="101" y="105"/>
                  </a:lnTo>
                  <a:lnTo>
                    <a:pt x="101" y="101"/>
                  </a:lnTo>
                  <a:lnTo>
                    <a:pt x="105" y="101"/>
                  </a:lnTo>
                  <a:lnTo>
                    <a:pt x="110" y="96"/>
                  </a:lnTo>
                  <a:lnTo>
                    <a:pt x="114" y="96"/>
                  </a:lnTo>
                  <a:lnTo>
                    <a:pt x="119" y="96"/>
                  </a:lnTo>
                  <a:lnTo>
                    <a:pt x="123" y="96"/>
                  </a:lnTo>
                  <a:lnTo>
                    <a:pt x="133" y="91"/>
                  </a:lnTo>
                  <a:lnTo>
                    <a:pt x="133" y="91"/>
                  </a:lnTo>
                  <a:lnTo>
                    <a:pt x="137" y="91"/>
                  </a:lnTo>
                  <a:lnTo>
                    <a:pt x="142" y="91"/>
                  </a:lnTo>
                  <a:lnTo>
                    <a:pt x="151" y="91"/>
                  </a:lnTo>
                  <a:lnTo>
                    <a:pt x="151" y="87"/>
                  </a:lnTo>
                  <a:lnTo>
                    <a:pt x="155" y="87"/>
                  </a:lnTo>
                  <a:lnTo>
                    <a:pt x="165" y="82"/>
                  </a:lnTo>
                  <a:lnTo>
                    <a:pt x="169" y="78"/>
                  </a:lnTo>
                  <a:lnTo>
                    <a:pt x="174" y="78"/>
                  </a:lnTo>
                  <a:lnTo>
                    <a:pt x="174" y="73"/>
                  </a:lnTo>
                  <a:lnTo>
                    <a:pt x="178" y="69"/>
                  </a:lnTo>
                  <a:lnTo>
                    <a:pt x="178" y="69"/>
                  </a:lnTo>
                  <a:lnTo>
                    <a:pt x="183" y="69"/>
                  </a:lnTo>
                  <a:lnTo>
                    <a:pt x="183" y="64"/>
                  </a:lnTo>
                  <a:lnTo>
                    <a:pt x="187" y="59"/>
                  </a:lnTo>
                  <a:lnTo>
                    <a:pt x="187" y="55"/>
                  </a:lnTo>
                  <a:lnTo>
                    <a:pt x="187" y="50"/>
                  </a:lnTo>
                  <a:lnTo>
                    <a:pt x="192" y="46"/>
                  </a:lnTo>
                  <a:lnTo>
                    <a:pt x="197" y="37"/>
                  </a:lnTo>
                  <a:lnTo>
                    <a:pt x="197" y="37"/>
                  </a:lnTo>
                  <a:lnTo>
                    <a:pt x="197" y="32"/>
                  </a:lnTo>
                  <a:lnTo>
                    <a:pt x="197" y="27"/>
                  </a:lnTo>
                  <a:lnTo>
                    <a:pt x="201" y="27"/>
                  </a:lnTo>
                  <a:lnTo>
                    <a:pt x="206" y="23"/>
                  </a:lnTo>
                  <a:lnTo>
                    <a:pt x="210" y="18"/>
                  </a:lnTo>
                  <a:lnTo>
                    <a:pt x="215" y="18"/>
                  </a:lnTo>
                  <a:lnTo>
                    <a:pt x="219" y="14"/>
                  </a:lnTo>
                  <a:lnTo>
                    <a:pt x="219" y="9"/>
                  </a:lnTo>
                  <a:lnTo>
                    <a:pt x="229" y="5"/>
                  </a:lnTo>
                  <a:lnTo>
                    <a:pt x="229" y="5"/>
                  </a:lnTo>
                  <a:lnTo>
                    <a:pt x="233" y="5"/>
                  </a:lnTo>
                  <a:lnTo>
                    <a:pt x="238" y="5"/>
                  </a:lnTo>
                  <a:lnTo>
                    <a:pt x="242" y="14"/>
                  </a:lnTo>
                  <a:lnTo>
                    <a:pt x="242" y="18"/>
                  </a:lnTo>
                  <a:lnTo>
                    <a:pt x="247" y="23"/>
                  </a:lnTo>
                  <a:lnTo>
                    <a:pt x="251" y="27"/>
                  </a:lnTo>
                  <a:lnTo>
                    <a:pt x="256" y="27"/>
                  </a:lnTo>
                  <a:lnTo>
                    <a:pt x="256" y="32"/>
                  </a:lnTo>
                  <a:lnTo>
                    <a:pt x="261" y="32"/>
                  </a:lnTo>
                  <a:lnTo>
                    <a:pt x="261" y="37"/>
                  </a:lnTo>
                  <a:lnTo>
                    <a:pt x="261" y="41"/>
                  </a:lnTo>
                  <a:lnTo>
                    <a:pt x="261" y="46"/>
                  </a:lnTo>
                  <a:lnTo>
                    <a:pt x="261" y="50"/>
                  </a:lnTo>
                  <a:lnTo>
                    <a:pt x="261" y="50"/>
                  </a:lnTo>
                  <a:lnTo>
                    <a:pt x="261" y="59"/>
                  </a:lnTo>
                  <a:lnTo>
                    <a:pt x="261" y="64"/>
                  </a:lnTo>
                  <a:lnTo>
                    <a:pt x="265" y="64"/>
                  </a:lnTo>
                  <a:lnTo>
                    <a:pt x="265" y="69"/>
                  </a:lnTo>
                  <a:lnTo>
                    <a:pt x="270" y="64"/>
                  </a:lnTo>
                  <a:lnTo>
                    <a:pt x="270" y="59"/>
                  </a:lnTo>
                  <a:lnTo>
                    <a:pt x="274" y="59"/>
                  </a:lnTo>
                  <a:lnTo>
                    <a:pt x="274" y="55"/>
                  </a:lnTo>
                  <a:lnTo>
                    <a:pt x="274" y="50"/>
                  </a:lnTo>
                  <a:lnTo>
                    <a:pt x="274" y="46"/>
                  </a:lnTo>
                  <a:lnTo>
                    <a:pt x="279" y="46"/>
                  </a:lnTo>
                  <a:lnTo>
                    <a:pt x="279" y="37"/>
                  </a:lnTo>
                  <a:lnTo>
                    <a:pt x="283" y="27"/>
                  </a:lnTo>
                  <a:lnTo>
                    <a:pt x="283" y="27"/>
                  </a:lnTo>
                  <a:lnTo>
                    <a:pt x="283" y="27"/>
                  </a:lnTo>
                  <a:lnTo>
                    <a:pt x="283" y="23"/>
                  </a:lnTo>
                  <a:lnTo>
                    <a:pt x="288" y="18"/>
                  </a:lnTo>
                  <a:lnTo>
                    <a:pt x="293" y="14"/>
                  </a:lnTo>
                  <a:lnTo>
                    <a:pt x="297" y="14"/>
                  </a:lnTo>
                  <a:lnTo>
                    <a:pt x="302" y="9"/>
                  </a:lnTo>
                  <a:lnTo>
                    <a:pt x="306" y="5"/>
                  </a:lnTo>
                  <a:lnTo>
                    <a:pt x="306" y="5"/>
                  </a:lnTo>
                  <a:lnTo>
                    <a:pt x="315" y="5"/>
                  </a:lnTo>
                  <a:lnTo>
                    <a:pt x="329" y="5"/>
                  </a:lnTo>
                  <a:lnTo>
                    <a:pt x="329" y="5"/>
                  </a:lnTo>
                  <a:lnTo>
                    <a:pt x="329" y="5"/>
                  </a:lnTo>
                  <a:lnTo>
                    <a:pt x="334" y="5"/>
                  </a:lnTo>
                  <a:lnTo>
                    <a:pt x="338" y="5"/>
                  </a:lnTo>
                  <a:lnTo>
                    <a:pt x="343" y="0"/>
                  </a:lnTo>
                  <a:lnTo>
                    <a:pt x="347" y="0"/>
                  </a:lnTo>
                  <a:lnTo>
                    <a:pt x="352" y="0"/>
                  </a:lnTo>
                  <a:lnTo>
                    <a:pt x="352" y="5"/>
                  </a:lnTo>
                  <a:lnTo>
                    <a:pt x="352" y="5"/>
                  </a:lnTo>
                  <a:lnTo>
                    <a:pt x="357" y="5"/>
                  </a:lnTo>
                  <a:lnTo>
                    <a:pt x="361" y="5"/>
                  </a:lnTo>
                  <a:lnTo>
                    <a:pt x="366" y="5"/>
                  </a:lnTo>
                  <a:lnTo>
                    <a:pt x="370" y="9"/>
                  </a:lnTo>
                  <a:lnTo>
                    <a:pt x="370" y="9"/>
                  </a:lnTo>
                  <a:lnTo>
                    <a:pt x="375" y="9"/>
                  </a:lnTo>
                  <a:lnTo>
                    <a:pt x="384" y="9"/>
                  </a:lnTo>
                  <a:lnTo>
                    <a:pt x="393" y="5"/>
                  </a:lnTo>
                  <a:lnTo>
                    <a:pt x="393" y="5"/>
                  </a:lnTo>
                  <a:lnTo>
                    <a:pt x="398" y="9"/>
                  </a:lnTo>
                  <a:lnTo>
                    <a:pt x="398" y="14"/>
                  </a:lnTo>
                  <a:lnTo>
                    <a:pt x="402" y="18"/>
                  </a:lnTo>
                  <a:lnTo>
                    <a:pt x="398" y="18"/>
                  </a:lnTo>
                  <a:lnTo>
                    <a:pt x="398" y="27"/>
                  </a:lnTo>
                  <a:lnTo>
                    <a:pt x="393" y="32"/>
                  </a:lnTo>
                  <a:lnTo>
                    <a:pt x="393" y="41"/>
                  </a:lnTo>
                  <a:lnTo>
                    <a:pt x="393" y="46"/>
                  </a:lnTo>
                  <a:lnTo>
                    <a:pt x="393" y="50"/>
                  </a:lnTo>
                  <a:lnTo>
                    <a:pt x="393" y="50"/>
                  </a:lnTo>
                  <a:lnTo>
                    <a:pt x="393" y="50"/>
                  </a:lnTo>
                  <a:lnTo>
                    <a:pt x="393" y="55"/>
                  </a:lnTo>
                  <a:lnTo>
                    <a:pt x="398" y="59"/>
                  </a:lnTo>
                  <a:lnTo>
                    <a:pt x="402" y="59"/>
                  </a:lnTo>
                  <a:lnTo>
                    <a:pt x="416" y="59"/>
                  </a:lnTo>
                  <a:lnTo>
                    <a:pt x="416" y="64"/>
                  </a:lnTo>
                  <a:lnTo>
                    <a:pt x="425" y="64"/>
                  </a:lnTo>
                  <a:lnTo>
                    <a:pt x="425" y="69"/>
                  </a:lnTo>
                  <a:lnTo>
                    <a:pt x="430" y="69"/>
                  </a:lnTo>
                  <a:lnTo>
                    <a:pt x="430" y="69"/>
                  </a:lnTo>
                  <a:lnTo>
                    <a:pt x="434" y="73"/>
                  </a:lnTo>
                  <a:lnTo>
                    <a:pt x="434" y="78"/>
                  </a:lnTo>
                  <a:lnTo>
                    <a:pt x="434" y="82"/>
                  </a:lnTo>
                  <a:lnTo>
                    <a:pt x="434" y="87"/>
                  </a:lnTo>
                  <a:lnTo>
                    <a:pt x="430" y="87"/>
                  </a:lnTo>
                  <a:lnTo>
                    <a:pt x="425" y="91"/>
                  </a:lnTo>
                  <a:lnTo>
                    <a:pt x="425" y="91"/>
                  </a:lnTo>
                  <a:lnTo>
                    <a:pt x="425" y="96"/>
                  </a:lnTo>
                  <a:lnTo>
                    <a:pt x="421" y="96"/>
                  </a:lnTo>
                  <a:lnTo>
                    <a:pt x="421" y="101"/>
                  </a:lnTo>
                  <a:lnTo>
                    <a:pt x="425" y="110"/>
                  </a:lnTo>
                  <a:lnTo>
                    <a:pt x="430" y="114"/>
                  </a:lnTo>
                  <a:lnTo>
                    <a:pt x="439" y="114"/>
                  </a:lnTo>
                  <a:lnTo>
                    <a:pt x="439" y="114"/>
                  </a:lnTo>
                  <a:lnTo>
                    <a:pt x="443" y="114"/>
                  </a:lnTo>
                  <a:lnTo>
                    <a:pt x="457" y="114"/>
                  </a:lnTo>
                  <a:lnTo>
                    <a:pt x="462" y="114"/>
                  </a:lnTo>
                  <a:lnTo>
                    <a:pt x="471" y="114"/>
                  </a:lnTo>
                  <a:lnTo>
                    <a:pt x="475" y="114"/>
                  </a:lnTo>
                  <a:lnTo>
                    <a:pt x="480" y="114"/>
                  </a:lnTo>
                  <a:lnTo>
                    <a:pt x="480" y="114"/>
                  </a:lnTo>
                  <a:lnTo>
                    <a:pt x="480" y="114"/>
                  </a:lnTo>
                  <a:lnTo>
                    <a:pt x="480" y="119"/>
                  </a:lnTo>
                  <a:lnTo>
                    <a:pt x="485" y="123"/>
                  </a:lnTo>
                  <a:lnTo>
                    <a:pt x="485" y="128"/>
                  </a:lnTo>
                  <a:lnTo>
                    <a:pt x="489" y="133"/>
                  </a:lnTo>
                  <a:lnTo>
                    <a:pt x="494" y="142"/>
                  </a:lnTo>
                  <a:lnTo>
                    <a:pt x="494" y="146"/>
                  </a:lnTo>
                  <a:lnTo>
                    <a:pt x="498" y="146"/>
                  </a:lnTo>
                  <a:lnTo>
                    <a:pt x="498" y="151"/>
                  </a:lnTo>
                  <a:lnTo>
                    <a:pt x="503" y="155"/>
                  </a:lnTo>
                  <a:lnTo>
                    <a:pt x="503" y="155"/>
                  </a:lnTo>
                  <a:lnTo>
                    <a:pt x="498" y="160"/>
                  </a:lnTo>
                  <a:lnTo>
                    <a:pt x="498" y="165"/>
                  </a:lnTo>
                  <a:lnTo>
                    <a:pt x="498" y="169"/>
                  </a:lnTo>
                  <a:lnTo>
                    <a:pt x="498" y="174"/>
                  </a:lnTo>
                  <a:lnTo>
                    <a:pt x="494" y="174"/>
                  </a:lnTo>
                  <a:lnTo>
                    <a:pt x="494" y="178"/>
                  </a:lnTo>
                  <a:lnTo>
                    <a:pt x="489" y="178"/>
                  </a:lnTo>
                  <a:lnTo>
                    <a:pt x="489" y="178"/>
                  </a:lnTo>
                  <a:lnTo>
                    <a:pt x="485" y="178"/>
                  </a:lnTo>
                  <a:lnTo>
                    <a:pt x="485" y="183"/>
                  </a:lnTo>
                  <a:lnTo>
                    <a:pt x="485" y="187"/>
                  </a:lnTo>
                  <a:lnTo>
                    <a:pt x="489" y="192"/>
                  </a:lnTo>
                  <a:lnTo>
                    <a:pt x="494" y="197"/>
                  </a:lnTo>
                  <a:lnTo>
                    <a:pt x="498" y="197"/>
                  </a:lnTo>
                  <a:lnTo>
                    <a:pt x="507" y="201"/>
                  </a:lnTo>
                  <a:lnTo>
                    <a:pt x="512" y="201"/>
                  </a:lnTo>
                  <a:lnTo>
                    <a:pt x="512" y="201"/>
                  </a:lnTo>
                  <a:lnTo>
                    <a:pt x="521" y="197"/>
                  </a:lnTo>
                  <a:lnTo>
                    <a:pt x="526" y="197"/>
                  </a:lnTo>
                  <a:lnTo>
                    <a:pt x="526" y="197"/>
                  </a:lnTo>
                  <a:lnTo>
                    <a:pt x="539" y="192"/>
                  </a:lnTo>
                  <a:lnTo>
                    <a:pt x="544" y="197"/>
                  </a:lnTo>
                  <a:lnTo>
                    <a:pt x="549" y="197"/>
                  </a:lnTo>
                  <a:lnTo>
                    <a:pt x="549" y="201"/>
                  </a:lnTo>
                  <a:lnTo>
                    <a:pt x="549" y="206"/>
                  </a:lnTo>
                  <a:lnTo>
                    <a:pt x="544" y="206"/>
                  </a:lnTo>
                  <a:lnTo>
                    <a:pt x="544" y="210"/>
                  </a:lnTo>
                  <a:lnTo>
                    <a:pt x="544" y="215"/>
                  </a:lnTo>
                  <a:lnTo>
                    <a:pt x="549" y="215"/>
                  </a:lnTo>
                  <a:lnTo>
                    <a:pt x="553" y="215"/>
                  </a:lnTo>
                  <a:lnTo>
                    <a:pt x="558" y="219"/>
                  </a:lnTo>
                  <a:lnTo>
                    <a:pt x="567" y="219"/>
                  </a:lnTo>
                  <a:lnTo>
                    <a:pt x="571" y="219"/>
                  </a:lnTo>
                  <a:lnTo>
                    <a:pt x="571" y="215"/>
                  </a:lnTo>
                  <a:lnTo>
                    <a:pt x="571" y="206"/>
                  </a:lnTo>
                  <a:lnTo>
                    <a:pt x="571" y="201"/>
                  </a:lnTo>
                  <a:lnTo>
                    <a:pt x="571" y="201"/>
                  </a:lnTo>
                  <a:lnTo>
                    <a:pt x="571" y="197"/>
                  </a:lnTo>
                  <a:lnTo>
                    <a:pt x="576" y="197"/>
                  </a:lnTo>
                  <a:lnTo>
                    <a:pt x="581" y="192"/>
                  </a:lnTo>
                  <a:lnTo>
                    <a:pt x="585" y="197"/>
                  </a:lnTo>
                  <a:lnTo>
                    <a:pt x="590" y="197"/>
                  </a:lnTo>
                  <a:lnTo>
                    <a:pt x="590" y="201"/>
                  </a:lnTo>
                  <a:lnTo>
                    <a:pt x="590" y="201"/>
                  </a:lnTo>
                  <a:lnTo>
                    <a:pt x="594" y="210"/>
                  </a:lnTo>
                  <a:lnTo>
                    <a:pt x="594" y="224"/>
                  </a:lnTo>
                  <a:lnTo>
                    <a:pt x="594" y="224"/>
                  </a:lnTo>
                  <a:lnTo>
                    <a:pt x="599" y="229"/>
                  </a:lnTo>
                  <a:lnTo>
                    <a:pt x="599" y="233"/>
                  </a:lnTo>
                  <a:lnTo>
                    <a:pt x="599" y="238"/>
                  </a:lnTo>
                  <a:lnTo>
                    <a:pt x="599" y="247"/>
                  </a:lnTo>
                  <a:lnTo>
                    <a:pt x="599" y="256"/>
                  </a:lnTo>
                  <a:lnTo>
                    <a:pt x="599" y="274"/>
                  </a:lnTo>
                  <a:lnTo>
                    <a:pt x="594" y="279"/>
                  </a:lnTo>
                  <a:lnTo>
                    <a:pt x="594" y="283"/>
                  </a:lnTo>
                  <a:lnTo>
                    <a:pt x="590" y="283"/>
                  </a:lnTo>
                  <a:lnTo>
                    <a:pt x="590" y="288"/>
                  </a:lnTo>
                  <a:lnTo>
                    <a:pt x="585" y="288"/>
                  </a:lnTo>
                  <a:lnTo>
                    <a:pt x="581" y="288"/>
                  </a:lnTo>
                  <a:lnTo>
                    <a:pt x="576" y="293"/>
                  </a:lnTo>
                  <a:lnTo>
                    <a:pt x="576" y="297"/>
                  </a:lnTo>
                  <a:lnTo>
                    <a:pt x="576" y="302"/>
                  </a:lnTo>
                  <a:lnTo>
                    <a:pt x="571" y="302"/>
                  </a:lnTo>
                  <a:lnTo>
                    <a:pt x="571" y="302"/>
                  </a:lnTo>
                  <a:lnTo>
                    <a:pt x="571" y="306"/>
                  </a:lnTo>
                  <a:lnTo>
                    <a:pt x="571" y="311"/>
                  </a:lnTo>
                  <a:lnTo>
                    <a:pt x="571" y="315"/>
                  </a:lnTo>
                  <a:lnTo>
                    <a:pt x="571" y="320"/>
                  </a:lnTo>
                  <a:lnTo>
                    <a:pt x="571" y="325"/>
                  </a:lnTo>
                  <a:lnTo>
                    <a:pt x="571" y="329"/>
                  </a:lnTo>
                  <a:lnTo>
                    <a:pt x="576" y="334"/>
                  </a:lnTo>
                  <a:lnTo>
                    <a:pt x="581" y="334"/>
                  </a:lnTo>
                  <a:lnTo>
                    <a:pt x="585" y="334"/>
                  </a:lnTo>
                  <a:lnTo>
                    <a:pt x="590" y="334"/>
                  </a:lnTo>
                  <a:lnTo>
                    <a:pt x="594" y="334"/>
                  </a:lnTo>
                  <a:lnTo>
                    <a:pt x="603" y="329"/>
                  </a:lnTo>
                  <a:lnTo>
                    <a:pt x="608" y="329"/>
                  </a:lnTo>
                  <a:lnTo>
                    <a:pt x="613" y="329"/>
                  </a:lnTo>
                  <a:lnTo>
                    <a:pt x="613" y="334"/>
                  </a:lnTo>
                  <a:lnTo>
                    <a:pt x="613" y="338"/>
                  </a:lnTo>
                  <a:lnTo>
                    <a:pt x="608" y="338"/>
                  </a:lnTo>
                  <a:lnTo>
                    <a:pt x="608" y="343"/>
                  </a:lnTo>
                  <a:lnTo>
                    <a:pt x="608" y="347"/>
                  </a:lnTo>
                  <a:lnTo>
                    <a:pt x="603" y="347"/>
                  </a:lnTo>
                  <a:lnTo>
                    <a:pt x="608" y="357"/>
                  </a:lnTo>
                  <a:lnTo>
                    <a:pt x="608" y="357"/>
                  </a:lnTo>
                  <a:lnTo>
                    <a:pt x="613" y="361"/>
                  </a:lnTo>
                  <a:lnTo>
                    <a:pt x="613" y="366"/>
                  </a:lnTo>
                  <a:lnTo>
                    <a:pt x="617" y="366"/>
                  </a:lnTo>
                  <a:lnTo>
                    <a:pt x="622" y="370"/>
                  </a:lnTo>
                  <a:lnTo>
                    <a:pt x="631" y="375"/>
                  </a:lnTo>
                  <a:lnTo>
                    <a:pt x="635" y="375"/>
                  </a:lnTo>
                  <a:lnTo>
                    <a:pt x="635" y="379"/>
                  </a:lnTo>
                  <a:lnTo>
                    <a:pt x="635" y="384"/>
                  </a:lnTo>
                  <a:lnTo>
                    <a:pt x="635" y="389"/>
                  </a:lnTo>
                  <a:lnTo>
                    <a:pt x="640" y="389"/>
                  </a:lnTo>
                  <a:lnTo>
                    <a:pt x="649" y="389"/>
                  </a:lnTo>
                  <a:lnTo>
                    <a:pt x="654" y="389"/>
                  </a:lnTo>
                  <a:lnTo>
                    <a:pt x="658" y="389"/>
                  </a:lnTo>
                  <a:lnTo>
                    <a:pt x="658" y="393"/>
                  </a:lnTo>
                  <a:lnTo>
                    <a:pt x="658" y="398"/>
                  </a:lnTo>
                  <a:lnTo>
                    <a:pt x="654" y="398"/>
                  </a:lnTo>
                  <a:lnTo>
                    <a:pt x="649" y="402"/>
                  </a:lnTo>
                  <a:lnTo>
                    <a:pt x="649" y="407"/>
                  </a:lnTo>
                  <a:lnTo>
                    <a:pt x="645" y="411"/>
                  </a:lnTo>
                  <a:lnTo>
                    <a:pt x="645" y="416"/>
                  </a:lnTo>
                  <a:lnTo>
                    <a:pt x="640" y="421"/>
                  </a:lnTo>
                  <a:lnTo>
                    <a:pt x="635" y="421"/>
                  </a:lnTo>
                  <a:lnTo>
                    <a:pt x="631" y="421"/>
                  </a:lnTo>
                  <a:lnTo>
                    <a:pt x="626" y="421"/>
                  </a:lnTo>
                  <a:lnTo>
                    <a:pt x="622" y="421"/>
                  </a:lnTo>
                  <a:lnTo>
                    <a:pt x="617" y="421"/>
                  </a:lnTo>
                  <a:lnTo>
                    <a:pt x="617" y="425"/>
                  </a:lnTo>
                  <a:lnTo>
                    <a:pt x="613" y="434"/>
                  </a:lnTo>
                  <a:lnTo>
                    <a:pt x="613" y="434"/>
                  </a:lnTo>
                  <a:lnTo>
                    <a:pt x="613" y="439"/>
                  </a:lnTo>
                  <a:lnTo>
                    <a:pt x="613" y="443"/>
                  </a:lnTo>
                  <a:lnTo>
                    <a:pt x="608" y="448"/>
                  </a:lnTo>
                  <a:lnTo>
                    <a:pt x="613" y="457"/>
                  </a:lnTo>
                  <a:lnTo>
                    <a:pt x="613" y="462"/>
                  </a:lnTo>
                  <a:lnTo>
                    <a:pt x="613" y="466"/>
                  </a:lnTo>
                  <a:lnTo>
                    <a:pt x="608" y="471"/>
                  </a:lnTo>
                  <a:lnTo>
                    <a:pt x="603" y="471"/>
                  </a:lnTo>
                  <a:lnTo>
                    <a:pt x="594" y="471"/>
                  </a:lnTo>
                  <a:lnTo>
                    <a:pt x="590" y="475"/>
                  </a:lnTo>
                  <a:lnTo>
                    <a:pt x="590" y="475"/>
                  </a:lnTo>
                  <a:lnTo>
                    <a:pt x="585" y="480"/>
                  </a:lnTo>
                  <a:lnTo>
                    <a:pt x="581" y="480"/>
                  </a:lnTo>
                  <a:lnTo>
                    <a:pt x="581" y="485"/>
                  </a:lnTo>
                  <a:lnTo>
                    <a:pt x="576" y="485"/>
                  </a:lnTo>
                  <a:lnTo>
                    <a:pt x="576" y="485"/>
                  </a:lnTo>
                  <a:lnTo>
                    <a:pt x="571" y="485"/>
                  </a:lnTo>
                  <a:lnTo>
                    <a:pt x="567" y="485"/>
                  </a:lnTo>
                  <a:lnTo>
                    <a:pt x="562" y="485"/>
                  </a:lnTo>
                  <a:lnTo>
                    <a:pt x="558" y="485"/>
                  </a:lnTo>
                  <a:lnTo>
                    <a:pt x="553" y="485"/>
                  </a:lnTo>
                  <a:lnTo>
                    <a:pt x="549" y="485"/>
                  </a:lnTo>
                  <a:lnTo>
                    <a:pt x="549" y="485"/>
                  </a:lnTo>
                  <a:lnTo>
                    <a:pt x="544" y="485"/>
                  </a:lnTo>
                  <a:lnTo>
                    <a:pt x="535" y="489"/>
                  </a:lnTo>
                  <a:lnTo>
                    <a:pt x="530" y="489"/>
                  </a:lnTo>
                  <a:lnTo>
                    <a:pt x="530" y="494"/>
                  </a:lnTo>
                  <a:lnTo>
                    <a:pt x="526" y="494"/>
                  </a:lnTo>
                  <a:lnTo>
                    <a:pt x="526" y="498"/>
                  </a:lnTo>
                  <a:lnTo>
                    <a:pt x="526" y="498"/>
                  </a:lnTo>
                  <a:lnTo>
                    <a:pt x="526" y="503"/>
                  </a:lnTo>
                  <a:lnTo>
                    <a:pt x="521" y="503"/>
                  </a:lnTo>
                  <a:lnTo>
                    <a:pt x="521" y="507"/>
                  </a:lnTo>
                  <a:lnTo>
                    <a:pt x="517" y="507"/>
                  </a:lnTo>
                  <a:lnTo>
                    <a:pt x="512" y="507"/>
                  </a:lnTo>
                  <a:lnTo>
                    <a:pt x="512" y="512"/>
                  </a:lnTo>
                  <a:lnTo>
                    <a:pt x="507" y="512"/>
                  </a:lnTo>
                  <a:lnTo>
                    <a:pt x="498" y="526"/>
                  </a:lnTo>
                  <a:lnTo>
                    <a:pt x="498" y="530"/>
                  </a:lnTo>
                  <a:lnTo>
                    <a:pt x="494" y="530"/>
                  </a:lnTo>
                  <a:lnTo>
                    <a:pt x="489" y="535"/>
                  </a:lnTo>
                  <a:lnTo>
                    <a:pt x="489" y="539"/>
                  </a:lnTo>
                  <a:lnTo>
                    <a:pt x="485" y="539"/>
                  </a:lnTo>
                  <a:lnTo>
                    <a:pt x="485" y="544"/>
                  </a:lnTo>
                  <a:lnTo>
                    <a:pt x="485" y="549"/>
                  </a:lnTo>
                  <a:lnTo>
                    <a:pt x="480" y="553"/>
                  </a:lnTo>
                  <a:lnTo>
                    <a:pt x="480" y="553"/>
                  </a:lnTo>
                  <a:lnTo>
                    <a:pt x="475" y="558"/>
                  </a:lnTo>
                  <a:lnTo>
                    <a:pt x="475" y="562"/>
                  </a:lnTo>
                  <a:lnTo>
                    <a:pt x="471" y="562"/>
                  </a:lnTo>
                  <a:lnTo>
                    <a:pt x="466" y="567"/>
                  </a:lnTo>
                  <a:lnTo>
                    <a:pt x="462" y="567"/>
                  </a:lnTo>
                  <a:lnTo>
                    <a:pt x="453" y="571"/>
                  </a:lnTo>
                  <a:lnTo>
                    <a:pt x="448" y="571"/>
                  </a:lnTo>
                  <a:lnTo>
                    <a:pt x="443" y="571"/>
                  </a:lnTo>
                  <a:lnTo>
                    <a:pt x="439" y="571"/>
                  </a:lnTo>
                  <a:lnTo>
                    <a:pt x="439" y="576"/>
                  </a:lnTo>
                  <a:close/>
                </a:path>
              </a:pathLst>
            </a:custGeom>
            <a:solidFill>
              <a:srgbClr val="FFC000"/>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Kano</a:t>
              </a:r>
            </a:p>
          </p:txBody>
        </p:sp>
        <p:sp>
          <p:nvSpPr>
            <p:cNvPr id="144" name="Freeform 63">
              <a:extLst>
                <a:ext uri="{FF2B5EF4-FFF2-40B4-BE49-F238E27FC236}">
                  <a16:creationId xmlns:a16="http://schemas.microsoft.com/office/drawing/2014/main" id="{74D7AE00-D416-4FAC-80C2-A00C3C29C978}"/>
                </a:ext>
              </a:extLst>
            </p:cNvPr>
            <p:cNvSpPr>
              <a:spLocks/>
            </p:cNvSpPr>
            <p:nvPr>
              <p:custDataLst>
                <p:tags r:id="rId56"/>
              </p:custDataLst>
            </p:nvPr>
          </p:nvSpPr>
          <p:spPr bwMode="auto">
            <a:xfrm>
              <a:off x="1528371" y="1019706"/>
              <a:ext cx="694310" cy="849527"/>
            </a:xfrm>
            <a:custGeom>
              <a:avLst/>
              <a:gdLst/>
              <a:ahLst/>
              <a:cxnLst>
                <a:cxn ang="0">
                  <a:pos x="0" y="663"/>
                </a:cxn>
                <a:cxn ang="0">
                  <a:pos x="14" y="622"/>
                </a:cxn>
                <a:cxn ang="0">
                  <a:pos x="27" y="594"/>
                </a:cxn>
                <a:cxn ang="0">
                  <a:pos x="82" y="590"/>
                </a:cxn>
                <a:cxn ang="0">
                  <a:pos x="123" y="553"/>
                </a:cxn>
                <a:cxn ang="0">
                  <a:pos x="123" y="521"/>
                </a:cxn>
                <a:cxn ang="0">
                  <a:pos x="91" y="498"/>
                </a:cxn>
                <a:cxn ang="0">
                  <a:pos x="110" y="466"/>
                </a:cxn>
                <a:cxn ang="0">
                  <a:pos x="96" y="411"/>
                </a:cxn>
                <a:cxn ang="0">
                  <a:pos x="82" y="361"/>
                </a:cxn>
                <a:cxn ang="0">
                  <a:pos x="73" y="283"/>
                </a:cxn>
                <a:cxn ang="0">
                  <a:pos x="68" y="187"/>
                </a:cxn>
                <a:cxn ang="0">
                  <a:pos x="114" y="105"/>
                </a:cxn>
                <a:cxn ang="0">
                  <a:pos x="146" y="87"/>
                </a:cxn>
                <a:cxn ang="0">
                  <a:pos x="224" y="78"/>
                </a:cxn>
                <a:cxn ang="0">
                  <a:pos x="270" y="50"/>
                </a:cxn>
                <a:cxn ang="0">
                  <a:pos x="292" y="37"/>
                </a:cxn>
                <a:cxn ang="0">
                  <a:pos x="343" y="5"/>
                </a:cxn>
                <a:cxn ang="0">
                  <a:pos x="388" y="5"/>
                </a:cxn>
                <a:cxn ang="0">
                  <a:pos x="439" y="14"/>
                </a:cxn>
                <a:cxn ang="0">
                  <a:pos x="484" y="32"/>
                </a:cxn>
                <a:cxn ang="0">
                  <a:pos x="530" y="64"/>
                </a:cxn>
                <a:cxn ang="0">
                  <a:pos x="567" y="96"/>
                </a:cxn>
                <a:cxn ang="0">
                  <a:pos x="617" y="105"/>
                </a:cxn>
                <a:cxn ang="0">
                  <a:pos x="667" y="146"/>
                </a:cxn>
                <a:cxn ang="0">
                  <a:pos x="690" y="160"/>
                </a:cxn>
                <a:cxn ang="0">
                  <a:pos x="750" y="178"/>
                </a:cxn>
                <a:cxn ang="0">
                  <a:pos x="786" y="224"/>
                </a:cxn>
                <a:cxn ang="0">
                  <a:pos x="763" y="247"/>
                </a:cxn>
                <a:cxn ang="0">
                  <a:pos x="681" y="251"/>
                </a:cxn>
                <a:cxn ang="0">
                  <a:pos x="649" y="224"/>
                </a:cxn>
                <a:cxn ang="0">
                  <a:pos x="590" y="201"/>
                </a:cxn>
                <a:cxn ang="0">
                  <a:pos x="530" y="197"/>
                </a:cxn>
                <a:cxn ang="0">
                  <a:pos x="484" y="206"/>
                </a:cxn>
                <a:cxn ang="0">
                  <a:pos x="494" y="279"/>
                </a:cxn>
                <a:cxn ang="0">
                  <a:pos x="503" y="311"/>
                </a:cxn>
                <a:cxn ang="0">
                  <a:pos x="475" y="357"/>
                </a:cxn>
                <a:cxn ang="0">
                  <a:pos x="430" y="379"/>
                </a:cxn>
                <a:cxn ang="0">
                  <a:pos x="375" y="402"/>
                </a:cxn>
                <a:cxn ang="0">
                  <a:pos x="352" y="448"/>
                </a:cxn>
                <a:cxn ang="0">
                  <a:pos x="361" y="526"/>
                </a:cxn>
                <a:cxn ang="0">
                  <a:pos x="370" y="576"/>
                </a:cxn>
                <a:cxn ang="0">
                  <a:pos x="379" y="622"/>
                </a:cxn>
                <a:cxn ang="0">
                  <a:pos x="356" y="663"/>
                </a:cxn>
                <a:cxn ang="0">
                  <a:pos x="320" y="690"/>
                </a:cxn>
                <a:cxn ang="0">
                  <a:pos x="306" y="722"/>
                </a:cxn>
                <a:cxn ang="0">
                  <a:pos x="343" y="759"/>
                </a:cxn>
                <a:cxn ang="0">
                  <a:pos x="334" y="782"/>
                </a:cxn>
                <a:cxn ang="0">
                  <a:pos x="297" y="814"/>
                </a:cxn>
                <a:cxn ang="0">
                  <a:pos x="274" y="786"/>
                </a:cxn>
                <a:cxn ang="0">
                  <a:pos x="242" y="754"/>
                </a:cxn>
                <a:cxn ang="0">
                  <a:pos x="192" y="754"/>
                </a:cxn>
                <a:cxn ang="0">
                  <a:pos x="160" y="791"/>
                </a:cxn>
                <a:cxn ang="0">
                  <a:pos x="123" y="818"/>
                </a:cxn>
                <a:cxn ang="0">
                  <a:pos x="91" y="832"/>
                </a:cxn>
                <a:cxn ang="0">
                  <a:pos x="55" y="809"/>
                </a:cxn>
                <a:cxn ang="0">
                  <a:pos x="50" y="782"/>
                </a:cxn>
                <a:cxn ang="0">
                  <a:pos x="9" y="750"/>
                </a:cxn>
                <a:cxn ang="0">
                  <a:pos x="18" y="709"/>
                </a:cxn>
              </a:cxnLst>
              <a:rect l="0" t="0" r="r" b="b"/>
              <a:pathLst>
                <a:path w="795" h="841">
                  <a:moveTo>
                    <a:pt x="18" y="699"/>
                  </a:moveTo>
                  <a:lnTo>
                    <a:pt x="14" y="690"/>
                  </a:lnTo>
                  <a:lnTo>
                    <a:pt x="14" y="690"/>
                  </a:lnTo>
                  <a:lnTo>
                    <a:pt x="14" y="686"/>
                  </a:lnTo>
                  <a:lnTo>
                    <a:pt x="9" y="686"/>
                  </a:lnTo>
                  <a:lnTo>
                    <a:pt x="9" y="681"/>
                  </a:lnTo>
                  <a:lnTo>
                    <a:pt x="4" y="677"/>
                  </a:lnTo>
                  <a:lnTo>
                    <a:pt x="4" y="672"/>
                  </a:lnTo>
                  <a:lnTo>
                    <a:pt x="0" y="667"/>
                  </a:lnTo>
                  <a:lnTo>
                    <a:pt x="0" y="663"/>
                  </a:lnTo>
                  <a:lnTo>
                    <a:pt x="0" y="663"/>
                  </a:lnTo>
                  <a:lnTo>
                    <a:pt x="0" y="658"/>
                  </a:lnTo>
                  <a:lnTo>
                    <a:pt x="0" y="654"/>
                  </a:lnTo>
                  <a:lnTo>
                    <a:pt x="4" y="649"/>
                  </a:lnTo>
                  <a:lnTo>
                    <a:pt x="4" y="645"/>
                  </a:lnTo>
                  <a:lnTo>
                    <a:pt x="4" y="645"/>
                  </a:lnTo>
                  <a:lnTo>
                    <a:pt x="9" y="640"/>
                  </a:lnTo>
                  <a:lnTo>
                    <a:pt x="9" y="635"/>
                  </a:lnTo>
                  <a:lnTo>
                    <a:pt x="9" y="631"/>
                  </a:lnTo>
                  <a:lnTo>
                    <a:pt x="9" y="626"/>
                  </a:lnTo>
                  <a:lnTo>
                    <a:pt x="9" y="622"/>
                  </a:lnTo>
                  <a:lnTo>
                    <a:pt x="14" y="622"/>
                  </a:lnTo>
                  <a:lnTo>
                    <a:pt x="14" y="622"/>
                  </a:lnTo>
                  <a:lnTo>
                    <a:pt x="14" y="613"/>
                  </a:lnTo>
                  <a:lnTo>
                    <a:pt x="14" y="608"/>
                  </a:lnTo>
                  <a:lnTo>
                    <a:pt x="14" y="608"/>
                  </a:lnTo>
                  <a:lnTo>
                    <a:pt x="14" y="603"/>
                  </a:lnTo>
                  <a:lnTo>
                    <a:pt x="14" y="599"/>
                  </a:lnTo>
                  <a:lnTo>
                    <a:pt x="18" y="599"/>
                  </a:lnTo>
                  <a:lnTo>
                    <a:pt x="18" y="599"/>
                  </a:lnTo>
                  <a:lnTo>
                    <a:pt x="23" y="599"/>
                  </a:lnTo>
                  <a:lnTo>
                    <a:pt x="23" y="594"/>
                  </a:lnTo>
                  <a:lnTo>
                    <a:pt x="27" y="594"/>
                  </a:lnTo>
                  <a:lnTo>
                    <a:pt x="36" y="590"/>
                  </a:lnTo>
                  <a:lnTo>
                    <a:pt x="41" y="590"/>
                  </a:lnTo>
                  <a:lnTo>
                    <a:pt x="50" y="590"/>
                  </a:lnTo>
                  <a:lnTo>
                    <a:pt x="55" y="590"/>
                  </a:lnTo>
                  <a:lnTo>
                    <a:pt x="64" y="599"/>
                  </a:lnTo>
                  <a:lnTo>
                    <a:pt x="68" y="599"/>
                  </a:lnTo>
                  <a:lnTo>
                    <a:pt x="73" y="599"/>
                  </a:lnTo>
                  <a:lnTo>
                    <a:pt x="78" y="599"/>
                  </a:lnTo>
                  <a:lnTo>
                    <a:pt x="78" y="594"/>
                  </a:lnTo>
                  <a:lnTo>
                    <a:pt x="78" y="594"/>
                  </a:lnTo>
                  <a:lnTo>
                    <a:pt x="82" y="590"/>
                  </a:lnTo>
                  <a:lnTo>
                    <a:pt x="91" y="581"/>
                  </a:lnTo>
                  <a:lnTo>
                    <a:pt x="96" y="576"/>
                  </a:lnTo>
                  <a:lnTo>
                    <a:pt x="100" y="576"/>
                  </a:lnTo>
                  <a:lnTo>
                    <a:pt x="100" y="576"/>
                  </a:lnTo>
                  <a:lnTo>
                    <a:pt x="100" y="571"/>
                  </a:lnTo>
                  <a:lnTo>
                    <a:pt x="100" y="567"/>
                  </a:lnTo>
                  <a:lnTo>
                    <a:pt x="105" y="562"/>
                  </a:lnTo>
                  <a:lnTo>
                    <a:pt x="105" y="558"/>
                  </a:lnTo>
                  <a:lnTo>
                    <a:pt x="110" y="553"/>
                  </a:lnTo>
                  <a:lnTo>
                    <a:pt x="119" y="553"/>
                  </a:lnTo>
                  <a:lnTo>
                    <a:pt x="123" y="553"/>
                  </a:lnTo>
                  <a:lnTo>
                    <a:pt x="128" y="558"/>
                  </a:lnTo>
                  <a:lnTo>
                    <a:pt x="128" y="553"/>
                  </a:lnTo>
                  <a:lnTo>
                    <a:pt x="132" y="553"/>
                  </a:lnTo>
                  <a:lnTo>
                    <a:pt x="137" y="553"/>
                  </a:lnTo>
                  <a:lnTo>
                    <a:pt x="142" y="549"/>
                  </a:lnTo>
                  <a:lnTo>
                    <a:pt x="142" y="544"/>
                  </a:lnTo>
                  <a:lnTo>
                    <a:pt x="142" y="539"/>
                  </a:lnTo>
                  <a:lnTo>
                    <a:pt x="137" y="535"/>
                  </a:lnTo>
                  <a:lnTo>
                    <a:pt x="132" y="535"/>
                  </a:lnTo>
                  <a:lnTo>
                    <a:pt x="128" y="530"/>
                  </a:lnTo>
                  <a:lnTo>
                    <a:pt x="123" y="521"/>
                  </a:lnTo>
                  <a:lnTo>
                    <a:pt x="119" y="521"/>
                  </a:lnTo>
                  <a:lnTo>
                    <a:pt x="119" y="517"/>
                  </a:lnTo>
                  <a:lnTo>
                    <a:pt x="114" y="517"/>
                  </a:lnTo>
                  <a:lnTo>
                    <a:pt x="114" y="512"/>
                  </a:lnTo>
                  <a:lnTo>
                    <a:pt x="110" y="512"/>
                  </a:lnTo>
                  <a:lnTo>
                    <a:pt x="100" y="512"/>
                  </a:lnTo>
                  <a:lnTo>
                    <a:pt x="100" y="512"/>
                  </a:lnTo>
                  <a:lnTo>
                    <a:pt x="100" y="507"/>
                  </a:lnTo>
                  <a:lnTo>
                    <a:pt x="96" y="507"/>
                  </a:lnTo>
                  <a:lnTo>
                    <a:pt x="91" y="503"/>
                  </a:lnTo>
                  <a:lnTo>
                    <a:pt x="91" y="498"/>
                  </a:lnTo>
                  <a:lnTo>
                    <a:pt x="96" y="494"/>
                  </a:lnTo>
                  <a:lnTo>
                    <a:pt x="96" y="489"/>
                  </a:lnTo>
                  <a:lnTo>
                    <a:pt x="100" y="489"/>
                  </a:lnTo>
                  <a:lnTo>
                    <a:pt x="100" y="485"/>
                  </a:lnTo>
                  <a:lnTo>
                    <a:pt x="100" y="485"/>
                  </a:lnTo>
                  <a:lnTo>
                    <a:pt x="100" y="480"/>
                  </a:lnTo>
                  <a:lnTo>
                    <a:pt x="105" y="480"/>
                  </a:lnTo>
                  <a:lnTo>
                    <a:pt x="105" y="475"/>
                  </a:lnTo>
                  <a:lnTo>
                    <a:pt x="105" y="471"/>
                  </a:lnTo>
                  <a:lnTo>
                    <a:pt x="110" y="466"/>
                  </a:lnTo>
                  <a:lnTo>
                    <a:pt x="110" y="466"/>
                  </a:lnTo>
                  <a:lnTo>
                    <a:pt x="110" y="457"/>
                  </a:lnTo>
                  <a:lnTo>
                    <a:pt x="110" y="453"/>
                  </a:lnTo>
                  <a:lnTo>
                    <a:pt x="110" y="443"/>
                  </a:lnTo>
                  <a:lnTo>
                    <a:pt x="105" y="443"/>
                  </a:lnTo>
                  <a:lnTo>
                    <a:pt x="105" y="434"/>
                  </a:lnTo>
                  <a:lnTo>
                    <a:pt x="100" y="430"/>
                  </a:lnTo>
                  <a:lnTo>
                    <a:pt x="100" y="425"/>
                  </a:lnTo>
                  <a:lnTo>
                    <a:pt x="100" y="425"/>
                  </a:lnTo>
                  <a:lnTo>
                    <a:pt x="100" y="421"/>
                  </a:lnTo>
                  <a:lnTo>
                    <a:pt x="100" y="416"/>
                  </a:lnTo>
                  <a:lnTo>
                    <a:pt x="96" y="411"/>
                  </a:lnTo>
                  <a:lnTo>
                    <a:pt x="96" y="402"/>
                  </a:lnTo>
                  <a:lnTo>
                    <a:pt x="91" y="393"/>
                  </a:lnTo>
                  <a:lnTo>
                    <a:pt x="91" y="393"/>
                  </a:lnTo>
                  <a:lnTo>
                    <a:pt x="91" y="389"/>
                  </a:lnTo>
                  <a:lnTo>
                    <a:pt x="91" y="384"/>
                  </a:lnTo>
                  <a:lnTo>
                    <a:pt x="87" y="384"/>
                  </a:lnTo>
                  <a:lnTo>
                    <a:pt x="87" y="379"/>
                  </a:lnTo>
                  <a:lnTo>
                    <a:pt x="82" y="375"/>
                  </a:lnTo>
                  <a:lnTo>
                    <a:pt x="82" y="370"/>
                  </a:lnTo>
                  <a:lnTo>
                    <a:pt x="82" y="366"/>
                  </a:lnTo>
                  <a:lnTo>
                    <a:pt x="82" y="361"/>
                  </a:lnTo>
                  <a:lnTo>
                    <a:pt x="78" y="361"/>
                  </a:lnTo>
                  <a:lnTo>
                    <a:pt x="78" y="357"/>
                  </a:lnTo>
                  <a:lnTo>
                    <a:pt x="78" y="357"/>
                  </a:lnTo>
                  <a:lnTo>
                    <a:pt x="78" y="347"/>
                  </a:lnTo>
                  <a:lnTo>
                    <a:pt x="78" y="334"/>
                  </a:lnTo>
                  <a:lnTo>
                    <a:pt x="78" y="325"/>
                  </a:lnTo>
                  <a:lnTo>
                    <a:pt x="78" y="320"/>
                  </a:lnTo>
                  <a:lnTo>
                    <a:pt x="73" y="315"/>
                  </a:lnTo>
                  <a:lnTo>
                    <a:pt x="73" y="311"/>
                  </a:lnTo>
                  <a:lnTo>
                    <a:pt x="73" y="306"/>
                  </a:lnTo>
                  <a:lnTo>
                    <a:pt x="73" y="283"/>
                  </a:lnTo>
                  <a:lnTo>
                    <a:pt x="68" y="279"/>
                  </a:lnTo>
                  <a:lnTo>
                    <a:pt x="68" y="270"/>
                  </a:lnTo>
                  <a:lnTo>
                    <a:pt x="68" y="270"/>
                  </a:lnTo>
                  <a:lnTo>
                    <a:pt x="68" y="261"/>
                  </a:lnTo>
                  <a:lnTo>
                    <a:pt x="64" y="251"/>
                  </a:lnTo>
                  <a:lnTo>
                    <a:pt x="64" y="247"/>
                  </a:lnTo>
                  <a:lnTo>
                    <a:pt x="64" y="247"/>
                  </a:lnTo>
                  <a:lnTo>
                    <a:pt x="64" y="215"/>
                  </a:lnTo>
                  <a:lnTo>
                    <a:pt x="64" y="206"/>
                  </a:lnTo>
                  <a:lnTo>
                    <a:pt x="68" y="197"/>
                  </a:lnTo>
                  <a:lnTo>
                    <a:pt x="68" y="187"/>
                  </a:lnTo>
                  <a:lnTo>
                    <a:pt x="68" y="178"/>
                  </a:lnTo>
                  <a:lnTo>
                    <a:pt x="68" y="165"/>
                  </a:lnTo>
                  <a:lnTo>
                    <a:pt x="68" y="146"/>
                  </a:lnTo>
                  <a:lnTo>
                    <a:pt x="73" y="128"/>
                  </a:lnTo>
                  <a:lnTo>
                    <a:pt x="78" y="123"/>
                  </a:lnTo>
                  <a:lnTo>
                    <a:pt x="82" y="123"/>
                  </a:lnTo>
                  <a:lnTo>
                    <a:pt x="91" y="119"/>
                  </a:lnTo>
                  <a:lnTo>
                    <a:pt x="96" y="119"/>
                  </a:lnTo>
                  <a:lnTo>
                    <a:pt x="100" y="119"/>
                  </a:lnTo>
                  <a:lnTo>
                    <a:pt x="100" y="114"/>
                  </a:lnTo>
                  <a:lnTo>
                    <a:pt x="114" y="105"/>
                  </a:lnTo>
                  <a:lnTo>
                    <a:pt x="114" y="101"/>
                  </a:lnTo>
                  <a:lnTo>
                    <a:pt x="119" y="101"/>
                  </a:lnTo>
                  <a:lnTo>
                    <a:pt x="119" y="96"/>
                  </a:lnTo>
                  <a:lnTo>
                    <a:pt x="123" y="91"/>
                  </a:lnTo>
                  <a:lnTo>
                    <a:pt x="123" y="91"/>
                  </a:lnTo>
                  <a:lnTo>
                    <a:pt x="128" y="91"/>
                  </a:lnTo>
                  <a:lnTo>
                    <a:pt x="128" y="91"/>
                  </a:lnTo>
                  <a:lnTo>
                    <a:pt x="128" y="87"/>
                  </a:lnTo>
                  <a:lnTo>
                    <a:pt x="132" y="87"/>
                  </a:lnTo>
                  <a:lnTo>
                    <a:pt x="137" y="87"/>
                  </a:lnTo>
                  <a:lnTo>
                    <a:pt x="146" y="87"/>
                  </a:lnTo>
                  <a:lnTo>
                    <a:pt x="164" y="87"/>
                  </a:lnTo>
                  <a:lnTo>
                    <a:pt x="169" y="91"/>
                  </a:lnTo>
                  <a:lnTo>
                    <a:pt x="183" y="91"/>
                  </a:lnTo>
                  <a:lnTo>
                    <a:pt x="187" y="91"/>
                  </a:lnTo>
                  <a:lnTo>
                    <a:pt x="192" y="91"/>
                  </a:lnTo>
                  <a:lnTo>
                    <a:pt x="196" y="91"/>
                  </a:lnTo>
                  <a:lnTo>
                    <a:pt x="206" y="87"/>
                  </a:lnTo>
                  <a:lnTo>
                    <a:pt x="215" y="82"/>
                  </a:lnTo>
                  <a:lnTo>
                    <a:pt x="215" y="82"/>
                  </a:lnTo>
                  <a:lnTo>
                    <a:pt x="219" y="82"/>
                  </a:lnTo>
                  <a:lnTo>
                    <a:pt x="224" y="78"/>
                  </a:lnTo>
                  <a:lnTo>
                    <a:pt x="228" y="73"/>
                  </a:lnTo>
                  <a:lnTo>
                    <a:pt x="233" y="73"/>
                  </a:lnTo>
                  <a:lnTo>
                    <a:pt x="238" y="69"/>
                  </a:lnTo>
                  <a:lnTo>
                    <a:pt x="238" y="69"/>
                  </a:lnTo>
                  <a:lnTo>
                    <a:pt x="242" y="64"/>
                  </a:lnTo>
                  <a:lnTo>
                    <a:pt x="251" y="59"/>
                  </a:lnTo>
                  <a:lnTo>
                    <a:pt x="256" y="55"/>
                  </a:lnTo>
                  <a:lnTo>
                    <a:pt x="265" y="55"/>
                  </a:lnTo>
                  <a:lnTo>
                    <a:pt x="265" y="50"/>
                  </a:lnTo>
                  <a:lnTo>
                    <a:pt x="270" y="50"/>
                  </a:lnTo>
                  <a:lnTo>
                    <a:pt x="270" y="50"/>
                  </a:lnTo>
                  <a:lnTo>
                    <a:pt x="274" y="50"/>
                  </a:lnTo>
                  <a:lnTo>
                    <a:pt x="279" y="46"/>
                  </a:lnTo>
                  <a:lnTo>
                    <a:pt x="279" y="46"/>
                  </a:lnTo>
                  <a:lnTo>
                    <a:pt x="279" y="46"/>
                  </a:lnTo>
                  <a:lnTo>
                    <a:pt x="283" y="41"/>
                  </a:lnTo>
                  <a:lnTo>
                    <a:pt x="283" y="41"/>
                  </a:lnTo>
                  <a:lnTo>
                    <a:pt x="288" y="41"/>
                  </a:lnTo>
                  <a:lnTo>
                    <a:pt x="288" y="37"/>
                  </a:lnTo>
                  <a:lnTo>
                    <a:pt x="292" y="37"/>
                  </a:lnTo>
                  <a:lnTo>
                    <a:pt x="292" y="37"/>
                  </a:lnTo>
                  <a:lnTo>
                    <a:pt x="292" y="37"/>
                  </a:lnTo>
                  <a:lnTo>
                    <a:pt x="297" y="37"/>
                  </a:lnTo>
                  <a:lnTo>
                    <a:pt x="315" y="23"/>
                  </a:lnTo>
                  <a:lnTo>
                    <a:pt x="320" y="23"/>
                  </a:lnTo>
                  <a:lnTo>
                    <a:pt x="324" y="14"/>
                  </a:lnTo>
                  <a:lnTo>
                    <a:pt x="329" y="14"/>
                  </a:lnTo>
                  <a:lnTo>
                    <a:pt x="329" y="14"/>
                  </a:lnTo>
                  <a:lnTo>
                    <a:pt x="329" y="14"/>
                  </a:lnTo>
                  <a:lnTo>
                    <a:pt x="329" y="14"/>
                  </a:lnTo>
                  <a:lnTo>
                    <a:pt x="334" y="14"/>
                  </a:lnTo>
                  <a:lnTo>
                    <a:pt x="338" y="9"/>
                  </a:lnTo>
                  <a:lnTo>
                    <a:pt x="343" y="5"/>
                  </a:lnTo>
                  <a:lnTo>
                    <a:pt x="347" y="0"/>
                  </a:lnTo>
                  <a:lnTo>
                    <a:pt x="352" y="0"/>
                  </a:lnTo>
                  <a:lnTo>
                    <a:pt x="356" y="0"/>
                  </a:lnTo>
                  <a:lnTo>
                    <a:pt x="361" y="0"/>
                  </a:lnTo>
                  <a:lnTo>
                    <a:pt x="366" y="0"/>
                  </a:lnTo>
                  <a:lnTo>
                    <a:pt x="366" y="0"/>
                  </a:lnTo>
                  <a:lnTo>
                    <a:pt x="370" y="0"/>
                  </a:lnTo>
                  <a:lnTo>
                    <a:pt x="375" y="0"/>
                  </a:lnTo>
                  <a:lnTo>
                    <a:pt x="379" y="5"/>
                  </a:lnTo>
                  <a:lnTo>
                    <a:pt x="384" y="5"/>
                  </a:lnTo>
                  <a:lnTo>
                    <a:pt x="388" y="5"/>
                  </a:lnTo>
                  <a:lnTo>
                    <a:pt x="388" y="5"/>
                  </a:lnTo>
                  <a:lnTo>
                    <a:pt x="393" y="5"/>
                  </a:lnTo>
                  <a:lnTo>
                    <a:pt x="402" y="5"/>
                  </a:lnTo>
                  <a:lnTo>
                    <a:pt x="420" y="9"/>
                  </a:lnTo>
                  <a:lnTo>
                    <a:pt x="425" y="9"/>
                  </a:lnTo>
                  <a:lnTo>
                    <a:pt x="425" y="9"/>
                  </a:lnTo>
                  <a:lnTo>
                    <a:pt x="434" y="9"/>
                  </a:lnTo>
                  <a:lnTo>
                    <a:pt x="434" y="9"/>
                  </a:lnTo>
                  <a:lnTo>
                    <a:pt x="434" y="9"/>
                  </a:lnTo>
                  <a:lnTo>
                    <a:pt x="439" y="14"/>
                  </a:lnTo>
                  <a:lnTo>
                    <a:pt x="439" y="14"/>
                  </a:lnTo>
                  <a:lnTo>
                    <a:pt x="443" y="14"/>
                  </a:lnTo>
                  <a:lnTo>
                    <a:pt x="448" y="14"/>
                  </a:lnTo>
                  <a:lnTo>
                    <a:pt x="448" y="14"/>
                  </a:lnTo>
                  <a:lnTo>
                    <a:pt x="452" y="14"/>
                  </a:lnTo>
                  <a:lnTo>
                    <a:pt x="457" y="14"/>
                  </a:lnTo>
                  <a:lnTo>
                    <a:pt x="466" y="18"/>
                  </a:lnTo>
                  <a:lnTo>
                    <a:pt x="471" y="23"/>
                  </a:lnTo>
                  <a:lnTo>
                    <a:pt x="480" y="27"/>
                  </a:lnTo>
                  <a:lnTo>
                    <a:pt x="484" y="27"/>
                  </a:lnTo>
                  <a:lnTo>
                    <a:pt x="484" y="27"/>
                  </a:lnTo>
                  <a:lnTo>
                    <a:pt x="484" y="32"/>
                  </a:lnTo>
                  <a:lnTo>
                    <a:pt x="489" y="37"/>
                  </a:lnTo>
                  <a:lnTo>
                    <a:pt x="494" y="37"/>
                  </a:lnTo>
                  <a:lnTo>
                    <a:pt x="498" y="41"/>
                  </a:lnTo>
                  <a:lnTo>
                    <a:pt x="498" y="41"/>
                  </a:lnTo>
                  <a:lnTo>
                    <a:pt x="498" y="41"/>
                  </a:lnTo>
                  <a:lnTo>
                    <a:pt x="503" y="46"/>
                  </a:lnTo>
                  <a:lnTo>
                    <a:pt x="521" y="50"/>
                  </a:lnTo>
                  <a:lnTo>
                    <a:pt x="521" y="50"/>
                  </a:lnTo>
                  <a:lnTo>
                    <a:pt x="526" y="55"/>
                  </a:lnTo>
                  <a:lnTo>
                    <a:pt x="526" y="55"/>
                  </a:lnTo>
                  <a:lnTo>
                    <a:pt x="530" y="64"/>
                  </a:lnTo>
                  <a:lnTo>
                    <a:pt x="535" y="64"/>
                  </a:lnTo>
                  <a:lnTo>
                    <a:pt x="539" y="69"/>
                  </a:lnTo>
                  <a:lnTo>
                    <a:pt x="539" y="69"/>
                  </a:lnTo>
                  <a:lnTo>
                    <a:pt x="544" y="73"/>
                  </a:lnTo>
                  <a:lnTo>
                    <a:pt x="544" y="73"/>
                  </a:lnTo>
                  <a:lnTo>
                    <a:pt x="548" y="78"/>
                  </a:lnTo>
                  <a:lnTo>
                    <a:pt x="553" y="82"/>
                  </a:lnTo>
                  <a:lnTo>
                    <a:pt x="558" y="87"/>
                  </a:lnTo>
                  <a:lnTo>
                    <a:pt x="562" y="91"/>
                  </a:lnTo>
                  <a:lnTo>
                    <a:pt x="567" y="96"/>
                  </a:lnTo>
                  <a:lnTo>
                    <a:pt x="567" y="96"/>
                  </a:lnTo>
                  <a:lnTo>
                    <a:pt x="567" y="96"/>
                  </a:lnTo>
                  <a:lnTo>
                    <a:pt x="571" y="96"/>
                  </a:lnTo>
                  <a:lnTo>
                    <a:pt x="571" y="96"/>
                  </a:lnTo>
                  <a:lnTo>
                    <a:pt x="576" y="101"/>
                  </a:lnTo>
                  <a:lnTo>
                    <a:pt x="580" y="105"/>
                  </a:lnTo>
                  <a:lnTo>
                    <a:pt x="585" y="105"/>
                  </a:lnTo>
                  <a:lnTo>
                    <a:pt x="590" y="105"/>
                  </a:lnTo>
                  <a:lnTo>
                    <a:pt x="603" y="101"/>
                  </a:lnTo>
                  <a:lnTo>
                    <a:pt x="608" y="101"/>
                  </a:lnTo>
                  <a:lnTo>
                    <a:pt x="612" y="101"/>
                  </a:lnTo>
                  <a:lnTo>
                    <a:pt x="617" y="105"/>
                  </a:lnTo>
                  <a:lnTo>
                    <a:pt x="626" y="105"/>
                  </a:lnTo>
                  <a:lnTo>
                    <a:pt x="631" y="110"/>
                  </a:lnTo>
                  <a:lnTo>
                    <a:pt x="635" y="114"/>
                  </a:lnTo>
                  <a:lnTo>
                    <a:pt x="644" y="119"/>
                  </a:lnTo>
                  <a:lnTo>
                    <a:pt x="649" y="123"/>
                  </a:lnTo>
                  <a:lnTo>
                    <a:pt x="649" y="123"/>
                  </a:lnTo>
                  <a:lnTo>
                    <a:pt x="654" y="123"/>
                  </a:lnTo>
                  <a:lnTo>
                    <a:pt x="658" y="133"/>
                  </a:lnTo>
                  <a:lnTo>
                    <a:pt x="663" y="137"/>
                  </a:lnTo>
                  <a:lnTo>
                    <a:pt x="667" y="142"/>
                  </a:lnTo>
                  <a:lnTo>
                    <a:pt x="667" y="146"/>
                  </a:lnTo>
                  <a:lnTo>
                    <a:pt x="667" y="146"/>
                  </a:lnTo>
                  <a:lnTo>
                    <a:pt x="667" y="151"/>
                  </a:lnTo>
                  <a:lnTo>
                    <a:pt x="672" y="155"/>
                  </a:lnTo>
                  <a:lnTo>
                    <a:pt x="676" y="155"/>
                  </a:lnTo>
                  <a:lnTo>
                    <a:pt x="676" y="155"/>
                  </a:lnTo>
                  <a:lnTo>
                    <a:pt x="681" y="155"/>
                  </a:lnTo>
                  <a:lnTo>
                    <a:pt x="681" y="155"/>
                  </a:lnTo>
                  <a:lnTo>
                    <a:pt x="686" y="160"/>
                  </a:lnTo>
                  <a:lnTo>
                    <a:pt x="686" y="160"/>
                  </a:lnTo>
                  <a:lnTo>
                    <a:pt x="690" y="160"/>
                  </a:lnTo>
                  <a:lnTo>
                    <a:pt x="690" y="160"/>
                  </a:lnTo>
                  <a:lnTo>
                    <a:pt x="695" y="160"/>
                  </a:lnTo>
                  <a:lnTo>
                    <a:pt x="699" y="160"/>
                  </a:lnTo>
                  <a:lnTo>
                    <a:pt x="713" y="165"/>
                  </a:lnTo>
                  <a:lnTo>
                    <a:pt x="718" y="169"/>
                  </a:lnTo>
                  <a:lnTo>
                    <a:pt x="718" y="169"/>
                  </a:lnTo>
                  <a:lnTo>
                    <a:pt x="722" y="169"/>
                  </a:lnTo>
                  <a:lnTo>
                    <a:pt x="731" y="169"/>
                  </a:lnTo>
                  <a:lnTo>
                    <a:pt x="736" y="174"/>
                  </a:lnTo>
                  <a:lnTo>
                    <a:pt x="736" y="174"/>
                  </a:lnTo>
                  <a:lnTo>
                    <a:pt x="745" y="174"/>
                  </a:lnTo>
                  <a:lnTo>
                    <a:pt x="750" y="178"/>
                  </a:lnTo>
                  <a:lnTo>
                    <a:pt x="754" y="178"/>
                  </a:lnTo>
                  <a:lnTo>
                    <a:pt x="759" y="178"/>
                  </a:lnTo>
                  <a:lnTo>
                    <a:pt x="772" y="183"/>
                  </a:lnTo>
                  <a:lnTo>
                    <a:pt x="777" y="187"/>
                  </a:lnTo>
                  <a:lnTo>
                    <a:pt x="777" y="187"/>
                  </a:lnTo>
                  <a:lnTo>
                    <a:pt x="782" y="187"/>
                  </a:lnTo>
                  <a:lnTo>
                    <a:pt x="782" y="187"/>
                  </a:lnTo>
                  <a:lnTo>
                    <a:pt x="795" y="210"/>
                  </a:lnTo>
                  <a:lnTo>
                    <a:pt x="791" y="219"/>
                  </a:lnTo>
                  <a:lnTo>
                    <a:pt x="786" y="219"/>
                  </a:lnTo>
                  <a:lnTo>
                    <a:pt x="786" y="224"/>
                  </a:lnTo>
                  <a:lnTo>
                    <a:pt x="782" y="229"/>
                  </a:lnTo>
                  <a:lnTo>
                    <a:pt x="782" y="229"/>
                  </a:lnTo>
                  <a:lnTo>
                    <a:pt x="777" y="229"/>
                  </a:lnTo>
                  <a:lnTo>
                    <a:pt x="777" y="233"/>
                  </a:lnTo>
                  <a:lnTo>
                    <a:pt x="777" y="233"/>
                  </a:lnTo>
                  <a:lnTo>
                    <a:pt x="777" y="238"/>
                  </a:lnTo>
                  <a:lnTo>
                    <a:pt x="777" y="242"/>
                  </a:lnTo>
                  <a:lnTo>
                    <a:pt x="772" y="242"/>
                  </a:lnTo>
                  <a:lnTo>
                    <a:pt x="772" y="247"/>
                  </a:lnTo>
                  <a:lnTo>
                    <a:pt x="768" y="247"/>
                  </a:lnTo>
                  <a:lnTo>
                    <a:pt x="763" y="247"/>
                  </a:lnTo>
                  <a:lnTo>
                    <a:pt x="759" y="251"/>
                  </a:lnTo>
                  <a:lnTo>
                    <a:pt x="754" y="256"/>
                  </a:lnTo>
                  <a:lnTo>
                    <a:pt x="745" y="261"/>
                  </a:lnTo>
                  <a:lnTo>
                    <a:pt x="736" y="261"/>
                  </a:lnTo>
                  <a:lnTo>
                    <a:pt x="736" y="261"/>
                  </a:lnTo>
                  <a:lnTo>
                    <a:pt x="718" y="261"/>
                  </a:lnTo>
                  <a:lnTo>
                    <a:pt x="713" y="265"/>
                  </a:lnTo>
                  <a:lnTo>
                    <a:pt x="708" y="261"/>
                  </a:lnTo>
                  <a:lnTo>
                    <a:pt x="695" y="261"/>
                  </a:lnTo>
                  <a:lnTo>
                    <a:pt x="686" y="256"/>
                  </a:lnTo>
                  <a:lnTo>
                    <a:pt x="681" y="251"/>
                  </a:lnTo>
                  <a:lnTo>
                    <a:pt x="676" y="251"/>
                  </a:lnTo>
                  <a:lnTo>
                    <a:pt x="672" y="247"/>
                  </a:lnTo>
                  <a:lnTo>
                    <a:pt x="667" y="247"/>
                  </a:lnTo>
                  <a:lnTo>
                    <a:pt x="667" y="242"/>
                  </a:lnTo>
                  <a:lnTo>
                    <a:pt x="663" y="242"/>
                  </a:lnTo>
                  <a:lnTo>
                    <a:pt x="658" y="233"/>
                  </a:lnTo>
                  <a:lnTo>
                    <a:pt x="654" y="233"/>
                  </a:lnTo>
                  <a:lnTo>
                    <a:pt x="654" y="229"/>
                  </a:lnTo>
                  <a:lnTo>
                    <a:pt x="649" y="229"/>
                  </a:lnTo>
                  <a:lnTo>
                    <a:pt x="649" y="229"/>
                  </a:lnTo>
                  <a:lnTo>
                    <a:pt x="649" y="224"/>
                  </a:lnTo>
                  <a:lnTo>
                    <a:pt x="644" y="219"/>
                  </a:lnTo>
                  <a:lnTo>
                    <a:pt x="644" y="215"/>
                  </a:lnTo>
                  <a:lnTo>
                    <a:pt x="640" y="215"/>
                  </a:lnTo>
                  <a:lnTo>
                    <a:pt x="640" y="206"/>
                  </a:lnTo>
                  <a:lnTo>
                    <a:pt x="635" y="206"/>
                  </a:lnTo>
                  <a:lnTo>
                    <a:pt x="626" y="201"/>
                  </a:lnTo>
                  <a:lnTo>
                    <a:pt x="626" y="197"/>
                  </a:lnTo>
                  <a:lnTo>
                    <a:pt x="617" y="192"/>
                  </a:lnTo>
                  <a:lnTo>
                    <a:pt x="608" y="192"/>
                  </a:lnTo>
                  <a:lnTo>
                    <a:pt x="594" y="197"/>
                  </a:lnTo>
                  <a:lnTo>
                    <a:pt x="590" y="201"/>
                  </a:lnTo>
                  <a:lnTo>
                    <a:pt x="580" y="201"/>
                  </a:lnTo>
                  <a:lnTo>
                    <a:pt x="580" y="201"/>
                  </a:lnTo>
                  <a:lnTo>
                    <a:pt x="576" y="201"/>
                  </a:lnTo>
                  <a:lnTo>
                    <a:pt x="571" y="201"/>
                  </a:lnTo>
                  <a:lnTo>
                    <a:pt x="567" y="206"/>
                  </a:lnTo>
                  <a:lnTo>
                    <a:pt x="558" y="206"/>
                  </a:lnTo>
                  <a:lnTo>
                    <a:pt x="553" y="201"/>
                  </a:lnTo>
                  <a:lnTo>
                    <a:pt x="548" y="201"/>
                  </a:lnTo>
                  <a:lnTo>
                    <a:pt x="539" y="201"/>
                  </a:lnTo>
                  <a:lnTo>
                    <a:pt x="539" y="197"/>
                  </a:lnTo>
                  <a:lnTo>
                    <a:pt x="530" y="197"/>
                  </a:lnTo>
                  <a:lnTo>
                    <a:pt x="526" y="197"/>
                  </a:lnTo>
                  <a:lnTo>
                    <a:pt x="526" y="192"/>
                  </a:lnTo>
                  <a:lnTo>
                    <a:pt x="521" y="192"/>
                  </a:lnTo>
                  <a:lnTo>
                    <a:pt x="516" y="192"/>
                  </a:lnTo>
                  <a:lnTo>
                    <a:pt x="516" y="192"/>
                  </a:lnTo>
                  <a:lnTo>
                    <a:pt x="512" y="192"/>
                  </a:lnTo>
                  <a:lnTo>
                    <a:pt x="498" y="197"/>
                  </a:lnTo>
                  <a:lnTo>
                    <a:pt x="494" y="201"/>
                  </a:lnTo>
                  <a:lnTo>
                    <a:pt x="489" y="206"/>
                  </a:lnTo>
                  <a:lnTo>
                    <a:pt x="489" y="206"/>
                  </a:lnTo>
                  <a:lnTo>
                    <a:pt x="484" y="206"/>
                  </a:lnTo>
                  <a:lnTo>
                    <a:pt x="484" y="210"/>
                  </a:lnTo>
                  <a:lnTo>
                    <a:pt x="484" y="215"/>
                  </a:lnTo>
                  <a:lnTo>
                    <a:pt x="484" y="219"/>
                  </a:lnTo>
                  <a:lnTo>
                    <a:pt x="484" y="233"/>
                  </a:lnTo>
                  <a:lnTo>
                    <a:pt x="484" y="238"/>
                  </a:lnTo>
                  <a:lnTo>
                    <a:pt x="484" y="247"/>
                  </a:lnTo>
                  <a:lnTo>
                    <a:pt x="484" y="251"/>
                  </a:lnTo>
                  <a:lnTo>
                    <a:pt x="484" y="261"/>
                  </a:lnTo>
                  <a:lnTo>
                    <a:pt x="489" y="265"/>
                  </a:lnTo>
                  <a:lnTo>
                    <a:pt x="489" y="270"/>
                  </a:lnTo>
                  <a:lnTo>
                    <a:pt x="494" y="279"/>
                  </a:lnTo>
                  <a:lnTo>
                    <a:pt x="498" y="283"/>
                  </a:lnTo>
                  <a:lnTo>
                    <a:pt x="503" y="288"/>
                  </a:lnTo>
                  <a:lnTo>
                    <a:pt x="516" y="288"/>
                  </a:lnTo>
                  <a:lnTo>
                    <a:pt x="516" y="293"/>
                  </a:lnTo>
                  <a:lnTo>
                    <a:pt x="521" y="293"/>
                  </a:lnTo>
                  <a:lnTo>
                    <a:pt x="526" y="293"/>
                  </a:lnTo>
                  <a:lnTo>
                    <a:pt x="516" y="297"/>
                  </a:lnTo>
                  <a:lnTo>
                    <a:pt x="516" y="302"/>
                  </a:lnTo>
                  <a:lnTo>
                    <a:pt x="512" y="306"/>
                  </a:lnTo>
                  <a:lnTo>
                    <a:pt x="507" y="306"/>
                  </a:lnTo>
                  <a:lnTo>
                    <a:pt x="503" y="311"/>
                  </a:lnTo>
                  <a:lnTo>
                    <a:pt x="498" y="315"/>
                  </a:lnTo>
                  <a:lnTo>
                    <a:pt x="494" y="315"/>
                  </a:lnTo>
                  <a:lnTo>
                    <a:pt x="494" y="320"/>
                  </a:lnTo>
                  <a:lnTo>
                    <a:pt x="494" y="325"/>
                  </a:lnTo>
                  <a:lnTo>
                    <a:pt x="494" y="325"/>
                  </a:lnTo>
                  <a:lnTo>
                    <a:pt x="489" y="334"/>
                  </a:lnTo>
                  <a:lnTo>
                    <a:pt x="484" y="343"/>
                  </a:lnTo>
                  <a:lnTo>
                    <a:pt x="484" y="347"/>
                  </a:lnTo>
                  <a:lnTo>
                    <a:pt x="480" y="352"/>
                  </a:lnTo>
                  <a:lnTo>
                    <a:pt x="480" y="357"/>
                  </a:lnTo>
                  <a:lnTo>
                    <a:pt x="475" y="357"/>
                  </a:lnTo>
                  <a:lnTo>
                    <a:pt x="475" y="357"/>
                  </a:lnTo>
                  <a:lnTo>
                    <a:pt x="471" y="361"/>
                  </a:lnTo>
                  <a:lnTo>
                    <a:pt x="471" y="366"/>
                  </a:lnTo>
                  <a:lnTo>
                    <a:pt x="466" y="366"/>
                  </a:lnTo>
                  <a:lnTo>
                    <a:pt x="462" y="370"/>
                  </a:lnTo>
                  <a:lnTo>
                    <a:pt x="452" y="375"/>
                  </a:lnTo>
                  <a:lnTo>
                    <a:pt x="448" y="375"/>
                  </a:lnTo>
                  <a:lnTo>
                    <a:pt x="448" y="379"/>
                  </a:lnTo>
                  <a:lnTo>
                    <a:pt x="439" y="379"/>
                  </a:lnTo>
                  <a:lnTo>
                    <a:pt x="434" y="379"/>
                  </a:lnTo>
                  <a:lnTo>
                    <a:pt x="430" y="379"/>
                  </a:lnTo>
                  <a:lnTo>
                    <a:pt x="430" y="379"/>
                  </a:lnTo>
                  <a:lnTo>
                    <a:pt x="420" y="384"/>
                  </a:lnTo>
                  <a:lnTo>
                    <a:pt x="416" y="384"/>
                  </a:lnTo>
                  <a:lnTo>
                    <a:pt x="411" y="384"/>
                  </a:lnTo>
                  <a:lnTo>
                    <a:pt x="407" y="384"/>
                  </a:lnTo>
                  <a:lnTo>
                    <a:pt x="402" y="389"/>
                  </a:lnTo>
                  <a:lnTo>
                    <a:pt x="398" y="389"/>
                  </a:lnTo>
                  <a:lnTo>
                    <a:pt x="398" y="393"/>
                  </a:lnTo>
                  <a:lnTo>
                    <a:pt x="384" y="398"/>
                  </a:lnTo>
                  <a:lnTo>
                    <a:pt x="379" y="402"/>
                  </a:lnTo>
                  <a:lnTo>
                    <a:pt x="375" y="402"/>
                  </a:lnTo>
                  <a:lnTo>
                    <a:pt x="370" y="402"/>
                  </a:lnTo>
                  <a:lnTo>
                    <a:pt x="370" y="402"/>
                  </a:lnTo>
                  <a:lnTo>
                    <a:pt x="366" y="407"/>
                  </a:lnTo>
                  <a:lnTo>
                    <a:pt x="361" y="411"/>
                  </a:lnTo>
                  <a:lnTo>
                    <a:pt x="361" y="416"/>
                  </a:lnTo>
                  <a:lnTo>
                    <a:pt x="356" y="421"/>
                  </a:lnTo>
                  <a:lnTo>
                    <a:pt x="352" y="425"/>
                  </a:lnTo>
                  <a:lnTo>
                    <a:pt x="352" y="434"/>
                  </a:lnTo>
                  <a:lnTo>
                    <a:pt x="352" y="443"/>
                  </a:lnTo>
                  <a:lnTo>
                    <a:pt x="352" y="443"/>
                  </a:lnTo>
                  <a:lnTo>
                    <a:pt x="352" y="448"/>
                  </a:lnTo>
                  <a:lnTo>
                    <a:pt x="352" y="453"/>
                  </a:lnTo>
                  <a:lnTo>
                    <a:pt x="352" y="453"/>
                  </a:lnTo>
                  <a:lnTo>
                    <a:pt x="356" y="457"/>
                  </a:lnTo>
                  <a:lnTo>
                    <a:pt x="361" y="471"/>
                  </a:lnTo>
                  <a:lnTo>
                    <a:pt x="361" y="480"/>
                  </a:lnTo>
                  <a:lnTo>
                    <a:pt x="361" y="485"/>
                  </a:lnTo>
                  <a:lnTo>
                    <a:pt x="361" y="494"/>
                  </a:lnTo>
                  <a:lnTo>
                    <a:pt x="361" y="503"/>
                  </a:lnTo>
                  <a:lnTo>
                    <a:pt x="361" y="507"/>
                  </a:lnTo>
                  <a:lnTo>
                    <a:pt x="361" y="521"/>
                  </a:lnTo>
                  <a:lnTo>
                    <a:pt x="361" y="526"/>
                  </a:lnTo>
                  <a:lnTo>
                    <a:pt x="361" y="535"/>
                  </a:lnTo>
                  <a:lnTo>
                    <a:pt x="361" y="539"/>
                  </a:lnTo>
                  <a:lnTo>
                    <a:pt x="361" y="549"/>
                  </a:lnTo>
                  <a:lnTo>
                    <a:pt x="361" y="553"/>
                  </a:lnTo>
                  <a:lnTo>
                    <a:pt x="361" y="553"/>
                  </a:lnTo>
                  <a:lnTo>
                    <a:pt x="361" y="558"/>
                  </a:lnTo>
                  <a:lnTo>
                    <a:pt x="361" y="562"/>
                  </a:lnTo>
                  <a:lnTo>
                    <a:pt x="366" y="567"/>
                  </a:lnTo>
                  <a:lnTo>
                    <a:pt x="370" y="567"/>
                  </a:lnTo>
                  <a:lnTo>
                    <a:pt x="370" y="571"/>
                  </a:lnTo>
                  <a:lnTo>
                    <a:pt x="370" y="576"/>
                  </a:lnTo>
                  <a:lnTo>
                    <a:pt x="375" y="576"/>
                  </a:lnTo>
                  <a:lnTo>
                    <a:pt x="375" y="585"/>
                  </a:lnTo>
                  <a:lnTo>
                    <a:pt x="375" y="590"/>
                  </a:lnTo>
                  <a:lnTo>
                    <a:pt x="375" y="594"/>
                  </a:lnTo>
                  <a:lnTo>
                    <a:pt x="375" y="599"/>
                  </a:lnTo>
                  <a:lnTo>
                    <a:pt x="375" y="599"/>
                  </a:lnTo>
                  <a:lnTo>
                    <a:pt x="375" y="603"/>
                  </a:lnTo>
                  <a:lnTo>
                    <a:pt x="375" y="608"/>
                  </a:lnTo>
                  <a:lnTo>
                    <a:pt x="379" y="617"/>
                  </a:lnTo>
                  <a:lnTo>
                    <a:pt x="379" y="622"/>
                  </a:lnTo>
                  <a:lnTo>
                    <a:pt x="379" y="622"/>
                  </a:lnTo>
                  <a:lnTo>
                    <a:pt x="384" y="626"/>
                  </a:lnTo>
                  <a:lnTo>
                    <a:pt x="384" y="631"/>
                  </a:lnTo>
                  <a:lnTo>
                    <a:pt x="384" y="635"/>
                  </a:lnTo>
                  <a:lnTo>
                    <a:pt x="388" y="645"/>
                  </a:lnTo>
                  <a:lnTo>
                    <a:pt x="388" y="645"/>
                  </a:lnTo>
                  <a:lnTo>
                    <a:pt x="388" y="649"/>
                  </a:lnTo>
                  <a:lnTo>
                    <a:pt x="388" y="654"/>
                  </a:lnTo>
                  <a:lnTo>
                    <a:pt x="384" y="658"/>
                  </a:lnTo>
                  <a:lnTo>
                    <a:pt x="375" y="663"/>
                  </a:lnTo>
                  <a:lnTo>
                    <a:pt x="370" y="663"/>
                  </a:lnTo>
                  <a:lnTo>
                    <a:pt x="356" y="663"/>
                  </a:lnTo>
                  <a:lnTo>
                    <a:pt x="352" y="663"/>
                  </a:lnTo>
                  <a:lnTo>
                    <a:pt x="347" y="663"/>
                  </a:lnTo>
                  <a:lnTo>
                    <a:pt x="338" y="667"/>
                  </a:lnTo>
                  <a:lnTo>
                    <a:pt x="338" y="667"/>
                  </a:lnTo>
                  <a:lnTo>
                    <a:pt x="334" y="672"/>
                  </a:lnTo>
                  <a:lnTo>
                    <a:pt x="329" y="672"/>
                  </a:lnTo>
                  <a:lnTo>
                    <a:pt x="324" y="672"/>
                  </a:lnTo>
                  <a:lnTo>
                    <a:pt x="324" y="677"/>
                  </a:lnTo>
                  <a:lnTo>
                    <a:pt x="320" y="681"/>
                  </a:lnTo>
                  <a:lnTo>
                    <a:pt x="320" y="686"/>
                  </a:lnTo>
                  <a:lnTo>
                    <a:pt x="320" y="690"/>
                  </a:lnTo>
                  <a:lnTo>
                    <a:pt x="320" y="695"/>
                  </a:lnTo>
                  <a:lnTo>
                    <a:pt x="315" y="695"/>
                  </a:lnTo>
                  <a:lnTo>
                    <a:pt x="311" y="695"/>
                  </a:lnTo>
                  <a:lnTo>
                    <a:pt x="311" y="699"/>
                  </a:lnTo>
                  <a:lnTo>
                    <a:pt x="306" y="699"/>
                  </a:lnTo>
                  <a:lnTo>
                    <a:pt x="302" y="709"/>
                  </a:lnTo>
                  <a:lnTo>
                    <a:pt x="297" y="709"/>
                  </a:lnTo>
                  <a:lnTo>
                    <a:pt x="297" y="709"/>
                  </a:lnTo>
                  <a:lnTo>
                    <a:pt x="302" y="713"/>
                  </a:lnTo>
                  <a:lnTo>
                    <a:pt x="302" y="718"/>
                  </a:lnTo>
                  <a:lnTo>
                    <a:pt x="306" y="722"/>
                  </a:lnTo>
                  <a:lnTo>
                    <a:pt x="311" y="727"/>
                  </a:lnTo>
                  <a:lnTo>
                    <a:pt x="311" y="731"/>
                  </a:lnTo>
                  <a:lnTo>
                    <a:pt x="315" y="731"/>
                  </a:lnTo>
                  <a:lnTo>
                    <a:pt x="315" y="731"/>
                  </a:lnTo>
                  <a:lnTo>
                    <a:pt x="320" y="741"/>
                  </a:lnTo>
                  <a:lnTo>
                    <a:pt x="324" y="745"/>
                  </a:lnTo>
                  <a:lnTo>
                    <a:pt x="324" y="750"/>
                  </a:lnTo>
                  <a:lnTo>
                    <a:pt x="324" y="754"/>
                  </a:lnTo>
                  <a:lnTo>
                    <a:pt x="338" y="759"/>
                  </a:lnTo>
                  <a:lnTo>
                    <a:pt x="338" y="759"/>
                  </a:lnTo>
                  <a:lnTo>
                    <a:pt x="343" y="759"/>
                  </a:lnTo>
                  <a:lnTo>
                    <a:pt x="352" y="759"/>
                  </a:lnTo>
                  <a:lnTo>
                    <a:pt x="361" y="759"/>
                  </a:lnTo>
                  <a:lnTo>
                    <a:pt x="361" y="759"/>
                  </a:lnTo>
                  <a:lnTo>
                    <a:pt x="366" y="759"/>
                  </a:lnTo>
                  <a:lnTo>
                    <a:pt x="361" y="763"/>
                  </a:lnTo>
                  <a:lnTo>
                    <a:pt x="352" y="773"/>
                  </a:lnTo>
                  <a:lnTo>
                    <a:pt x="343" y="773"/>
                  </a:lnTo>
                  <a:lnTo>
                    <a:pt x="338" y="777"/>
                  </a:lnTo>
                  <a:lnTo>
                    <a:pt x="338" y="777"/>
                  </a:lnTo>
                  <a:lnTo>
                    <a:pt x="338" y="782"/>
                  </a:lnTo>
                  <a:lnTo>
                    <a:pt x="334" y="782"/>
                  </a:lnTo>
                  <a:lnTo>
                    <a:pt x="334" y="786"/>
                  </a:lnTo>
                  <a:lnTo>
                    <a:pt x="329" y="786"/>
                  </a:lnTo>
                  <a:lnTo>
                    <a:pt x="324" y="791"/>
                  </a:lnTo>
                  <a:lnTo>
                    <a:pt x="320" y="791"/>
                  </a:lnTo>
                  <a:lnTo>
                    <a:pt x="320" y="795"/>
                  </a:lnTo>
                  <a:lnTo>
                    <a:pt x="320" y="795"/>
                  </a:lnTo>
                  <a:lnTo>
                    <a:pt x="320" y="795"/>
                  </a:lnTo>
                  <a:lnTo>
                    <a:pt x="315" y="795"/>
                  </a:lnTo>
                  <a:lnTo>
                    <a:pt x="306" y="805"/>
                  </a:lnTo>
                  <a:lnTo>
                    <a:pt x="302" y="809"/>
                  </a:lnTo>
                  <a:lnTo>
                    <a:pt x="297" y="814"/>
                  </a:lnTo>
                  <a:lnTo>
                    <a:pt x="297" y="814"/>
                  </a:lnTo>
                  <a:lnTo>
                    <a:pt x="292" y="814"/>
                  </a:lnTo>
                  <a:lnTo>
                    <a:pt x="292" y="818"/>
                  </a:lnTo>
                  <a:lnTo>
                    <a:pt x="288" y="818"/>
                  </a:lnTo>
                  <a:lnTo>
                    <a:pt x="283" y="818"/>
                  </a:lnTo>
                  <a:lnTo>
                    <a:pt x="279" y="818"/>
                  </a:lnTo>
                  <a:lnTo>
                    <a:pt x="274" y="814"/>
                  </a:lnTo>
                  <a:lnTo>
                    <a:pt x="274" y="809"/>
                  </a:lnTo>
                  <a:lnTo>
                    <a:pt x="274" y="795"/>
                  </a:lnTo>
                  <a:lnTo>
                    <a:pt x="274" y="791"/>
                  </a:lnTo>
                  <a:lnTo>
                    <a:pt x="274" y="786"/>
                  </a:lnTo>
                  <a:lnTo>
                    <a:pt x="274" y="786"/>
                  </a:lnTo>
                  <a:lnTo>
                    <a:pt x="274" y="782"/>
                  </a:lnTo>
                  <a:lnTo>
                    <a:pt x="270" y="773"/>
                  </a:lnTo>
                  <a:lnTo>
                    <a:pt x="265" y="773"/>
                  </a:lnTo>
                  <a:lnTo>
                    <a:pt x="260" y="773"/>
                  </a:lnTo>
                  <a:lnTo>
                    <a:pt x="256" y="768"/>
                  </a:lnTo>
                  <a:lnTo>
                    <a:pt x="251" y="763"/>
                  </a:lnTo>
                  <a:lnTo>
                    <a:pt x="251" y="763"/>
                  </a:lnTo>
                  <a:lnTo>
                    <a:pt x="247" y="759"/>
                  </a:lnTo>
                  <a:lnTo>
                    <a:pt x="247" y="754"/>
                  </a:lnTo>
                  <a:lnTo>
                    <a:pt x="242" y="754"/>
                  </a:lnTo>
                  <a:lnTo>
                    <a:pt x="238" y="754"/>
                  </a:lnTo>
                  <a:lnTo>
                    <a:pt x="233" y="754"/>
                  </a:lnTo>
                  <a:lnTo>
                    <a:pt x="228" y="750"/>
                  </a:lnTo>
                  <a:lnTo>
                    <a:pt x="228" y="750"/>
                  </a:lnTo>
                  <a:lnTo>
                    <a:pt x="224" y="750"/>
                  </a:lnTo>
                  <a:lnTo>
                    <a:pt x="215" y="750"/>
                  </a:lnTo>
                  <a:lnTo>
                    <a:pt x="210" y="750"/>
                  </a:lnTo>
                  <a:lnTo>
                    <a:pt x="210" y="750"/>
                  </a:lnTo>
                  <a:lnTo>
                    <a:pt x="201" y="754"/>
                  </a:lnTo>
                  <a:lnTo>
                    <a:pt x="196" y="754"/>
                  </a:lnTo>
                  <a:lnTo>
                    <a:pt x="192" y="754"/>
                  </a:lnTo>
                  <a:lnTo>
                    <a:pt x="187" y="754"/>
                  </a:lnTo>
                  <a:lnTo>
                    <a:pt x="187" y="759"/>
                  </a:lnTo>
                  <a:lnTo>
                    <a:pt x="187" y="768"/>
                  </a:lnTo>
                  <a:lnTo>
                    <a:pt x="183" y="782"/>
                  </a:lnTo>
                  <a:lnTo>
                    <a:pt x="183" y="786"/>
                  </a:lnTo>
                  <a:lnTo>
                    <a:pt x="178" y="786"/>
                  </a:lnTo>
                  <a:lnTo>
                    <a:pt x="178" y="791"/>
                  </a:lnTo>
                  <a:lnTo>
                    <a:pt x="169" y="791"/>
                  </a:lnTo>
                  <a:lnTo>
                    <a:pt x="164" y="791"/>
                  </a:lnTo>
                  <a:lnTo>
                    <a:pt x="164" y="791"/>
                  </a:lnTo>
                  <a:lnTo>
                    <a:pt x="160" y="791"/>
                  </a:lnTo>
                  <a:lnTo>
                    <a:pt x="155" y="786"/>
                  </a:lnTo>
                  <a:lnTo>
                    <a:pt x="142" y="786"/>
                  </a:lnTo>
                  <a:lnTo>
                    <a:pt x="137" y="786"/>
                  </a:lnTo>
                  <a:lnTo>
                    <a:pt x="132" y="786"/>
                  </a:lnTo>
                  <a:lnTo>
                    <a:pt x="123" y="791"/>
                  </a:lnTo>
                  <a:lnTo>
                    <a:pt x="123" y="791"/>
                  </a:lnTo>
                  <a:lnTo>
                    <a:pt x="123" y="795"/>
                  </a:lnTo>
                  <a:lnTo>
                    <a:pt x="123" y="795"/>
                  </a:lnTo>
                  <a:lnTo>
                    <a:pt x="123" y="805"/>
                  </a:lnTo>
                  <a:lnTo>
                    <a:pt x="123" y="818"/>
                  </a:lnTo>
                  <a:lnTo>
                    <a:pt x="123" y="818"/>
                  </a:lnTo>
                  <a:lnTo>
                    <a:pt x="123" y="827"/>
                  </a:lnTo>
                  <a:lnTo>
                    <a:pt x="123" y="832"/>
                  </a:lnTo>
                  <a:lnTo>
                    <a:pt x="123" y="837"/>
                  </a:lnTo>
                  <a:lnTo>
                    <a:pt x="119" y="837"/>
                  </a:lnTo>
                  <a:lnTo>
                    <a:pt x="119" y="841"/>
                  </a:lnTo>
                  <a:lnTo>
                    <a:pt x="110" y="841"/>
                  </a:lnTo>
                  <a:lnTo>
                    <a:pt x="105" y="841"/>
                  </a:lnTo>
                  <a:lnTo>
                    <a:pt x="100" y="841"/>
                  </a:lnTo>
                  <a:lnTo>
                    <a:pt x="96" y="837"/>
                  </a:lnTo>
                  <a:lnTo>
                    <a:pt x="96" y="832"/>
                  </a:lnTo>
                  <a:lnTo>
                    <a:pt x="91" y="832"/>
                  </a:lnTo>
                  <a:lnTo>
                    <a:pt x="87" y="827"/>
                  </a:lnTo>
                  <a:lnTo>
                    <a:pt x="82" y="823"/>
                  </a:lnTo>
                  <a:lnTo>
                    <a:pt x="78" y="818"/>
                  </a:lnTo>
                  <a:lnTo>
                    <a:pt x="78" y="818"/>
                  </a:lnTo>
                  <a:lnTo>
                    <a:pt x="78" y="818"/>
                  </a:lnTo>
                  <a:lnTo>
                    <a:pt x="73" y="818"/>
                  </a:lnTo>
                  <a:lnTo>
                    <a:pt x="68" y="814"/>
                  </a:lnTo>
                  <a:lnTo>
                    <a:pt x="64" y="814"/>
                  </a:lnTo>
                  <a:lnTo>
                    <a:pt x="59" y="814"/>
                  </a:lnTo>
                  <a:lnTo>
                    <a:pt x="55" y="809"/>
                  </a:lnTo>
                  <a:lnTo>
                    <a:pt x="55" y="809"/>
                  </a:lnTo>
                  <a:lnTo>
                    <a:pt x="50" y="809"/>
                  </a:lnTo>
                  <a:lnTo>
                    <a:pt x="50" y="805"/>
                  </a:lnTo>
                  <a:lnTo>
                    <a:pt x="46" y="805"/>
                  </a:lnTo>
                  <a:lnTo>
                    <a:pt x="41" y="805"/>
                  </a:lnTo>
                  <a:lnTo>
                    <a:pt x="41" y="800"/>
                  </a:lnTo>
                  <a:lnTo>
                    <a:pt x="41" y="795"/>
                  </a:lnTo>
                  <a:lnTo>
                    <a:pt x="41" y="795"/>
                  </a:lnTo>
                  <a:lnTo>
                    <a:pt x="41" y="791"/>
                  </a:lnTo>
                  <a:lnTo>
                    <a:pt x="46" y="786"/>
                  </a:lnTo>
                  <a:lnTo>
                    <a:pt x="46" y="782"/>
                  </a:lnTo>
                  <a:lnTo>
                    <a:pt x="50" y="782"/>
                  </a:lnTo>
                  <a:lnTo>
                    <a:pt x="55" y="773"/>
                  </a:lnTo>
                  <a:lnTo>
                    <a:pt x="55" y="773"/>
                  </a:lnTo>
                  <a:lnTo>
                    <a:pt x="55" y="768"/>
                  </a:lnTo>
                  <a:lnTo>
                    <a:pt x="50" y="763"/>
                  </a:lnTo>
                  <a:lnTo>
                    <a:pt x="50" y="759"/>
                  </a:lnTo>
                  <a:lnTo>
                    <a:pt x="46" y="759"/>
                  </a:lnTo>
                  <a:lnTo>
                    <a:pt x="36" y="754"/>
                  </a:lnTo>
                  <a:lnTo>
                    <a:pt x="27" y="754"/>
                  </a:lnTo>
                  <a:lnTo>
                    <a:pt x="23" y="754"/>
                  </a:lnTo>
                  <a:lnTo>
                    <a:pt x="14" y="754"/>
                  </a:lnTo>
                  <a:lnTo>
                    <a:pt x="9" y="750"/>
                  </a:lnTo>
                  <a:lnTo>
                    <a:pt x="9" y="745"/>
                  </a:lnTo>
                  <a:lnTo>
                    <a:pt x="9" y="736"/>
                  </a:lnTo>
                  <a:lnTo>
                    <a:pt x="9" y="731"/>
                  </a:lnTo>
                  <a:lnTo>
                    <a:pt x="14" y="731"/>
                  </a:lnTo>
                  <a:lnTo>
                    <a:pt x="14" y="727"/>
                  </a:lnTo>
                  <a:lnTo>
                    <a:pt x="14" y="722"/>
                  </a:lnTo>
                  <a:lnTo>
                    <a:pt x="14" y="722"/>
                  </a:lnTo>
                  <a:lnTo>
                    <a:pt x="14" y="718"/>
                  </a:lnTo>
                  <a:lnTo>
                    <a:pt x="14" y="713"/>
                  </a:lnTo>
                  <a:lnTo>
                    <a:pt x="18" y="709"/>
                  </a:lnTo>
                  <a:lnTo>
                    <a:pt x="18" y="709"/>
                  </a:lnTo>
                  <a:lnTo>
                    <a:pt x="18" y="699"/>
                  </a:lnTo>
                  <a:lnTo>
                    <a:pt x="18" y="699"/>
                  </a:lnTo>
                  <a:close/>
                </a:path>
              </a:pathLst>
            </a:custGeom>
            <a:blipFill>
              <a:blip r:embed="rId77"/>
              <a:tile tx="0" ty="0" sx="100000" sy="100000" flip="none" algn="tl"/>
            </a:blipFill>
            <a:ln w="9525" cap="flat" cmpd="sng" algn="ctr">
              <a:solidFill>
                <a:sysClr val="window" lastClr="FFFFFF">
                  <a:lumMod val="65000"/>
                </a:sysClr>
              </a:solidFill>
              <a:prstDash val="solid"/>
            </a:ln>
            <a:effectLst/>
          </p:spPr>
          <p:txBody>
            <a:bodyPr lIns="0" tIns="0" rIns="0" bIns="0" anchor="ctr"/>
            <a:lstStyle/>
            <a:p>
              <a:pPr marL="0" marR="0" lvl="0" indent="0"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Katsina</a:t>
              </a:r>
            </a:p>
            <a:p>
              <a:pPr marL="0" marR="0" lvl="0" indent="0"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45" name="Freeform 64">
              <a:extLst>
                <a:ext uri="{FF2B5EF4-FFF2-40B4-BE49-F238E27FC236}">
                  <a16:creationId xmlns:a16="http://schemas.microsoft.com/office/drawing/2014/main" id="{37D81B4A-5CA6-4935-BED3-EFF524807890}"/>
                </a:ext>
              </a:extLst>
            </p:cNvPr>
            <p:cNvSpPr>
              <a:spLocks/>
            </p:cNvSpPr>
            <p:nvPr>
              <p:custDataLst>
                <p:tags r:id="rId57"/>
              </p:custDataLst>
            </p:nvPr>
          </p:nvSpPr>
          <p:spPr bwMode="auto">
            <a:xfrm>
              <a:off x="411254" y="1046440"/>
              <a:ext cx="841373" cy="1197062"/>
            </a:xfrm>
            <a:custGeom>
              <a:avLst/>
              <a:gdLst/>
              <a:ahLst/>
              <a:cxnLst>
                <a:cxn ang="0">
                  <a:pos x="407" y="471"/>
                </a:cxn>
                <a:cxn ang="0">
                  <a:pos x="393" y="645"/>
                </a:cxn>
                <a:cxn ang="0">
                  <a:pos x="434" y="618"/>
                </a:cxn>
                <a:cxn ang="0">
                  <a:pos x="494" y="595"/>
                </a:cxn>
                <a:cxn ang="0">
                  <a:pos x="544" y="595"/>
                </a:cxn>
                <a:cxn ang="0">
                  <a:pos x="608" y="604"/>
                </a:cxn>
                <a:cxn ang="0">
                  <a:pos x="644" y="581"/>
                </a:cxn>
                <a:cxn ang="0">
                  <a:pos x="699" y="576"/>
                </a:cxn>
                <a:cxn ang="0">
                  <a:pos x="740" y="604"/>
                </a:cxn>
                <a:cxn ang="0">
                  <a:pos x="777" y="627"/>
                </a:cxn>
                <a:cxn ang="0">
                  <a:pos x="823" y="622"/>
                </a:cxn>
                <a:cxn ang="0">
                  <a:pos x="868" y="618"/>
                </a:cxn>
                <a:cxn ang="0">
                  <a:pos x="919" y="663"/>
                </a:cxn>
                <a:cxn ang="0">
                  <a:pos x="919" y="718"/>
                </a:cxn>
                <a:cxn ang="0">
                  <a:pos x="960" y="755"/>
                </a:cxn>
                <a:cxn ang="0">
                  <a:pos x="955" y="823"/>
                </a:cxn>
                <a:cxn ang="0">
                  <a:pos x="905" y="855"/>
                </a:cxn>
                <a:cxn ang="0">
                  <a:pos x="763" y="864"/>
                </a:cxn>
                <a:cxn ang="0">
                  <a:pos x="718" y="796"/>
                </a:cxn>
                <a:cxn ang="0">
                  <a:pos x="686" y="732"/>
                </a:cxn>
                <a:cxn ang="0">
                  <a:pos x="567" y="736"/>
                </a:cxn>
                <a:cxn ang="0">
                  <a:pos x="498" y="755"/>
                </a:cxn>
                <a:cxn ang="0">
                  <a:pos x="494" y="791"/>
                </a:cxn>
                <a:cxn ang="0">
                  <a:pos x="544" y="828"/>
                </a:cxn>
                <a:cxn ang="0">
                  <a:pos x="603" y="878"/>
                </a:cxn>
                <a:cxn ang="0">
                  <a:pos x="612" y="919"/>
                </a:cxn>
                <a:cxn ang="0">
                  <a:pos x="590" y="951"/>
                </a:cxn>
                <a:cxn ang="0">
                  <a:pos x="526" y="965"/>
                </a:cxn>
                <a:cxn ang="0">
                  <a:pos x="512" y="1020"/>
                </a:cxn>
                <a:cxn ang="0">
                  <a:pos x="535" y="1088"/>
                </a:cxn>
                <a:cxn ang="0">
                  <a:pos x="526" y="1139"/>
                </a:cxn>
                <a:cxn ang="0">
                  <a:pos x="457" y="1134"/>
                </a:cxn>
                <a:cxn ang="0">
                  <a:pos x="434" y="1184"/>
                </a:cxn>
                <a:cxn ang="0">
                  <a:pos x="402" y="1143"/>
                </a:cxn>
                <a:cxn ang="0">
                  <a:pos x="375" y="1075"/>
                </a:cxn>
                <a:cxn ang="0">
                  <a:pos x="402" y="1024"/>
                </a:cxn>
                <a:cxn ang="0">
                  <a:pos x="443" y="997"/>
                </a:cxn>
                <a:cxn ang="0">
                  <a:pos x="462" y="906"/>
                </a:cxn>
                <a:cxn ang="0">
                  <a:pos x="416" y="919"/>
                </a:cxn>
                <a:cxn ang="0">
                  <a:pos x="366" y="915"/>
                </a:cxn>
                <a:cxn ang="0">
                  <a:pos x="315" y="883"/>
                </a:cxn>
                <a:cxn ang="0">
                  <a:pos x="274" y="860"/>
                </a:cxn>
                <a:cxn ang="0">
                  <a:pos x="210" y="864"/>
                </a:cxn>
                <a:cxn ang="0">
                  <a:pos x="137" y="842"/>
                </a:cxn>
                <a:cxn ang="0">
                  <a:pos x="87" y="823"/>
                </a:cxn>
                <a:cxn ang="0">
                  <a:pos x="0" y="736"/>
                </a:cxn>
                <a:cxn ang="0">
                  <a:pos x="41" y="590"/>
                </a:cxn>
                <a:cxn ang="0">
                  <a:pos x="46" y="512"/>
                </a:cxn>
                <a:cxn ang="0">
                  <a:pos x="55" y="403"/>
                </a:cxn>
                <a:cxn ang="0">
                  <a:pos x="55" y="288"/>
                </a:cxn>
                <a:cxn ang="0">
                  <a:pos x="142" y="211"/>
                </a:cxn>
                <a:cxn ang="0">
                  <a:pos x="215" y="119"/>
                </a:cxn>
                <a:cxn ang="0">
                  <a:pos x="288" y="10"/>
                </a:cxn>
                <a:cxn ang="0">
                  <a:pos x="324" y="19"/>
                </a:cxn>
                <a:cxn ang="0">
                  <a:pos x="370" y="51"/>
                </a:cxn>
                <a:cxn ang="0">
                  <a:pos x="434" y="74"/>
                </a:cxn>
                <a:cxn ang="0">
                  <a:pos x="480" y="46"/>
                </a:cxn>
                <a:cxn ang="0">
                  <a:pos x="471" y="110"/>
                </a:cxn>
                <a:cxn ang="0">
                  <a:pos x="489" y="188"/>
                </a:cxn>
                <a:cxn ang="0">
                  <a:pos x="480" y="330"/>
                </a:cxn>
              </a:cxnLst>
              <a:rect l="0" t="0" r="r" b="b"/>
              <a:pathLst>
                <a:path w="964" h="1184">
                  <a:moveTo>
                    <a:pt x="434" y="320"/>
                  </a:moveTo>
                  <a:lnTo>
                    <a:pt x="425" y="325"/>
                  </a:lnTo>
                  <a:lnTo>
                    <a:pt x="416" y="330"/>
                  </a:lnTo>
                  <a:lnTo>
                    <a:pt x="411" y="339"/>
                  </a:lnTo>
                  <a:lnTo>
                    <a:pt x="407" y="343"/>
                  </a:lnTo>
                  <a:lnTo>
                    <a:pt x="402" y="352"/>
                  </a:lnTo>
                  <a:lnTo>
                    <a:pt x="407" y="371"/>
                  </a:lnTo>
                  <a:lnTo>
                    <a:pt x="402" y="384"/>
                  </a:lnTo>
                  <a:lnTo>
                    <a:pt x="402" y="403"/>
                  </a:lnTo>
                  <a:lnTo>
                    <a:pt x="402" y="412"/>
                  </a:lnTo>
                  <a:lnTo>
                    <a:pt x="402" y="421"/>
                  </a:lnTo>
                  <a:lnTo>
                    <a:pt x="402" y="439"/>
                  </a:lnTo>
                  <a:lnTo>
                    <a:pt x="407" y="453"/>
                  </a:lnTo>
                  <a:lnTo>
                    <a:pt x="407" y="471"/>
                  </a:lnTo>
                  <a:lnTo>
                    <a:pt x="407" y="476"/>
                  </a:lnTo>
                  <a:lnTo>
                    <a:pt x="407" y="494"/>
                  </a:lnTo>
                  <a:lnTo>
                    <a:pt x="398" y="512"/>
                  </a:lnTo>
                  <a:lnTo>
                    <a:pt x="393" y="526"/>
                  </a:lnTo>
                  <a:lnTo>
                    <a:pt x="388" y="549"/>
                  </a:lnTo>
                  <a:lnTo>
                    <a:pt x="384" y="572"/>
                  </a:lnTo>
                  <a:lnTo>
                    <a:pt x="379" y="590"/>
                  </a:lnTo>
                  <a:lnTo>
                    <a:pt x="375" y="599"/>
                  </a:lnTo>
                  <a:lnTo>
                    <a:pt x="370" y="604"/>
                  </a:lnTo>
                  <a:lnTo>
                    <a:pt x="370" y="618"/>
                  </a:lnTo>
                  <a:lnTo>
                    <a:pt x="370" y="631"/>
                  </a:lnTo>
                  <a:lnTo>
                    <a:pt x="375" y="636"/>
                  </a:lnTo>
                  <a:lnTo>
                    <a:pt x="388" y="640"/>
                  </a:lnTo>
                  <a:lnTo>
                    <a:pt x="393" y="645"/>
                  </a:lnTo>
                  <a:lnTo>
                    <a:pt x="398" y="645"/>
                  </a:lnTo>
                  <a:lnTo>
                    <a:pt x="402" y="645"/>
                  </a:lnTo>
                  <a:lnTo>
                    <a:pt x="407" y="650"/>
                  </a:lnTo>
                  <a:lnTo>
                    <a:pt x="407" y="645"/>
                  </a:lnTo>
                  <a:lnTo>
                    <a:pt x="411" y="645"/>
                  </a:lnTo>
                  <a:lnTo>
                    <a:pt x="411" y="640"/>
                  </a:lnTo>
                  <a:lnTo>
                    <a:pt x="416" y="640"/>
                  </a:lnTo>
                  <a:lnTo>
                    <a:pt x="416" y="636"/>
                  </a:lnTo>
                  <a:lnTo>
                    <a:pt x="416" y="636"/>
                  </a:lnTo>
                  <a:lnTo>
                    <a:pt x="416" y="631"/>
                  </a:lnTo>
                  <a:lnTo>
                    <a:pt x="420" y="627"/>
                  </a:lnTo>
                  <a:lnTo>
                    <a:pt x="425" y="622"/>
                  </a:lnTo>
                  <a:lnTo>
                    <a:pt x="430" y="618"/>
                  </a:lnTo>
                  <a:lnTo>
                    <a:pt x="434" y="618"/>
                  </a:lnTo>
                  <a:lnTo>
                    <a:pt x="434" y="618"/>
                  </a:lnTo>
                  <a:lnTo>
                    <a:pt x="443" y="613"/>
                  </a:lnTo>
                  <a:lnTo>
                    <a:pt x="448" y="613"/>
                  </a:lnTo>
                  <a:lnTo>
                    <a:pt x="452" y="608"/>
                  </a:lnTo>
                  <a:lnTo>
                    <a:pt x="457" y="608"/>
                  </a:lnTo>
                  <a:lnTo>
                    <a:pt x="462" y="604"/>
                  </a:lnTo>
                  <a:lnTo>
                    <a:pt x="466" y="604"/>
                  </a:lnTo>
                  <a:lnTo>
                    <a:pt x="475" y="604"/>
                  </a:lnTo>
                  <a:lnTo>
                    <a:pt x="480" y="604"/>
                  </a:lnTo>
                  <a:lnTo>
                    <a:pt x="480" y="599"/>
                  </a:lnTo>
                  <a:lnTo>
                    <a:pt x="480" y="599"/>
                  </a:lnTo>
                  <a:lnTo>
                    <a:pt x="484" y="595"/>
                  </a:lnTo>
                  <a:lnTo>
                    <a:pt x="489" y="595"/>
                  </a:lnTo>
                  <a:lnTo>
                    <a:pt x="494" y="595"/>
                  </a:lnTo>
                  <a:lnTo>
                    <a:pt x="498" y="590"/>
                  </a:lnTo>
                  <a:lnTo>
                    <a:pt x="503" y="590"/>
                  </a:lnTo>
                  <a:lnTo>
                    <a:pt x="507" y="586"/>
                  </a:lnTo>
                  <a:lnTo>
                    <a:pt x="516" y="581"/>
                  </a:lnTo>
                  <a:lnTo>
                    <a:pt x="521" y="581"/>
                  </a:lnTo>
                  <a:lnTo>
                    <a:pt x="526" y="590"/>
                  </a:lnTo>
                  <a:lnTo>
                    <a:pt x="526" y="590"/>
                  </a:lnTo>
                  <a:lnTo>
                    <a:pt x="535" y="590"/>
                  </a:lnTo>
                  <a:lnTo>
                    <a:pt x="535" y="586"/>
                  </a:lnTo>
                  <a:lnTo>
                    <a:pt x="539" y="586"/>
                  </a:lnTo>
                  <a:lnTo>
                    <a:pt x="544" y="586"/>
                  </a:lnTo>
                  <a:lnTo>
                    <a:pt x="544" y="586"/>
                  </a:lnTo>
                  <a:lnTo>
                    <a:pt x="544" y="590"/>
                  </a:lnTo>
                  <a:lnTo>
                    <a:pt x="544" y="595"/>
                  </a:lnTo>
                  <a:lnTo>
                    <a:pt x="548" y="595"/>
                  </a:lnTo>
                  <a:lnTo>
                    <a:pt x="553" y="595"/>
                  </a:lnTo>
                  <a:lnTo>
                    <a:pt x="558" y="595"/>
                  </a:lnTo>
                  <a:lnTo>
                    <a:pt x="562" y="595"/>
                  </a:lnTo>
                  <a:lnTo>
                    <a:pt x="567" y="595"/>
                  </a:lnTo>
                  <a:lnTo>
                    <a:pt x="567" y="590"/>
                  </a:lnTo>
                  <a:lnTo>
                    <a:pt x="590" y="590"/>
                  </a:lnTo>
                  <a:lnTo>
                    <a:pt x="590" y="590"/>
                  </a:lnTo>
                  <a:lnTo>
                    <a:pt x="590" y="595"/>
                  </a:lnTo>
                  <a:lnTo>
                    <a:pt x="594" y="595"/>
                  </a:lnTo>
                  <a:lnTo>
                    <a:pt x="599" y="599"/>
                  </a:lnTo>
                  <a:lnTo>
                    <a:pt x="599" y="604"/>
                  </a:lnTo>
                  <a:lnTo>
                    <a:pt x="603" y="604"/>
                  </a:lnTo>
                  <a:lnTo>
                    <a:pt x="608" y="604"/>
                  </a:lnTo>
                  <a:lnTo>
                    <a:pt x="612" y="604"/>
                  </a:lnTo>
                  <a:lnTo>
                    <a:pt x="612" y="599"/>
                  </a:lnTo>
                  <a:lnTo>
                    <a:pt x="612" y="604"/>
                  </a:lnTo>
                  <a:lnTo>
                    <a:pt x="617" y="604"/>
                  </a:lnTo>
                  <a:lnTo>
                    <a:pt x="631" y="599"/>
                  </a:lnTo>
                  <a:lnTo>
                    <a:pt x="635" y="595"/>
                  </a:lnTo>
                  <a:lnTo>
                    <a:pt x="635" y="595"/>
                  </a:lnTo>
                  <a:lnTo>
                    <a:pt x="640" y="595"/>
                  </a:lnTo>
                  <a:lnTo>
                    <a:pt x="644" y="595"/>
                  </a:lnTo>
                  <a:lnTo>
                    <a:pt x="649" y="595"/>
                  </a:lnTo>
                  <a:lnTo>
                    <a:pt x="649" y="590"/>
                  </a:lnTo>
                  <a:lnTo>
                    <a:pt x="649" y="586"/>
                  </a:lnTo>
                  <a:lnTo>
                    <a:pt x="644" y="586"/>
                  </a:lnTo>
                  <a:lnTo>
                    <a:pt x="644" y="581"/>
                  </a:lnTo>
                  <a:lnTo>
                    <a:pt x="649" y="576"/>
                  </a:lnTo>
                  <a:lnTo>
                    <a:pt x="654" y="576"/>
                  </a:lnTo>
                  <a:lnTo>
                    <a:pt x="654" y="576"/>
                  </a:lnTo>
                  <a:lnTo>
                    <a:pt x="658" y="576"/>
                  </a:lnTo>
                  <a:lnTo>
                    <a:pt x="667" y="576"/>
                  </a:lnTo>
                  <a:lnTo>
                    <a:pt x="667" y="581"/>
                  </a:lnTo>
                  <a:lnTo>
                    <a:pt x="672" y="581"/>
                  </a:lnTo>
                  <a:lnTo>
                    <a:pt x="676" y="586"/>
                  </a:lnTo>
                  <a:lnTo>
                    <a:pt x="676" y="586"/>
                  </a:lnTo>
                  <a:lnTo>
                    <a:pt x="681" y="581"/>
                  </a:lnTo>
                  <a:lnTo>
                    <a:pt x="686" y="581"/>
                  </a:lnTo>
                  <a:lnTo>
                    <a:pt x="690" y="576"/>
                  </a:lnTo>
                  <a:lnTo>
                    <a:pt x="699" y="576"/>
                  </a:lnTo>
                  <a:lnTo>
                    <a:pt x="699" y="576"/>
                  </a:lnTo>
                  <a:lnTo>
                    <a:pt x="704" y="576"/>
                  </a:lnTo>
                  <a:lnTo>
                    <a:pt x="704" y="581"/>
                  </a:lnTo>
                  <a:lnTo>
                    <a:pt x="708" y="581"/>
                  </a:lnTo>
                  <a:lnTo>
                    <a:pt x="713" y="590"/>
                  </a:lnTo>
                  <a:lnTo>
                    <a:pt x="718" y="595"/>
                  </a:lnTo>
                  <a:lnTo>
                    <a:pt x="718" y="595"/>
                  </a:lnTo>
                  <a:lnTo>
                    <a:pt x="718" y="599"/>
                  </a:lnTo>
                  <a:lnTo>
                    <a:pt x="722" y="604"/>
                  </a:lnTo>
                  <a:lnTo>
                    <a:pt x="722" y="608"/>
                  </a:lnTo>
                  <a:lnTo>
                    <a:pt x="727" y="613"/>
                  </a:lnTo>
                  <a:lnTo>
                    <a:pt x="727" y="608"/>
                  </a:lnTo>
                  <a:lnTo>
                    <a:pt x="731" y="604"/>
                  </a:lnTo>
                  <a:lnTo>
                    <a:pt x="736" y="604"/>
                  </a:lnTo>
                  <a:lnTo>
                    <a:pt x="740" y="604"/>
                  </a:lnTo>
                  <a:lnTo>
                    <a:pt x="745" y="604"/>
                  </a:lnTo>
                  <a:lnTo>
                    <a:pt x="745" y="608"/>
                  </a:lnTo>
                  <a:lnTo>
                    <a:pt x="750" y="608"/>
                  </a:lnTo>
                  <a:lnTo>
                    <a:pt x="750" y="613"/>
                  </a:lnTo>
                  <a:lnTo>
                    <a:pt x="754" y="613"/>
                  </a:lnTo>
                  <a:lnTo>
                    <a:pt x="759" y="618"/>
                  </a:lnTo>
                  <a:lnTo>
                    <a:pt x="763" y="618"/>
                  </a:lnTo>
                  <a:lnTo>
                    <a:pt x="763" y="622"/>
                  </a:lnTo>
                  <a:lnTo>
                    <a:pt x="763" y="622"/>
                  </a:lnTo>
                  <a:lnTo>
                    <a:pt x="763" y="627"/>
                  </a:lnTo>
                  <a:lnTo>
                    <a:pt x="768" y="627"/>
                  </a:lnTo>
                  <a:lnTo>
                    <a:pt x="768" y="631"/>
                  </a:lnTo>
                  <a:lnTo>
                    <a:pt x="772" y="631"/>
                  </a:lnTo>
                  <a:lnTo>
                    <a:pt x="777" y="627"/>
                  </a:lnTo>
                  <a:lnTo>
                    <a:pt x="782" y="627"/>
                  </a:lnTo>
                  <a:lnTo>
                    <a:pt x="782" y="622"/>
                  </a:lnTo>
                  <a:lnTo>
                    <a:pt x="786" y="622"/>
                  </a:lnTo>
                  <a:lnTo>
                    <a:pt x="791" y="622"/>
                  </a:lnTo>
                  <a:lnTo>
                    <a:pt x="795" y="618"/>
                  </a:lnTo>
                  <a:lnTo>
                    <a:pt x="800" y="618"/>
                  </a:lnTo>
                  <a:lnTo>
                    <a:pt x="804" y="618"/>
                  </a:lnTo>
                  <a:lnTo>
                    <a:pt x="804" y="622"/>
                  </a:lnTo>
                  <a:lnTo>
                    <a:pt x="809" y="622"/>
                  </a:lnTo>
                  <a:lnTo>
                    <a:pt x="809" y="618"/>
                  </a:lnTo>
                  <a:lnTo>
                    <a:pt x="809" y="618"/>
                  </a:lnTo>
                  <a:lnTo>
                    <a:pt x="814" y="618"/>
                  </a:lnTo>
                  <a:lnTo>
                    <a:pt x="818" y="622"/>
                  </a:lnTo>
                  <a:lnTo>
                    <a:pt x="823" y="622"/>
                  </a:lnTo>
                  <a:lnTo>
                    <a:pt x="827" y="622"/>
                  </a:lnTo>
                  <a:lnTo>
                    <a:pt x="832" y="622"/>
                  </a:lnTo>
                  <a:lnTo>
                    <a:pt x="832" y="618"/>
                  </a:lnTo>
                  <a:lnTo>
                    <a:pt x="836" y="622"/>
                  </a:lnTo>
                  <a:lnTo>
                    <a:pt x="841" y="622"/>
                  </a:lnTo>
                  <a:lnTo>
                    <a:pt x="846" y="622"/>
                  </a:lnTo>
                  <a:lnTo>
                    <a:pt x="846" y="618"/>
                  </a:lnTo>
                  <a:lnTo>
                    <a:pt x="850" y="618"/>
                  </a:lnTo>
                  <a:lnTo>
                    <a:pt x="855" y="618"/>
                  </a:lnTo>
                  <a:lnTo>
                    <a:pt x="855" y="613"/>
                  </a:lnTo>
                  <a:lnTo>
                    <a:pt x="855" y="613"/>
                  </a:lnTo>
                  <a:lnTo>
                    <a:pt x="859" y="613"/>
                  </a:lnTo>
                  <a:lnTo>
                    <a:pt x="864" y="618"/>
                  </a:lnTo>
                  <a:lnTo>
                    <a:pt x="868" y="618"/>
                  </a:lnTo>
                  <a:lnTo>
                    <a:pt x="873" y="618"/>
                  </a:lnTo>
                  <a:lnTo>
                    <a:pt x="873" y="618"/>
                  </a:lnTo>
                  <a:lnTo>
                    <a:pt x="878" y="618"/>
                  </a:lnTo>
                  <a:lnTo>
                    <a:pt x="882" y="618"/>
                  </a:lnTo>
                  <a:lnTo>
                    <a:pt x="887" y="618"/>
                  </a:lnTo>
                  <a:lnTo>
                    <a:pt x="891" y="622"/>
                  </a:lnTo>
                  <a:lnTo>
                    <a:pt x="896" y="622"/>
                  </a:lnTo>
                  <a:lnTo>
                    <a:pt x="896" y="627"/>
                  </a:lnTo>
                  <a:lnTo>
                    <a:pt x="900" y="627"/>
                  </a:lnTo>
                  <a:lnTo>
                    <a:pt x="900" y="631"/>
                  </a:lnTo>
                  <a:lnTo>
                    <a:pt x="905" y="636"/>
                  </a:lnTo>
                  <a:lnTo>
                    <a:pt x="910" y="636"/>
                  </a:lnTo>
                  <a:lnTo>
                    <a:pt x="914" y="640"/>
                  </a:lnTo>
                  <a:lnTo>
                    <a:pt x="919" y="663"/>
                  </a:lnTo>
                  <a:lnTo>
                    <a:pt x="919" y="672"/>
                  </a:lnTo>
                  <a:lnTo>
                    <a:pt x="914" y="682"/>
                  </a:lnTo>
                  <a:lnTo>
                    <a:pt x="914" y="686"/>
                  </a:lnTo>
                  <a:lnTo>
                    <a:pt x="905" y="695"/>
                  </a:lnTo>
                  <a:lnTo>
                    <a:pt x="905" y="700"/>
                  </a:lnTo>
                  <a:lnTo>
                    <a:pt x="905" y="704"/>
                  </a:lnTo>
                  <a:lnTo>
                    <a:pt x="900" y="704"/>
                  </a:lnTo>
                  <a:lnTo>
                    <a:pt x="900" y="704"/>
                  </a:lnTo>
                  <a:lnTo>
                    <a:pt x="905" y="704"/>
                  </a:lnTo>
                  <a:lnTo>
                    <a:pt x="905" y="709"/>
                  </a:lnTo>
                  <a:lnTo>
                    <a:pt x="910" y="709"/>
                  </a:lnTo>
                  <a:lnTo>
                    <a:pt x="914" y="714"/>
                  </a:lnTo>
                  <a:lnTo>
                    <a:pt x="919" y="714"/>
                  </a:lnTo>
                  <a:lnTo>
                    <a:pt x="919" y="718"/>
                  </a:lnTo>
                  <a:lnTo>
                    <a:pt x="923" y="718"/>
                  </a:lnTo>
                  <a:lnTo>
                    <a:pt x="928" y="718"/>
                  </a:lnTo>
                  <a:lnTo>
                    <a:pt x="937" y="723"/>
                  </a:lnTo>
                  <a:lnTo>
                    <a:pt x="942" y="727"/>
                  </a:lnTo>
                  <a:lnTo>
                    <a:pt x="942" y="727"/>
                  </a:lnTo>
                  <a:lnTo>
                    <a:pt x="942" y="727"/>
                  </a:lnTo>
                  <a:lnTo>
                    <a:pt x="946" y="727"/>
                  </a:lnTo>
                  <a:lnTo>
                    <a:pt x="946" y="732"/>
                  </a:lnTo>
                  <a:lnTo>
                    <a:pt x="951" y="736"/>
                  </a:lnTo>
                  <a:lnTo>
                    <a:pt x="951" y="741"/>
                  </a:lnTo>
                  <a:lnTo>
                    <a:pt x="951" y="746"/>
                  </a:lnTo>
                  <a:lnTo>
                    <a:pt x="955" y="746"/>
                  </a:lnTo>
                  <a:lnTo>
                    <a:pt x="955" y="750"/>
                  </a:lnTo>
                  <a:lnTo>
                    <a:pt x="960" y="755"/>
                  </a:lnTo>
                  <a:lnTo>
                    <a:pt x="960" y="759"/>
                  </a:lnTo>
                  <a:lnTo>
                    <a:pt x="964" y="768"/>
                  </a:lnTo>
                  <a:lnTo>
                    <a:pt x="964" y="773"/>
                  </a:lnTo>
                  <a:lnTo>
                    <a:pt x="964" y="778"/>
                  </a:lnTo>
                  <a:lnTo>
                    <a:pt x="964" y="787"/>
                  </a:lnTo>
                  <a:lnTo>
                    <a:pt x="964" y="791"/>
                  </a:lnTo>
                  <a:lnTo>
                    <a:pt x="960" y="800"/>
                  </a:lnTo>
                  <a:lnTo>
                    <a:pt x="960" y="805"/>
                  </a:lnTo>
                  <a:lnTo>
                    <a:pt x="960" y="810"/>
                  </a:lnTo>
                  <a:lnTo>
                    <a:pt x="964" y="814"/>
                  </a:lnTo>
                  <a:lnTo>
                    <a:pt x="964" y="823"/>
                  </a:lnTo>
                  <a:lnTo>
                    <a:pt x="964" y="823"/>
                  </a:lnTo>
                  <a:lnTo>
                    <a:pt x="960" y="823"/>
                  </a:lnTo>
                  <a:lnTo>
                    <a:pt x="955" y="823"/>
                  </a:lnTo>
                  <a:lnTo>
                    <a:pt x="955" y="828"/>
                  </a:lnTo>
                  <a:lnTo>
                    <a:pt x="946" y="832"/>
                  </a:lnTo>
                  <a:lnTo>
                    <a:pt x="942" y="837"/>
                  </a:lnTo>
                  <a:lnTo>
                    <a:pt x="942" y="837"/>
                  </a:lnTo>
                  <a:lnTo>
                    <a:pt x="937" y="842"/>
                  </a:lnTo>
                  <a:lnTo>
                    <a:pt x="932" y="842"/>
                  </a:lnTo>
                  <a:lnTo>
                    <a:pt x="932" y="846"/>
                  </a:lnTo>
                  <a:lnTo>
                    <a:pt x="928" y="846"/>
                  </a:lnTo>
                  <a:lnTo>
                    <a:pt x="923" y="851"/>
                  </a:lnTo>
                  <a:lnTo>
                    <a:pt x="919" y="851"/>
                  </a:lnTo>
                  <a:lnTo>
                    <a:pt x="919" y="855"/>
                  </a:lnTo>
                  <a:lnTo>
                    <a:pt x="914" y="855"/>
                  </a:lnTo>
                  <a:lnTo>
                    <a:pt x="910" y="855"/>
                  </a:lnTo>
                  <a:lnTo>
                    <a:pt x="905" y="855"/>
                  </a:lnTo>
                  <a:lnTo>
                    <a:pt x="900" y="855"/>
                  </a:lnTo>
                  <a:lnTo>
                    <a:pt x="882" y="864"/>
                  </a:lnTo>
                  <a:lnTo>
                    <a:pt x="864" y="869"/>
                  </a:lnTo>
                  <a:lnTo>
                    <a:pt x="855" y="869"/>
                  </a:lnTo>
                  <a:lnTo>
                    <a:pt x="850" y="869"/>
                  </a:lnTo>
                  <a:lnTo>
                    <a:pt x="841" y="869"/>
                  </a:lnTo>
                  <a:lnTo>
                    <a:pt x="823" y="869"/>
                  </a:lnTo>
                  <a:lnTo>
                    <a:pt x="804" y="869"/>
                  </a:lnTo>
                  <a:lnTo>
                    <a:pt x="791" y="869"/>
                  </a:lnTo>
                  <a:lnTo>
                    <a:pt x="782" y="869"/>
                  </a:lnTo>
                  <a:lnTo>
                    <a:pt x="777" y="869"/>
                  </a:lnTo>
                  <a:lnTo>
                    <a:pt x="768" y="864"/>
                  </a:lnTo>
                  <a:lnTo>
                    <a:pt x="763" y="864"/>
                  </a:lnTo>
                  <a:lnTo>
                    <a:pt x="763" y="864"/>
                  </a:lnTo>
                  <a:lnTo>
                    <a:pt x="763" y="860"/>
                  </a:lnTo>
                  <a:lnTo>
                    <a:pt x="754" y="860"/>
                  </a:lnTo>
                  <a:lnTo>
                    <a:pt x="754" y="855"/>
                  </a:lnTo>
                  <a:lnTo>
                    <a:pt x="750" y="855"/>
                  </a:lnTo>
                  <a:lnTo>
                    <a:pt x="745" y="855"/>
                  </a:lnTo>
                  <a:lnTo>
                    <a:pt x="740" y="855"/>
                  </a:lnTo>
                  <a:lnTo>
                    <a:pt x="736" y="851"/>
                  </a:lnTo>
                  <a:lnTo>
                    <a:pt x="727" y="842"/>
                  </a:lnTo>
                  <a:lnTo>
                    <a:pt x="727" y="837"/>
                  </a:lnTo>
                  <a:lnTo>
                    <a:pt x="722" y="832"/>
                  </a:lnTo>
                  <a:lnTo>
                    <a:pt x="722" y="828"/>
                  </a:lnTo>
                  <a:lnTo>
                    <a:pt x="722" y="823"/>
                  </a:lnTo>
                  <a:lnTo>
                    <a:pt x="718" y="810"/>
                  </a:lnTo>
                  <a:lnTo>
                    <a:pt x="718" y="796"/>
                  </a:lnTo>
                  <a:lnTo>
                    <a:pt x="713" y="791"/>
                  </a:lnTo>
                  <a:lnTo>
                    <a:pt x="713" y="782"/>
                  </a:lnTo>
                  <a:lnTo>
                    <a:pt x="708" y="778"/>
                  </a:lnTo>
                  <a:lnTo>
                    <a:pt x="708" y="768"/>
                  </a:lnTo>
                  <a:lnTo>
                    <a:pt x="708" y="768"/>
                  </a:lnTo>
                  <a:lnTo>
                    <a:pt x="704" y="764"/>
                  </a:lnTo>
                  <a:lnTo>
                    <a:pt x="704" y="759"/>
                  </a:lnTo>
                  <a:lnTo>
                    <a:pt x="704" y="755"/>
                  </a:lnTo>
                  <a:lnTo>
                    <a:pt x="699" y="746"/>
                  </a:lnTo>
                  <a:lnTo>
                    <a:pt x="699" y="746"/>
                  </a:lnTo>
                  <a:lnTo>
                    <a:pt x="699" y="741"/>
                  </a:lnTo>
                  <a:lnTo>
                    <a:pt x="695" y="741"/>
                  </a:lnTo>
                  <a:lnTo>
                    <a:pt x="695" y="736"/>
                  </a:lnTo>
                  <a:lnTo>
                    <a:pt x="686" y="732"/>
                  </a:lnTo>
                  <a:lnTo>
                    <a:pt x="681" y="732"/>
                  </a:lnTo>
                  <a:lnTo>
                    <a:pt x="676" y="727"/>
                  </a:lnTo>
                  <a:lnTo>
                    <a:pt x="676" y="727"/>
                  </a:lnTo>
                  <a:lnTo>
                    <a:pt x="672" y="727"/>
                  </a:lnTo>
                  <a:lnTo>
                    <a:pt x="658" y="727"/>
                  </a:lnTo>
                  <a:lnTo>
                    <a:pt x="654" y="727"/>
                  </a:lnTo>
                  <a:lnTo>
                    <a:pt x="649" y="727"/>
                  </a:lnTo>
                  <a:lnTo>
                    <a:pt x="640" y="727"/>
                  </a:lnTo>
                  <a:lnTo>
                    <a:pt x="626" y="727"/>
                  </a:lnTo>
                  <a:lnTo>
                    <a:pt x="608" y="727"/>
                  </a:lnTo>
                  <a:lnTo>
                    <a:pt x="594" y="727"/>
                  </a:lnTo>
                  <a:lnTo>
                    <a:pt x="590" y="732"/>
                  </a:lnTo>
                  <a:lnTo>
                    <a:pt x="576" y="732"/>
                  </a:lnTo>
                  <a:lnTo>
                    <a:pt x="567" y="736"/>
                  </a:lnTo>
                  <a:lnTo>
                    <a:pt x="544" y="741"/>
                  </a:lnTo>
                  <a:lnTo>
                    <a:pt x="539" y="741"/>
                  </a:lnTo>
                  <a:lnTo>
                    <a:pt x="526" y="741"/>
                  </a:lnTo>
                  <a:lnTo>
                    <a:pt x="526" y="746"/>
                  </a:lnTo>
                  <a:lnTo>
                    <a:pt x="526" y="746"/>
                  </a:lnTo>
                  <a:lnTo>
                    <a:pt x="521" y="746"/>
                  </a:lnTo>
                  <a:lnTo>
                    <a:pt x="516" y="746"/>
                  </a:lnTo>
                  <a:lnTo>
                    <a:pt x="512" y="746"/>
                  </a:lnTo>
                  <a:lnTo>
                    <a:pt x="507" y="746"/>
                  </a:lnTo>
                  <a:lnTo>
                    <a:pt x="503" y="746"/>
                  </a:lnTo>
                  <a:lnTo>
                    <a:pt x="503" y="750"/>
                  </a:lnTo>
                  <a:lnTo>
                    <a:pt x="503" y="750"/>
                  </a:lnTo>
                  <a:lnTo>
                    <a:pt x="503" y="755"/>
                  </a:lnTo>
                  <a:lnTo>
                    <a:pt x="498" y="755"/>
                  </a:lnTo>
                  <a:lnTo>
                    <a:pt x="494" y="755"/>
                  </a:lnTo>
                  <a:lnTo>
                    <a:pt x="489" y="759"/>
                  </a:lnTo>
                  <a:lnTo>
                    <a:pt x="480" y="764"/>
                  </a:lnTo>
                  <a:lnTo>
                    <a:pt x="480" y="764"/>
                  </a:lnTo>
                  <a:lnTo>
                    <a:pt x="475" y="768"/>
                  </a:lnTo>
                  <a:lnTo>
                    <a:pt x="475" y="768"/>
                  </a:lnTo>
                  <a:lnTo>
                    <a:pt x="475" y="773"/>
                  </a:lnTo>
                  <a:lnTo>
                    <a:pt x="475" y="778"/>
                  </a:lnTo>
                  <a:lnTo>
                    <a:pt x="480" y="782"/>
                  </a:lnTo>
                  <a:lnTo>
                    <a:pt x="480" y="782"/>
                  </a:lnTo>
                  <a:lnTo>
                    <a:pt x="480" y="782"/>
                  </a:lnTo>
                  <a:lnTo>
                    <a:pt x="480" y="787"/>
                  </a:lnTo>
                  <a:lnTo>
                    <a:pt x="484" y="787"/>
                  </a:lnTo>
                  <a:lnTo>
                    <a:pt x="494" y="791"/>
                  </a:lnTo>
                  <a:lnTo>
                    <a:pt x="498" y="791"/>
                  </a:lnTo>
                  <a:lnTo>
                    <a:pt x="503" y="796"/>
                  </a:lnTo>
                  <a:lnTo>
                    <a:pt x="503" y="796"/>
                  </a:lnTo>
                  <a:lnTo>
                    <a:pt x="512" y="805"/>
                  </a:lnTo>
                  <a:lnTo>
                    <a:pt x="516" y="805"/>
                  </a:lnTo>
                  <a:lnTo>
                    <a:pt x="521" y="810"/>
                  </a:lnTo>
                  <a:lnTo>
                    <a:pt x="526" y="810"/>
                  </a:lnTo>
                  <a:lnTo>
                    <a:pt x="526" y="814"/>
                  </a:lnTo>
                  <a:lnTo>
                    <a:pt x="530" y="814"/>
                  </a:lnTo>
                  <a:lnTo>
                    <a:pt x="535" y="814"/>
                  </a:lnTo>
                  <a:lnTo>
                    <a:pt x="539" y="819"/>
                  </a:lnTo>
                  <a:lnTo>
                    <a:pt x="544" y="823"/>
                  </a:lnTo>
                  <a:lnTo>
                    <a:pt x="544" y="823"/>
                  </a:lnTo>
                  <a:lnTo>
                    <a:pt x="544" y="828"/>
                  </a:lnTo>
                  <a:lnTo>
                    <a:pt x="548" y="828"/>
                  </a:lnTo>
                  <a:lnTo>
                    <a:pt x="558" y="828"/>
                  </a:lnTo>
                  <a:lnTo>
                    <a:pt x="567" y="828"/>
                  </a:lnTo>
                  <a:lnTo>
                    <a:pt x="580" y="832"/>
                  </a:lnTo>
                  <a:lnTo>
                    <a:pt x="585" y="832"/>
                  </a:lnTo>
                  <a:lnTo>
                    <a:pt x="585" y="837"/>
                  </a:lnTo>
                  <a:lnTo>
                    <a:pt x="590" y="837"/>
                  </a:lnTo>
                  <a:lnTo>
                    <a:pt x="590" y="837"/>
                  </a:lnTo>
                  <a:lnTo>
                    <a:pt x="590" y="837"/>
                  </a:lnTo>
                  <a:lnTo>
                    <a:pt x="594" y="842"/>
                  </a:lnTo>
                  <a:lnTo>
                    <a:pt x="594" y="846"/>
                  </a:lnTo>
                  <a:lnTo>
                    <a:pt x="599" y="860"/>
                  </a:lnTo>
                  <a:lnTo>
                    <a:pt x="603" y="869"/>
                  </a:lnTo>
                  <a:lnTo>
                    <a:pt x="603" y="878"/>
                  </a:lnTo>
                  <a:lnTo>
                    <a:pt x="603" y="883"/>
                  </a:lnTo>
                  <a:lnTo>
                    <a:pt x="599" y="887"/>
                  </a:lnTo>
                  <a:lnTo>
                    <a:pt x="599" y="892"/>
                  </a:lnTo>
                  <a:lnTo>
                    <a:pt x="594" y="901"/>
                  </a:lnTo>
                  <a:lnTo>
                    <a:pt x="590" y="901"/>
                  </a:lnTo>
                  <a:lnTo>
                    <a:pt x="590" y="901"/>
                  </a:lnTo>
                  <a:lnTo>
                    <a:pt x="590" y="901"/>
                  </a:lnTo>
                  <a:lnTo>
                    <a:pt x="590" y="906"/>
                  </a:lnTo>
                  <a:lnTo>
                    <a:pt x="590" y="910"/>
                  </a:lnTo>
                  <a:lnTo>
                    <a:pt x="594" y="915"/>
                  </a:lnTo>
                  <a:lnTo>
                    <a:pt x="599" y="915"/>
                  </a:lnTo>
                  <a:lnTo>
                    <a:pt x="603" y="915"/>
                  </a:lnTo>
                  <a:lnTo>
                    <a:pt x="603" y="919"/>
                  </a:lnTo>
                  <a:lnTo>
                    <a:pt x="612" y="919"/>
                  </a:lnTo>
                  <a:lnTo>
                    <a:pt x="612" y="919"/>
                  </a:lnTo>
                  <a:lnTo>
                    <a:pt x="612" y="924"/>
                  </a:lnTo>
                  <a:lnTo>
                    <a:pt x="617" y="924"/>
                  </a:lnTo>
                  <a:lnTo>
                    <a:pt x="622" y="924"/>
                  </a:lnTo>
                  <a:lnTo>
                    <a:pt x="622" y="928"/>
                  </a:lnTo>
                  <a:lnTo>
                    <a:pt x="622" y="933"/>
                  </a:lnTo>
                  <a:lnTo>
                    <a:pt x="622" y="938"/>
                  </a:lnTo>
                  <a:lnTo>
                    <a:pt x="617" y="942"/>
                  </a:lnTo>
                  <a:lnTo>
                    <a:pt x="612" y="942"/>
                  </a:lnTo>
                  <a:lnTo>
                    <a:pt x="612" y="947"/>
                  </a:lnTo>
                  <a:lnTo>
                    <a:pt x="608" y="947"/>
                  </a:lnTo>
                  <a:lnTo>
                    <a:pt x="603" y="947"/>
                  </a:lnTo>
                  <a:lnTo>
                    <a:pt x="594" y="947"/>
                  </a:lnTo>
                  <a:lnTo>
                    <a:pt x="590" y="951"/>
                  </a:lnTo>
                  <a:lnTo>
                    <a:pt x="590" y="951"/>
                  </a:lnTo>
                  <a:lnTo>
                    <a:pt x="585" y="951"/>
                  </a:lnTo>
                  <a:lnTo>
                    <a:pt x="580" y="956"/>
                  </a:lnTo>
                  <a:lnTo>
                    <a:pt x="576" y="956"/>
                  </a:lnTo>
                  <a:lnTo>
                    <a:pt x="571" y="960"/>
                  </a:lnTo>
                  <a:lnTo>
                    <a:pt x="567" y="960"/>
                  </a:lnTo>
                  <a:lnTo>
                    <a:pt x="567" y="965"/>
                  </a:lnTo>
                  <a:lnTo>
                    <a:pt x="558" y="965"/>
                  </a:lnTo>
                  <a:lnTo>
                    <a:pt x="553" y="965"/>
                  </a:lnTo>
                  <a:lnTo>
                    <a:pt x="544" y="965"/>
                  </a:lnTo>
                  <a:lnTo>
                    <a:pt x="544" y="965"/>
                  </a:lnTo>
                  <a:lnTo>
                    <a:pt x="535" y="965"/>
                  </a:lnTo>
                  <a:lnTo>
                    <a:pt x="530" y="965"/>
                  </a:lnTo>
                  <a:lnTo>
                    <a:pt x="526" y="965"/>
                  </a:lnTo>
                  <a:lnTo>
                    <a:pt x="526" y="965"/>
                  </a:lnTo>
                  <a:lnTo>
                    <a:pt x="521" y="960"/>
                  </a:lnTo>
                  <a:lnTo>
                    <a:pt x="512" y="960"/>
                  </a:lnTo>
                  <a:lnTo>
                    <a:pt x="507" y="956"/>
                  </a:lnTo>
                  <a:lnTo>
                    <a:pt x="503" y="956"/>
                  </a:lnTo>
                  <a:lnTo>
                    <a:pt x="503" y="960"/>
                  </a:lnTo>
                  <a:lnTo>
                    <a:pt x="503" y="960"/>
                  </a:lnTo>
                  <a:lnTo>
                    <a:pt x="503" y="965"/>
                  </a:lnTo>
                  <a:lnTo>
                    <a:pt x="503" y="970"/>
                  </a:lnTo>
                  <a:lnTo>
                    <a:pt x="503" y="988"/>
                  </a:lnTo>
                  <a:lnTo>
                    <a:pt x="507" y="997"/>
                  </a:lnTo>
                  <a:lnTo>
                    <a:pt x="512" y="1002"/>
                  </a:lnTo>
                  <a:lnTo>
                    <a:pt x="512" y="1011"/>
                  </a:lnTo>
                  <a:lnTo>
                    <a:pt x="512" y="1020"/>
                  </a:lnTo>
                  <a:lnTo>
                    <a:pt x="512" y="1034"/>
                  </a:lnTo>
                  <a:lnTo>
                    <a:pt x="512" y="1047"/>
                  </a:lnTo>
                  <a:lnTo>
                    <a:pt x="512" y="1052"/>
                  </a:lnTo>
                  <a:lnTo>
                    <a:pt x="512" y="1056"/>
                  </a:lnTo>
                  <a:lnTo>
                    <a:pt x="512" y="1056"/>
                  </a:lnTo>
                  <a:lnTo>
                    <a:pt x="512" y="1061"/>
                  </a:lnTo>
                  <a:lnTo>
                    <a:pt x="521" y="1066"/>
                  </a:lnTo>
                  <a:lnTo>
                    <a:pt x="526" y="1066"/>
                  </a:lnTo>
                  <a:lnTo>
                    <a:pt x="526" y="1070"/>
                  </a:lnTo>
                  <a:lnTo>
                    <a:pt x="530" y="1070"/>
                  </a:lnTo>
                  <a:lnTo>
                    <a:pt x="530" y="1075"/>
                  </a:lnTo>
                  <a:lnTo>
                    <a:pt x="530" y="1075"/>
                  </a:lnTo>
                  <a:lnTo>
                    <a:pt x="535" y="1075"/>
                  </a:lnTo>
                  <a:lnTo>
                    <a:pt x="535" y="1088"/>
                  </a:lnTo>
                  <a:lnTo>
                    <a:pt x="539" y="1093"/>
                  </a:lnTo>
                  <a:lnTo>
                    <a:pt x="544" y="1098"/>
                  </a:lnTo>
                  <a:lnTo>
                    <a:pt x="544" y="1098"/>
                  </a:lnTo>
                  <a:lnTo>
                    <a:pt x="544" y="1102"/>
                  </a:lnTo>
                  <a:lnTo>
                    <a:pt x="544" y="1107"/>
                  </a:lnTo>
                  <a:lnTo>
                    <a:pt x="544" y="1111"/>
                  </a:lnTo>
                  <a:lnTo>
                    <a:pt x="544" y="1116"/>
                  </a:lnTo>
                  <a:lnTo>
                    <a:pt x="544" y="1120"/>
                  </a:lnTo>
                  <a:lnTo>
                    <a:pt x="544" y="1120"/>
                  </a:lnTo>
                  <a:lnTo>
                    <a:pt x="544" y="1125"/>
                  </a:lnTo>
                  <a:lnTo>
                    <a:pt x="539" y="1130"/>
                  </a:lnTo>
                  <a:lnTo>
                    <a:pt x="535" y="1130"/>
                  </a:lnTo>
                  <a:lnTo>
                    <a:pt x="530" y="1134"/>
                  </a:lnTo>
                  <a:lnTo>
                    <a:pt x="526" y="1139"/>
                  </a:lnTo>
                  <a:lnTo>
                    <a:pt x="526" y="1139"/>
                  </a:lnTo>
                  <a:lnTo>
                    <a:pt x="521" y="1139"/>
                  </a:lnTo>
                  <a:lnTo>
                    <a:pt x="516" y="1139"/>
                  </a:lnTo>
                  <a:lnTo>
                    <a:pt x="512" y="1139"/>
                  </a:lnTo>
                  <a:lnTo>
                    <a:pt x="507" y="1139"/>
                  </a:lnTo>
                  <a:lnTo>
                    <a:pt x="503" y="1139"/>
                  </a:lnTo>
                  <a:lnTo>
                    <a:pt x="498" y="1139"/>
                  </a:lnTo>
                  <a:lnTo>
                    <a:pt x="489" y="1134"/>
                  </a:lnTo>
                  <a:lnTo>
                    <a:pt x="475" y="1130"/>
                  </a:lnTo>
                  <a:lnTo>
                    <a:pt x="471" y="1130"/>
                  </a:lnTo>
                  <a:lnTo>
                    <a:pt x="466" y="1130"/>
                  </a:lnTo>
                  <a:lnTo>
                    <a:pt x="462" y="1130"/>
                  </a:lnTo>
                  <a:lnTo>
                    <a:pt x="457" y="1130"/>
                  </a:lnTo>
                  <a:lnTo>
                    <a:pt x="457" y="1134"/>
                  </a:lnTo>
                  <a:lnTo>
                    <a:pt x="457" y="1134"/>
                  </a:lnTo>
                  <a:lnTo>
                    <a:pt x="457" y="1139"/>
                  </a:lnTo>
                  <a:lnTo>
                    <a:pt x="457" y="1143"/>
                  </a:lnTo>
                  <a:lnTo>
                    <a:pt x="452" y="1143"/>
                  </a:lnTo>
                  <a:lnTo>
                    <a:pt x="452" y="1143"/>
                  </a:lnTo>
                  <a:lnTo>
                    <a:pt x="452" y="1148"/>
                  </a:lnTo>
                  <a:lnTo>
                    <a:pt x="452" y="1157"/>
                  </a:lnTo>
                  <a:lnTo>
                    <a:pt x="452" y="1166"/>
                  </a:lnTo>
                  <a:lnTo>
                    <a:pt x="452" y="1175"/>
                  </a:lnTo>
                  <a:lnTo>
                    <a:pt x="452" y="1180"/>
                  </a:lnTo>
                  <a:lnTo>
                    <a:pt x="448" y="1180"/>
                  </a:lnTo>
                  <a:lnTo>
                    <a:pt x="443" y="1184"/>
                  </a:lnTo>
                  <a:lnTo>
                    <a:pt x="443" y="1184"/>
                  </a:lnTo>
                  <a:lnTo>
                    <a:pt x="434" y="1184"/>
                  </a:lnTo>
                  <a:lnTo>
                    <a:pt x="430" y="1184"/>
                  </a:lnTo>
                  <a:lnTo>
                    <a:pt x="425" y="1184"/>
                  </a:lnTo>
                  <a:lnTo>
                    <a:pt x="420" y="1184"/>
                  </a:lnTo>
                  <a:lnTo>
                    <a:pt x="416" y="1184"/>
                  </a:lnTo>
                  <a:lnTo>
                    <a:pt x="407" y="1180"/>
                  </a:lnTo>
                  <a:lnTo>
                    <a:pt x="402" y="1175"/>
                  </a:lnTo>
                  <a:lnTo>
                    <a:pt x="402" y="1171"/>
                  </a:lnTo>
                  <a:lnTo>
                    <a:pt x="402" y="1166"/>
                  </a:lnTo>
                  <a:lnTo>
                    <a:pt x="407" y="1166"/>
                  </a:lnTo>
                  <a:lnTo>
                    <a:pt x="407" y="1162"/>
                  </a:lnTo>
                  <a:lnTo>
                    <a:pt x="407" y="1157"/>
                  </a:lnTo>
                  <a:lnTo>
                    <a:pt x="407" y="1152"/>
                  </a:lnTo>
                  <a:lnTo>
                    <a:pt x="407" y="1148"/>
                  </a:lnTo>
                  <a:lnTo>
                    <a:pt x="402" y="1143"/>
                  </a:lnTo>
                  <a:lnTo>
                    <a:pt x="398" y="1139"/>
                  </a:lnTo>
                  <a:lnTo>
                    <a:pt x="393" y="1134"/>
                  </a:lnTo>
                  <a:lnTo>
                    <a:pt x="393" y="1130"/>
                  </a:lnTo>
                  <a:lnTo>
                    <a:pt x="388" y="1125"/>
                  </a:lnTo>
                  <a:lnTo>
                    <a:pt x="384" y="1120"/>
                  </a:lnTo>
                  <a:lnTo>
                    <a:pt x="384" y="1120"/>
                  </a:lnTo>
                  <a:lnTo>
                    <a:pt x="379" y="1120"/>
                  </a:lnTo>
                  <a:lnTo>
                    <a:pt x="379" y="1116"/>
                  </a:lnTo>
                  <a:lnTo>
                    <a:pt x="379" y="1107"/>
                  </a:lnTo>
                  <a:lnTo>
                    <a:pt x="375" y="1102"/>
                  </a:lnTo>
                  <a:lnTo>
                    <a:pt x="375" y="1098"/>
                  </a:lnTo>
                  <a:lnTo>
                    <a:pt x="375" y="1098"/>
                  </a:lnTo>
                  <a:lnTo>
                    <a:pt x="375" y="1088"/>
                  </a:lnTo>
                  <a:lnTo>
                    <a:pt x="375" y="1075"/>
                  </a:lnTo>
                  <a:lnTo>
                    <a:pt x="375" y="1075"/>
                  </a:lnTo>
                  <a:lnTo>
                    <a:pt x="379" y="1056"/>
                  </a:lnTo>
                  <a:lnTo>
                    <a:pt x="379" y="1056"/>
                  </a:lnTo>
                  <a:lnTo>
                    <a:pt x="379" y="1052"/>
                  </a:lnTo>
                  <a:lnTo>
                    <a:pt x="379" y="1047"/>
                  </a:lnTo>
                  <a:lnTo>
                    <a:pt x="384" y="1047"/>
                  </a:lnTo>
                  <a:lnTo>
                    <a:pt x="384" y="1043"/>
                  </a:lnTo>
                  <a:lnTo>
                    <a:pt x="388" y="1043"/>
                  </a:lnTo>
                  <a:lnTo>
                    <a:pt x="388" y="1038"/>
                  </a:lnTo>
                  <a:lnTo>
                    <a:pt x="393" y="1034"/>
                  </a:lnTo>
                  <a:lnTo>
                    <a:pt x="393" y="1029"/>
                  </a:lnTo>
                  <a:lnTo>
                    <a:pt x="398" y="1029"/>
                  </a:lnTo>
                  <a:lnTo>
                    <a:pt x="398" y="1024"/>
                  </a:lnTo>
                  <a:lnTo>
                    <a:pt x="402" y="1024"/>
                  </a:lnTo>
                  <a:lnTo>
                    <a:pt x="407" y="1024"/>
                  </a:lnTo>
                  <a:lnTo>
                    <a:pt x="411" y="1015"/>
                  </a:lnTo>
                  <a:lnTo>
                    <a:pt x="416" y="1015"/>
                  </a:lnTo>
                  <a:lnTo>
                    <a:pt x="416" y="1011"/>
                  </a:lnTo>
                  <a:lnTo>
                    <a:pt x="420" y="1011"/>
                  </a:lnTo>
                  <a:lnTo>
                    <a:pt x="420" y="1011"/>
                  </a:lnTo>
                  <a:lnTo>
                    <a:pt x="425" y="1011"/>
                  </a:lnTo>
                  <a:lnTo>
                    <a:pt x="430" y="1006"/>
                  </a:lnTo>
                  <a:lnTo>
                    <a:pt x="434" y="1006"/>
                  </a:lnTo>
                  <a:lnTo>
                    <a:pt x="434" y="1002"/>
                  </a:lnTo>
                  <a:lnTo>
                    <a:pt x="434" y="1002"/>
                  </a:lnTo>
                  <a:lnTo>
                    <a:pt x="439" y="1002"/>
                  </a:lnTo>
                  <a:lnTo>
                    <a:pt x="439" y="997"/>
                  </a:lnTo>
                  <a:lnTo>
                    <a:pt x="443" y="997"/>
                  </a:lnTo>
                  <a:lnTo>
                    <a:pt x="448" y="988"/>
                  </a:lnTo>
                  <a:lnTo>
                    <a:pt x="452" y="988"/>
                  </a:lnTo>
                  <a:lnTo>
                    <a:pt x="452" y="988"/>
                  </a:lnTo>
                  <a:lnTo>
                    <a:pt x="457" y="983"/>
                  </a:lnTo>
                  <a:lnTo>
                    <a:pt x="457" y="983"/>
                  </a:lnTo>
                  <a:lnTo>
                    <a:pt x="457" y="979"/>
                  </a:lnTo>
                  <a:lnTo>
                    <a:pt x="457" y="974"/>
                  </a:lnTo>
                  <a:lnTo>
                    <a:pt x="462" y="970"/>
                  </a:lnTo>
                  <a:lnTo>
                    <a:pt x="462" y="965"/>
                  </a:lnTo>
                  <a:lnTo>
                    <a:pt x="462" y="947"/>
                  </a:lnTo>
                  <a:lnTo>
                    <a:pt x="466" y="924"/>
                  </a:lnTo>
                  <a:lnTo>
                    <a:pt x="466" y="919"/>
                  </a:lnTo>
                  <a:lnTo>
                    <a:pt x="462" y="915"/>
                  </a:lnTo>
                  <a:lnTo>
                    <a:pt x="462" y="906"/>
                  </a:lnTo>
                  <a:lnTo>
                    <a:pt x="462" y="901"/>
                  </a:lnTo>
                  <a:lnTo>
                    <a:pt x="457" y="901"/>
                  </a:lnTo>
                  <a:lnTo>
                    <a:pt x="457" y="901"/>
                  </a:lnTo>
                  <a:lnTo>
                    <a:pt x="457" y="901"/>
                  </a:lnTo>
                  <a:lnTo>
                    <a:pt x="452" y="901"/>
                  </a:lnTo>
                  <a:lnTo>
                    <a:pt x="443" y="901"/>
                  </a:lnTo>
                  <a:lnTo>
                    <a:pt x="439" y="901"/>
                  </a:lnTo>
                  <a:lnTo>
                    <a:pt x="434" y="901"/>
                  </a:lnTo>
                  <a:lnTo>
                    <a:pt x="434" y="906"/>
                  </a:lnTo>
                  <a:lnTo>
                    <a:pt x="430" y="906"/>
                  </a:lnTo>
                  <a:lnTo>
                    <a:pt x="430" y="910"/>
                  </a:lnTo>
                  <a:lnTo>
                    <a:pt x="425" y="910"/>
                  </a:lnTo>
                  <a:lnTo>
                    <a:pt x="420" y="915"/>
                  </a:lnTo>
                  <a:lnTo>
                    <a:pt x="416" y="919"/>
                  </a:lnTo>
                  <a:lnTo>
                    <a:pt x="411" y="919"/>
                  </a:lnTo>
                  <a:lnTo>
                    <a:pt x="407" y="924"/>
                  </a:lnTo>
                  <a:lnTo>
                    <a:pt x="402" y="924"/>
                  </a:lnTo>
                  <a:lnTo>
                    <a:pt x="402" y="924"/>
                  </a:lnTo>
                  <a:lnTo>
                    <a:pt x="398" y="924"/>
                  </a:lnTo>
                  <a:lnTo>
                    <a:pt x="393" y="924"/>
                  </a:lnTo>
                  <a:lnTo>
                    <a:pt x="393" y="924"/>
                  </a:lnTo>
                  <a:lnTo>
                    <a:pt x="388" y="924"/>
                  </a:lnTo>
                  <a:lnTo>
                    <a:pt x="384" y="924"/>
                  </a:lnTo>
                  <a:lnTo>
                    <a:pt x="375" y="919"/>
                  </a:lnTo>
                  <a:lnTo>
                    <a:pt x="375" y="915"/>
                  </a:lnTo>
                  <a:lnTo>
                    <a:pt x="370" y="915"/>
                  </a:lnTo>
                  <a:lnTo>
                    <a:pt x="370" y="915"/>
                  </a:lnTo>
                  <a:lnTo>
                    <a:pt x="366" y="915"/>
                  </a:lnTo>
                  <a:lnTo>
                    <a:pt x="352" y="915"/>
                  </a:lnTo>
                  <a:lnTo>
                    <a:pt x="347" y="910"/>
                  </a:lnTo>
                  <a:lnTo>
                    <a:pt x="347" y="910"/>
                  </a:lnTo>
                  <a:lnTo>
                    <a:pt x="343" y="906"/>
                  </a:lnTo>
                  <a:lnTo>
                    <a:pt x="338" y="901"/>
                  </a:lnTo>
                  <a:lnTo>
                    <a:pt x="334" y="901"/>
                  </a:lnTo>
                  <a:lnTo>
                    <a:pt x="329" y="901"/>
                  </a:lnTo>
                  <a:lnTo>
                    <a:pt x="329" y="901"/>
                  </a:lnTo>
                  <a:lnTo>
                    <a:pt x="324" y="896"/>
                  </a:lnTo>
                  <a:lnTo>
                    <a:pt x="324" y="896"/>
                  </a:lnTo>
                  <a:lnTo>
                    <a:pt x="324" y="892"/>
                  </a:lnTo>
                  <a:lnTo>
                    <a:pt x="320" y="892"/>
                  </a:lnTo>
                  <a:lnTo>
                    <a:pt x="315" y="887"/>
                  </a:lnTo>
                  <a:lnTo>
                    <a:pt x="315" y="883"/>
                  </a:lnTo>
                  <a:lnTo>
                    <a:pt x="311" y="883"/>
                  </a:lnTo>
                  <a:lnTo>
                    <a:pt x="311" y="878"/>
                  </a:lnTo>
                  <a:lnTo>
                    <a:pt x="306" y="878"/>
                  </a:lnTo>
                  <a:lnTo>
                    <a:pt x="306" y="878"/>
                  </a:lnTo>
                  <a:lnTo>
                    <a:pt x="306" y="878"/>
                  </a:lnTo>
                  <a:lnTo>
                    <a:pt x="302" y="874"/>
                  </a:lnTo>
                  <a:lnTo>
                    <a:pt x="302" y="869"/>
                  </a:lnTo>
                  <a:lnTo>
                    <a:pt x="297" y="864"/>
                  </a:lnTo>
                  <a:lnTo>
                    <a:pt x="292" y="864"/>
                  </a:lnTo>
                  <a:lnTo>
                    <a:pt x="292" y="860"/>
                  </a:lnTo>
                  <a:lnTo>
                    <a:pt x="288" y="860"/>
                  </a:lnTo>
                  <a:lnTo>
                    <a:pt x="283" y="860"/>
                  </a:lnTo>
                  <a:lnTo>
                    <a:pt x="279" y="860"/>
                  </a:lnTo>
                  <a:lnTo>
                    <a:pt x="274" y="860"/>
                  </a:lnTo>
                  <a:lnTo>
                    <a:pt x="270" y="855"/>
                  </a:lnTo>
                  <a:lnTo>
                    <a:pt x="265" y="855"/>
                  </a:lnTo>
                  <a:lnTo>
                    <a:pt x="265" y="855"/>
                  </a:lnTo>
                  <a:lnTo>
                    <a:pt x="260" y="855"/>
                  </a:lnTo>
                  <a:lnTo>
                    <a:pt x="260" y="855"/>
                  </a:lnTo>
                  <a:lnTo>
                    <a:pt x="256" y="855"/>
                  </a:lnTo>
                  <a:lnTo>
                    <a:pt x="247" y="855"/>
                  </a:lnTo>
                  <a:lnTo>
                    <a:pt x="242" y="855"/>
                  </a:lnTo>
                  <a:lnTo>
                    <a:pt x="238" y="855"/>
                  </a:lnTo>
                  <a:lnTo>
                    <a:pt x="238" y="860"/>
                  </a:lnTo>
                  <a:lnTo>
                    <a:pt x="233" y="864"/>
                  </a:lnTo>
                  <a:lnTo>
                    <a:pt x="228" y="864"/>
                  </a:lnTo>
                  <a:lnTo>
                    <a:pt x="219" y="864"/>
                  </a:lnTo>
                  <a:lnTo>
                    <a:pt x="210" y="864"/>
                  </a:lnTo>
                  <a:lnTo>
                    <a:pt x="206" y="864"/>
                  </a:lnTo>
                  <a:lnTo>
                    <a:pt x="196" y="864"/>
                  </a:lnTo>
                  <a:lnTo>
                    <a:pt x="192" y="864"/>
                  </a:lnTo>
                  <a:lnTo>
                    <a:pt x="174" y="864"/>
                  </a:lnTo>
                  <a:lnTo>
                    <a:pt x="164" y="860"/>
                  </a:lnTo>
                  <a:lnTo>
                    <a:pt x="160" y="855"/>
                  </a:lnTo>
                  <a:lnTo>
                    <a:pt x="151" y="855"/>
                  </a:lnTo>
                  <a:lnTo>
                    <a:pt x="151" y="855"/>
                  </a:lnTo>
                  <a:lnTo>
                    <a:pt x="151" y="851"/>
                  </a:lnTo>
                  <a:lnTo>
                    <a:pt x="146" y="851"/>
                  </a:lnTo>
                  <a:lnTo>
                    <a:pt x="146" y="846"/>
                  </a:lnTo>
                  <a:lnTo>
                    <a:pt x="142" y="846"/>
                  </a:lnTo>
                  <a:lnTo>
                    <a:pt x="137" y="846"/>
                  </a:lnTo>
                  <a:lnTo>
                    <a:pt x="137" y="842"/>
                  </a:lnTo>
                  <a:lnTo>
                    <a:pt x="132" y="842"/>
                  </a:lnTo>
                  <a:lnTo>
                    <a:pt x="128" y="842"/>
                  </a:lnTo>
                  <a:lnTo>
                    <a:pt x="128" y="837"/>
                  </a:lnTo>
                  <a:lnTo>
                    <a:pt x="128" y="837"/>
                  </a:lnTo>
                  <a:lnTo>
                    <a:pt x="123" y="837"/>
                  </a:lnTo>
                  <a:lnTo>
                    <a:pt x="123" y="837"/>
                  </a:lnTo>
                  <a:lnTo>
                    <a:pt x="119" y="837"/>
                  </a:lnTo>
                  <a:lnTo>
                    <a:pt x="114" y="837"/>
                  </a:lnTo>
                  <a:lnTo>
                    <a:pt x="114" y="832"/>
                  </a:lnTo>
                  <a:lnTo>
                    <a:pt x="110" y="832"/>
                  </a:lnTo>
                  <a:lnTo>
                    <a:pt x="105" y="828"/>
                  </a:lnTo>
                  <a:lnTo>
                    <a:pt x="100" y="823"/>
                  </a:lnTo>
                  <a:lnTo>
                    <a:pt x="96" y="819"/>
                  </a:lnTo>
                  <a:lnTo>
                    <a:pt x="87" y="823"/>
                  </a:lnTo>
                  <a:lnTo>
                    <a:pt x="87" y="819"/>
                  </a:lnTo>
                  <a:lnTo>
                    <a:pt x="87" y="814"/>
                  </a:lnTo>
                  <a:lnTo>
                    <a:pt x="87" y="810"/>
                  </a:lnTo>
                  <a:lnTo>
                    <a:pt x="82" y="810"/>
                  </a:lnTo>
                  <a:lnTo>
                    <a:pt x="82" y="810"/>
                  </a:lnTo>
                  <a:lnTo>
                    <a:pt x="73" y="810"/>
                  </a:lnTo>
                  <a:lnTo>
                    <a:pt x="64" y="800"/>
                  </a:lnTo>
                  <a:lnTo>
                    <a:pt x="50" y="787"/>
                  </a:lnTo>
                  <a:lnTo>
                    <a:pt x="32" y="773"/>
                  </a:lnTo>
                  <a:lnTo>
                    <a:pt x="27" y="768"/>
                  </a:lnTo>
                  <a:lnTo>
                    <a:pt x="23" y="764"/>
                  </a:lnTo>
                  <a:lnTo>
                    <a:pt x="18" y="759"/>
                  </a:lnTo>
                  <a:lnTo>
                    <a:pt x="0" y="746"/>
                  </a:lnTo>
                  <a:lnTo>
                    <a:pt x="0" y="736"/>
                  </a:lnTo>
                  <a:lnTo>
                    <a:pt x="4" y="714"/>
                  </a:lnTo>
                  <a:lnTo>
                    <a:pt x="9" y="700"/>
                  </a:lnTo>
                  <a:lnTo>
                    <a:pt x="14" y="677"/>
                  </a:lnTo>
                  <a:lnTo>
                    <a:pt x="18" y="650"/>
                  </a:lnTo>
                  <a:lnTo>
                    <a:pt x="23" y="631"/>
                  </a:lnTo>
                  <a:lnTo>
                    <a:pt x="27" y="622"/>
                  </a:lnTo>
                  <a:lnTo>
                    <a:pt x="32" y="613"/>
                  </a:lnTo>
                  <a:lnTo>
                    <a:pt x="32" y="608"/>
                  </a:lnTo>
                  <a:lnTo>
                    <a:pt x="36" y="604"/>
                  </a:lnTo>
                  <a:lnTo>
                    <a:pt x="41" y="595"/>
                  </a:lnTo>
                  <a:lnTo>
                    <a:pt x="41" y="595"/>
                  </a:lnTo>
                  <a:lnTo>
                    <a:pt x="41" y="595"/>
                  </a:lnTo>
                  <a:lnTo>
                    <a:pt x="41" y="595"/>
                  </a:lnTo>
                  <a:lnTo>
                    <a:pt x="41" y="590"/>
                  </a:lnTo>
                  <a:lnTo>
                    <a:pt x="50" y="586"/>
                  </a:lnTo>
                  <a:lnTo>
                    <a:pt x="59" y="576"/>
                  </a:lnTo>
                  <a:lnTo>
                    <a:pt x="64" y="572"/>
                  </a:lnTo>
                  <a:lnTo>
                    <a:pt x="68" y="572"/>
                  </a:lnTo>
                  <a:lnTo>
                    <a:pt x="68" y="567"/>
                  </a:lnTo>
                  <a:lnTo>
                    <a:pt x="64" y="558"/>
                  </a:lnTo>
                  <a:lnTo>
                    <a:pt x="64" y="554"/>
                  </a:lnTo>
                  <a:lnTo>
                    <a:pt x="64" y="549"/>
                  </a:lnTo>
                  <a:lnTo>
                    <a:pt x="59" y="549"/>
                  </a:lnTo>
                  <a:lnTo>
                    <a:pt x="50" y="544"/>
                  </a:lnTo>
                  <a:lnTo>
                    <a:pt x="50" y="540"/>
                  </a:lnTo>
                  <a:lnTo>
                    <a:pt x="46" y="535"/>
                  </a:lnTo>
                  <a:lnTo>
                    <a:pt x="46" y="531"/>
                  </a:lnTo>
                  <a:lnTo>
                    <a:pt x="46" y="512"/>
                  </a:lnTo>
                  <a:lnTo>
                    <a:pt x="46" y="508"/>
                  </a:lnTo>
                  <a:lnTo>
                    <a:pt x="50" y="508"/>
                  </a:lnTo>
                  <a:lnTo>
                    <a:pt x="55" y="499"/>
                  </a:lnTo>
                  <a:lnTo>
                    <a:pt x="64" y="490"/>
                  </a:lnTo>
                  <a:lnTo>
                    <a:pt x="64" y="490"/>
                  </a:lnTo>
                  <a:lnTo>
                    <a:pt x="64" y="480"/>
                  </a:lnTo>
                  <a:lnTo>
                    <a:pt x="59" y="471"/>
                  </a:lnTo>
                  <a:lnTo>
                    <a:pt x="55" y="458"/>
                  </a:lnTo>
                  <a:lnTo>
                    <a:pt x="55" y="448"/>
                  </a:lnTo>
                  <a:lnTo>
                    <a:pt x="50" y="435"/>
                  </a:lnTo>
                  <a:lnTo>
                    <a:pt x="50" y="426"/>
                  </a:lnTo>
                  <a:lnTo>
                    <a:pt x="55" y="416"/>
                  </a:lnTo>
                  <a:lnTo>
                    <a:pt x="55" y="407"/>
                  </a:lnTo>
                  <a:lnTo>
                    <a:pt x="55" y="403"/>
                  </a:lnTo>
                  <a:lnTo>
                    <a:pt x="55" y="403"/>
                  </a:lnTo>
                  <a:lnTo>
                    <a:pt x="59" y="389"/>
                  </a:lnTo>
                  <a:lnTo>
                    <a:pt x="59" y="380"/>
                  </a:lnTo>
                  <a:lnTo>
                    <a:pt x="59" y="371"/>
                  </a:lnTo>
                  <a:lnTo>
                    <a:pt x="59" y="352"/>
                  </a:lnTo>
                  <a:lnTo>
                    <a:pt x="59" y="339"/>
                  </a:lnTo>
                  <a:lnTo>
                    <a:pt x="59" y="330"/>
                  </a:lnTo>
                  <a:lnTo>
                    <a:pt x="59" y="316"/>
                  </a:lnTo>
                  <a:lnTo>
                    <a:pt x="59" y="316"/>
                  </a:lnTo>
                  <a:lnTo>
                    <a:pt x="59" y="316"/>
                  </a:lnTo>
                  <a:lnTo>
                    <a:pt x="55" y="311"/>
                  </a:lnTo>
                  <a:lnTo>
                    <a:pt x="55" y="302"/>
                  </a:lnTo>
                  <a:lnTo>
                    <a:pt x="55" y="293"/>
                  </a:lnTo>
                  <a:lnTo>
                    <a:pt x="55" y="288"/>
                  </a:lnTo>
                  <a:lnTo>
                    <a:pt x="55" y="284"/>
                  </a:lnTo>
                  <a:lnTo>
                    <a:pt x="73" y="266"/>
                  </a:lnTo>
                  <a:lnTo>
                    <a:pt x="78" y="266"/>
                  </a:lnTo>
                  <a:lnTo>
                    <a:pt x="78" y="266"/>
                  </a:lnTo>
                  <a:lnTo>
                    <a:pt x="82" y="261"/>
                  </a:lnTo>
                  <a:lnTo>
                    <a:pt x="87" y="256"/>
                  </a:lnTo>
                  <a:lnTo>
                    <a:pt x="91" y="252"/>
                  </a:lnTo>
                  <a:lnTo>
                    <a:pt x="96" y="247"/>
                  </a:lnTo>
                  <a:lnTo>
                    <a:pt x="105" y="243"/>
                  </a:lnTo>
                  <a:lnTo>
                    <a:pt x="123" y="224"/>
                  </a:lnTo>
                  <a:lnTo>
                    <a:pt x="123" y="224"/>
                  </a:lnTo>
                  <a:lnTo>
                    <a:pt x="128" y="224"/>
                  </a:lnTo>
                  <a:lnTo>
                    <a:pt x="137" y="215"/>
                  </a:lnTo>
                  <a:lnTo>
                    <a:pt x="142" y="211"/>
                  </a:lnTo>
                  <a:lnTo>
                    <a:pt x="142" y="211"/>
                  </a:lnTo>
                  <a:lnTo>
                    <a:pt x="164" y="197"/>
                  </a:lnTo>
                  <a:lnTo>
                    <a:pt x="164" y="192"/>
                  </a:lnTo>
                  <a:lnTo>
                    <a:pt x="169" y="192"/>
                  </a:lnTo>
                  <a:lnTo>
                    <a:pt x="178" y="179"/>
                  </a:lnTo>
                  <a:lnTo>
                    <a:pt x="178" y="174"/>
                  </a:lnTo>
                  <a:lnTo>
                    <a:pt x="192" y="156"/>
                  </a:lnTo>
                  <a:lnTo>
                    <a:pt x="192" y="151"/>
                  </a:lnTo>
                  <a:lnTo>
                    <a:pt x="196" y="147"/>
                  </a:lnTo>
                  <a:lnTo>
                    <a:pt x="201" y="142"/>
                  </a:lnTo>
                  <a:lnTo>
                    <a:pt x="201" y="138"/>
                  </a:lnTo>
                  <a:lnTo>
                    <a:pt x="210" y="128"/>
                  </a:lnTo>
                  <a:lnTo>
                    <a:pt x="210" y="128"/>
                  </a:lnTo>
                  <a:lnTo>
                    <a:pt x="215" y="119"/>
                  </a:lnTo>
                  <a:lnTo>
                    <a:pt x="228" y="101"/>
                  </a:lnTo>
                  <a:lnTo>
                    <a:pt x="228" y="92"/>
                  </a:lnTo>
                  <a:lnTo>
                    <a:pt x="233" y="74"/>
                  </a:lnTo>
                  <a:lnTo>
                    <a:pt x="233" y="69"/>
                  </a:lnTo>
                  <a:lnTo>
                    <a:pt x="238" y="60"/>
                  </a:lnTo>
                  <a:lnTo>
                    <a:pt x="238" y="46"/>
                  </a:lnTo>
                  <a:lnTo>
                    <a:pt x="238" y="46"/>
                  </a:lnTo>
                  <a:lnTo>
                    <a:pt x="238" y="32"/>
                  </a:lnTo>
                  <a:lnTo>
                    <a:pt x="238" y="23"/>
                  </a:lnTo>
                  <a:lnTo>
                    <a:pt x="238" y="10"/>
                  </a:lnTo>
                  <a:lnTo>
                    <a:pt x="265" y="10"/>
                  </a:lnTo>
                  <a:lnTo>
                    <a:pt x="270" y="10"/>
                  </a:lnTo>
                  <a:lnTo>
                    <a:pt x="279" y="10"/>
                  </a:lnTo>
                  <a:lnTo>
                    <a:pt x="288" y="10"/>
                  </a:lnTo>
                  <a:lnTo>
                    <a:pt x="292" y="10"/>
                  </a:lnTo>
                  <a:lnTo>
                    <a:pt x="297" y="10"/>
                  </a:lnTo>
                  <a:lnTo>
                    <a:pt x="302" y="10"/>
                  </a:lnTo>
                  <a:lnTo>
                    <a:pt x="302" y="5"/>
                  </a:lnTo>
                  <a:lnTo>
                    <a:pt x="306" y="5"/>
                  </a:lnTo>
                  <a:lnTo>
                    <a:pt x="306" y="5"/>
                  </a:lnTo>
                  <a:lnTo>
                    <a:pt x="306" y="0"/>
                  </a:lnTo>
                  <a:lnTo>
                    <a:pt x="311" y="5"/>
                  </a:lnTo>
                  <a:lnTo>
                    <a:pt x="315" y="5"/>
                  </a:lnTo>
                  <a:lnTo>
                    <a:pt x="315" y="10"/>
                  </a:lnTo>
                  <a:lnTo>
                    <a:pt x="320" y="10"/>
                  </a:lnTo>
                  <a:lnTo>
                    <a:pt x="320" y="14"/>
                  </a:lnTo>
                  <a:lnTo>
                    <a:pt x="324" y="19"/>
                  </a:lnTo>
                  <a:lnTo>
                    <a:pt x="324" y="19"/>
                  </a:lnTo>
                  <a:lnTo>
                    <a:pt x="324" y="23"/>
                  </a:lnTo>
                  <a:lnTo>
                    <a:pt x="329" y="23"/>
                  </a:lnTo>
                  <a:lnTo>
                    <a:pt x="338" y="23"/>
                  </a:lnTo>
                  <a:lnTo>
                    <a:pt x="338" y="23"/>
                  </a:lnTo>
                  <a:lnTo>
                    <a:pt x="343" y="23"/>
                  </a:lnTo>
                  <a:lnTo>
                    <a:pt x="347" y="28"/>
                  </a:lnTo>
                  <a:lnTo>
                    <a:pt x="347" y="37"/>
                  </a:lnTo>
                  <a:lnTo>
                    <a:pt x="352" y="37"/>
                  </a:lnTo>
                  <a:lnTo>
                    <a:pt x="352" y="42"/>
                  </a:lnTo>
                  <a:lnTo>
                    <a:pt x="356" y="46"/>
                  </a:lnTo>
                  <a:lnTo>
                    <a:pt x="361" y="46"/>
                  </a:lnTo>
                  <a:lnTo>
                    <a:pt x="366" y="46"/>
                  </a:lnTo>
                  <a:lnTo>
                    <a:pt x="370" y="46"/>
                  </a:lnTo>
                  <a:lnTo>
                    <a:pt x="370" y="51"/>
                  </a:lnTo>
                  <a:lnTo>
                    <a:pt x="384" y="51"/>
                  </a:lnTo>
                  <a:lnTo>
                    <a:pt x="388" y="51"/>
                  </a:lnTo>
                  <a:lnTo>
                    <a:pt x="393" y="55"/>
                  </a:lnTo>
                  <a:lnTo>
                    <a:pt x="398" y="55"/>
                  </a:lnTo>
                  <a:lnTo>
                    <a:pt x="402" y="55"/>
                  </a:lnTo>
                  <a:lnTo>
                    <a:pt x="402" y="60"/>
                  </a:lnTo>
                  <a:lnTo>
                    <a:pt x="407" y="60"/>
                  </a:lnTo>
                  <a:lnTo>
                    <a:pt x="411" y="60"/>
                  </a:lnTo>
                  <a:lnTo>
                    <a:pt x="416" y="64"/>
                  </a:lnTo>
                  <a:lnTo>
                    <a:pt x="416" y="64"/>
                  </a:lnTo>
                  <a:lnTo>
                    <a:pt x="420" y="69"/>
                  </a:lnTo>
                  <a:lnTo>
                    <a:pt x="425" y="69"/>
                  </a:lnTo>
                  <a:lnTo>
                    <a:pt x="430" y="74"/>
                  </a:lnTo>
                  <a:lnTo>
                    <a:pt x="434" y="74"/>
                  </a:lnTo>
                  <a:lnTo>
                    <a:pt x="439" y="74"/>
                  </a:lnTo>
                  <a:lnTo>
                    <a:pt x="443" y="74"/>
                  </a:lnTo>
                  <a:lnTo>
                    <a:pt x="448" y="74"/>
                  </a:lnTo>
                  <a:lnTo>
                    <a:pt x="452" y="69"/>
                  </a:lnTo>
                  <a:lnTo>
                    <a:pt x="457" y="69"/>
                  </a:lnTo>
                  <a:lnTo>
                    <a:pt x="457" y="69"/>
                  </a:lnTo>
                  <a:lnTo>
                    <a:pt x="457" y="64"/>
                  </a:lnTo>
                  <a:lnTo>
                    <a:pt x="457" y="60"/>
                  </a:lnTo>
                  <a:lnTo>
                    <a:pt x="462" y="60"/>
                  </a:lnTo>
                  <a:lnTo>
                    <a:pt x="462" y="55"/>
                  </a:lnTo>
                  <a:lnTo>
                    <a:pt x="466" y="51"/>
                  </a:lnTo>
                  <a:lnTo>
                    <a:pt x="475" y="46"/>
                  </a:lnTo>
                  <a:lnTo>
                    <a:pt x="480" y="46"/>
                  </a:lnTo>
                  <a:lnTo>
                    <a:pt x="480" y="46"/>
                  </a:lnTo>
                  <a:lnTo>
                    <a:pt x="484" y="46"/>
                  </a:lnTo>
                  <a:lnTo>
                    <a:pt x="484" y="46"/>
                  </a:lnTo>
                  <a:lnTo>
                    <a:pt x="489" y="51"/>
                  </a:lnTo>
                  <a:lnTo>
                    <a:pt x="489" y="55"/>
                  </a:lnTo>
                  <a:lnTo>
                    <a:pt x="489" y="60"/>
                  </a:lnTo>
                  <a:lnTo>
                    <a:pt x="489" y="64"/>
                  </a:lnTo>
                  <a:lnTo>
                    <a:pt x="484" y="69"/>
                  </a:lnTo>
                  <a:lnTo>
                    <a:pt x="480" y="78"/>
                  </a:lnTo>
                  <a:lnTo>
                    <a:pt x="480" y="83"/>
                  </a:lnTo>
                  <a:lnTo>
                    <a:pt x="480" y="87"/>
                  </a:lnTo>
                  <a:lnTo>
                    <a:pt x="480" y="92"/>
                  </a:lnTo>
                  <a:lnTo>
                    <a:pt x="480" y="101"/>
                  </a:lnTo>
                  <a:lnTo>
                    <a:pt x="475" y="110"/>
                  </a:lnTo>
                  <a:lnTo>
                    <a:pt x="471" y="110"/>
                  </a:lnTo>
                  <a:lnTo>
                    <a:pt x="471" y="115"/>
                  </a:lnTo>
                  <a:lnTo>
                    <a:pt x="466" y="119"/>
                  </a:lnTo>
                  <a:lnTo>
                    <a:pt x="466" y="124"/>
                  </a:lnTo>
                  <a:lnTo>
                    <a:pt x="466" y="128"/>
                  </a:lnTo>
                  <a:lnTo>
                    <a:pt x="466" y="133"/>
                  </a:lnTo>
                  <a:lnTo>
                    <a:pt x="466" y="133"/>
                  </a:lnTo>
                  <a:lnTo>
                    <a:pt x="471" y="138"/>
                  </a:lnTo>
                  <a:lnTo>
                    <a:pt x="475" y="142"/>
                  </a:lnTo>
                  <a:lnTo>
                    <a:pt x="480" y="147"/>
                  </a:lnTo>
                  <a:lnTo>
                    <a:pt x="484" y="156"/>
                  </a:lnTo>
                  <a:lnTo>
                    <a:pt x="484" y="160"/>
                  </a:lnTo>
                  <a:lnTo>
                    <a:pt x="484" y="174"/>
                  </a:lnTo>
                  <a:lnTo>
                    <a:pt x="489" y="183"/>
                  </a:lnTo>
                  <a:lnTo>
                    <a:pt x="489" y="188"/>
                  </a:lnTo>
                  <a:lnTo>
                    <a:pt x="484" y="197"/>
                  </a:lnTo>
                  <a:lnTo>
                    <a:pt x="484" y="206"/>
                  </a:lnTo>
                  <a:lnTo>
                    <a:pt x="480" y="215"/>
                  </a:lnTo>
                  <a:lnTo>
                    <a:pt x="480" y="220"/>
                  </a:lnTo>
                  <a:lnTo>
                    <a:pt x="480" y="229"/>
                  </a:lnTo>
                  <a:lnTo>
                    <a:pt x="480" y="238"/>
                  </a:lnTo>
                  <a:lnTo>
                    <a:pt x="480" y="243"/>
                  </a:lnTo>
                  <a:lnTo>
                    <a:pt x="484" y="252"/>
                  </a:lnTo>
                  <a:lnTo>
                    <a:pt x="489" y="266"/>
                  </a:lnTo>
                  <a:lnTo>
                    <a:pt x="489" y="284"/>
                  </a:lnTo>
                  <a:lnTo>
                    <a:pt x="489" y="298"/>
                  </a:lnTo>
                  <a:lnTo>
                    <a:pt x="484" y="311"/>
                  </a:lnTo>
                  <a:lnTo>
                    <a:pt x="484" y="325"/>
                  </a:lnTo>
                  <a:lnTo>
                    <a:pt x="480" y="330"/>
                  </a:lnTo>
                  <a:lnTo>
                    <a:pt x="480" y="330"/>
                  </a:lnTo>
                  <a:lnTo>
                    <a:pt x="475" y="325"/>
                  </a:lnTo>
                  <a:lnTo>
                    <a:pt x="466" y="316"/>
                  </a:lnTo>
                  <a:lnTo>
                    <a:pt x="457" y="311"/>
                  </a:lnTo>
                  <a:lnTo>
                    <a:pt x="443" y="316"/>
                  </a:lnTo>
                  <a:lnTo>
                    <a:pt x="434" y="320"/>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defTabSz="68584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p>
            <a:p>
              <a:pPr marL="0" marR="0" lvl="0" indent="0" defTabSz="68584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Kebbi</a:t>
              </a:r>
            </a:p>
            <a:p>
              <a:pPr marL="0" marR="0" lvl="0" indent="0"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p>
            <a:p>
              <a:pPr marL="0" marR="0" lvl="0" indent="0"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p:txBody>
        </p:sp>
        <p:sp>
          <p:nvSpPr>
            <p:cNvPr id="146" name="Freeform 65">
              <a:extLst>
                <a:ext uri="{FF2B5EF4-FFF2-40B4-BE49-F238E27FC236}">
                  <a16:creationId xmlns:a16="http://schemas.microsoft.com/office/drawing/2014/main" id="{F53D287F-3095-47C4-8972-13D19FBDE462}"/>
                </a:ext>
              </a:extLst>
            </p:cNvPr>
            <p:cNvSpPr>
              <a:spLocks/>
            </p:cNvSpPr>
            <p:nvPr>
              <p:custDataLst>
                <p:tags r:id="rId58"/>
              </p:custDataLst>
            </p:nvPr>
          </p:nvSpPr>
          <p:spPr bwMode="auto">
            <a:xfrm>
              <a:off x="1026376" y="2784110"/>
              <a:ext cx="821576" cy="837646"/>
            </a:xfrm>
            <a:custGeom>
              <a:avLst/>
              <a:gdLst/>
              <a:ahLst/>
              <a:cxnLst>
                <a:cxn ang="0">
                  <a:pos x="407" y="508"/>
                </a:cxn>
                <a:cxn ang="0">
                  <a:pos x="375" y="494"/>
                </a:cxn>
                <a:cxn ang="0">
                  <a:pos x="329" y="480"/>
                </a:cxn>
                <a:cxn ang="0">
                  <a:pos x="297" y="471"/>
                </a:cxn>
                <a:cxn ang="0">
                  <a:pos x="283" y="444"/>
                </a:cxn>
                <a:cxn ang="0">
                  <a:pos x="256" y="426"/>
                </a:cxn>
                <a:cxn ang="0">
                  <a:pos x="215" y="389"/>
                </a:cxn>
                <a:cxn ang="0">
                  <a:pos x="169" y="366"/>
                </a:cxn>
                <a:cxn ang="0">
                  <a:pos x="128" y="343"/>
                </a:cxn>
                <a:cxn ang="0">
                  <a:pos x="96" y="302"/>
                </a:cxn>
                <a:cxn ang="0">
                  <a:pos x="119" y="266"/>
                </a:cxn>
                <a:cxn ang="0">
                  <a:pos x="78" y="275"/>
                </a:cxn>
                <a:cxn ang="0">
                  <a:pos x="78" y="247"/>
                </a:cxn>
                <a:cxn ang="0">
                  <a:pos x="50" y="220"/>
                </a:cxn>
                <a:cxn ang="0">
                  <a:pos x="18" y="188"/>
                </a:cxn>
                <a:cxn ang="0">
                  <a:pos x="4" y="138"/>
                </a:cxn>
                <a:cxn ang="0">
                  <a:pos x="36" y="110"/>
                </a:cxn>
                <a:cxn ang="0">
                  <a:pos x="73" y="83"/>
                </a:cxn>
                <a:cxn ang="0">
                  <a:pos x="114" y="106"/>
                </a:cxn>
                <a:cxn ang="0">
                  <a:pos x="160" y="124"/>
                </a:cxn>
                <a:cxn ang="0">
                  <a:pos x="224" y="124"/>
                </a:cxn>
                <a:cxn ang="0">
                  <a:pos x="288" y="124"/>
                </a:cxn>
                <a:cxn ang="0">
                  <a:pos x="302" y="60"/>
                </a:cxn>
                <a:cxn ang="0">
                  <a:pos x="324" y="19"/>
                </a:cxn>
                <a:cxn ang="0">
                  <a:pos x="370" y="14"/>
                </a:cxn>
                <a:cxn ang="0">
                  <a:pos x="398" y="51"/>
                </a:cxn>
                <a:cxn ang="0">
                  <a:pos x="416" y="106"/>
                </a:cxn>
                <a:cxn ang="0">
                  <a:pos x="452" y="138"/>
                </a:cxn>
                <a:cxn ang="0">
                  <a:pos x="484" y="165"/>
                </a:cxn>
                <a:cxn ang="0">
                  <a:pos x="521" y="192"/>
                </a:cxn>
                <a:cxn ang="0">
                  <a:pos x="544" y="151"/>
                </a:cxn>
                <a:cxn ang="0">
                  <a:pos x="571" y="119"/>
                </a:cxn>
                <a:cxn ang="0">
                  <a:pos x="626" y="133"/>
                </a:cxn>
                <a:cxn ang="0">
                  <a:pos x="631" y="211"/>
                </a:cxn>
                <a:cxn ang="0">
                  <a:pos x="626" y="256"/>
                </a:cxn>
                <a:cxn ang="0">
                  <a:pos x="612" y="316"/>
                </a:cxn>
                <a:cxn ang="0">
                  <a:pos x="654" y="302"/>
                </a:cxn>
                <a:cxn ang="0">
                  <a:pos x="699" y="284"/>
                </a:cxn>
                <a:cxn ang="0">
                  <a:pos x="777" y="266"/>
                </a:cxn>
                <a:cxn ang="0">
                  <a:pos x="864" y="261"/>
                </a:cxn>
                <a:cxn ang="0">
                  <a:pos x="878" y="334"/>
                </a:cxn>
                <a:cxn ang="0">
                  <a:pos x="905" y="389"/>
                </a:cxn>
                <a:cxn ang="0">
                  <a:pos x="928" y="503"/>
                </a:cxn>
                <a:cxn ang="0">
                  <a:pos x="928" y="544"/>
                </a:cxn>
                <a:cxn ang="0">
                  <a:pos x="914" y="586"/>
                </a:cxn>
                <a:cxn ang="0">
                  <a:pos x="868" y="599"/>
                </a:cxn>
                <a:cxn ang="0">
                  <a:pos x="846" y="654"/>
                </a:cxn>
                <a:cxn ang="0">
                  <a:pos x="782" y="613"/>
                </a:cxn>
                <a:cxn ang="0">
                  <a:pos x="745" y="645"/>
                </a:cxn>
                <a:cxn ang="0">
                  <a:pos x="699" y="695"/>
                </a:cxn>
                <a:cxn ang="0">
                  <a:pos x="654" y="732"/>
                </a:cxn>
                <a:cxn ang="0">
                  <a:pos x="608" y="709"/>
                </a:cxn>
                <a:cxn ang="0">
                  <a:pos x="580" y="764"/>
                </a:cxn>
                <a:cxn ang="0">
                  <a:pos x="553" y="823"/>
                </a:cxn>
                <a:cxn ang="0">
                  <a:pos x="498" y="805"/>
                </a:cxn>
                <a:cxn ang="0">
                  <a:pos x="489" y="727"/>
                </a:cxn>
                <a:cxn ang="0">
                  <a:pos x="507" y="668"/>
                </a:cxn>
                <a:cxn ang="0">
                  <a:pos x="521" y="608"/>
                </a:cxn>
                <a:cxn ang="0">
                  <a:pos x="512" y="563"/>
                </a:cxn>
                <a:cxn ang="0">
                  <a:pos x="462" y="544"/>
                </a:cxn>
              </a:cxnLst>
              <a:rect l="0" t="0" r="r" b="b"/>
              <a:pathLst>
                <a:path w="942" h="828">
                  <a:moveTo>
                    <a:pt x="430" y="526"/>
                  </a:moveTo>
                  <a:lnTo>
                    <a:pt x="430" y="522"/>
                  </a:lnTo>
                  <a:lnTo>
                    <a:pt x="425" y="522"/>
                  </a:lnTo>
                  <a:lnTo>
                    <a:pt x="425" y="517"/>
                  </a:lnTo>
                  <a:lnTo>
                    <a:pt x="420" y="522"/>
                  </a:lnTo>
                  <a:lnTo>
                    <a:pt x="416" y="522"/>
                  </a:lnTo>
                  <a:lnTo>
                    <a:pt x="411" y="522"/>
                  </a:lnTo>
                  <a:lnTo>
                    <a:pt x="411" y="522"/>
                  </a:lnTo>
                  <a:lnTo>
                    <a:pt x="407" y="522"/>
                  </a:lnTo>
                  <a:lnTo>
                    <a:pt x="407" y="517"/>
                  </a:lnTo>
                  <a:lnTo>
                    <a:pt x="407" y="512"/>
                  </a:lnTo>
                  <a:lnTo>
                    <a:pt x="407" y="508"/>
                  </a:lnTo>
                  <a:lnTo>
                    <a:pt x="407" y="503"/>
                  </a:lnTo>
                  <a:lnTo>
                    <a:pt x="402" y="503"/>
                  </a:lnTo>
                  <a:lnTo>
                    <a:pt x="402" y="499"/>
                  </a:lnTo>
                  <a:lnTo>
                    <a:pt x="398" y="499"/>
                  </a:lnTo>
                  <a:lnTo>
                    <a:pt x="393" y="503"/>
                  </a:lnTo>
                  <a:lnTo>
                    <a:pt x="388" y="503"/>
                  </a:lnTo>
                  <a:lnTo>
                    <a:pt x="388" y="503"/>
                  </a:lnTo>
                  <a:lnTo>
                    <a:pt x="384" y="499"/>
                  </a:lnTo>
                  <a:lnTo>
                    <a:pt x="379" y="499"/>
                  </a:lnTo>
                  <a:lnTo>
                    <a:pt x="379" y="499"/>
                  </a:lnTo>
                  <a:lnTo>
                    <a:pt x="375" y="499"/>
                  </a:lnTo>
                  <a:lnTo>
                    <a:pt x="375" y="494"/>
                  </a:lnTo>
                  <a:lnTo>
                    <a:pt x="370" y="490"/>
                  </a:lnTo>
                  <a:lnTo>
                    <a:pt x="370" y="485"/>
                  </a:lnTo>
                  <a:lnTo>
                    <a:pt x="370" y="485"/>
                  </a:lnTo>
                  <a:lnTo>
                    <a:pt x="370" y="480"/>
                  </a:lnTo>
                  <a:lnTo>
                    <a:pt x="366" y="480"/>
                  </a:lnTo>
                  <a:lnTo>
                    <a:pt x="361" y="476"/>
                  </a:lnTo>
                  <a:lnTo>
                    <a:pt x="352" y="476"/>
                  </a:lnTo>
                  <a:lnTo>
                    <a:pt x="347" y="476"/>
                  </a:lnTo>
                  <a:lnTo>
                    <a:pt x="343" y="476"/>
                  </a:lnTo>
                  <a:lnTo>
                    <a:pt x="338" y="476"/>
                  </a:lnTo>
                  <a:lnTo>
                    <a:pt x="334" y="480"/>
                  </a:lnTo>
                  <a:lnTo>
                    <a:pt x="329" y="480"/>
                  </a:lnTo>
                  <a:lnTo>
                    <a:pt x="324" y="480"/>
                  </a:lnTo>
                  <a:lnTo>
                    <a:pt x="324" y="485"/>
                  </a:lnTo>
                  <a:lnTo>
                    <a:pt x="324" y="485"/>
                  </a:lnTo>
                  <a:lnTo>
                    <a:pt x="320" y="485"/>
                  </a:lnTo>
                  <a:lnTo>
                    <a:pt x="311" y="485"/>
                  </a:lnTo>
                  <a:lnTo>
                    <a:pt x="306" y="485"/>
                  </a:lnTo>
                  <a:lnTo>
                    <a:pt x="302" y="485"/>
                  </a:lnTo>
                  <a:lnTo>
                    <a:pt x="302" y="485"/>
                  </a:lnTo>
                  <a:lnTo>
                    <a:pt x="297" y="480"/>
                  </a:lnTo>
                  <a:lnTo>
                    <a:pt x="297" y="476"/>
                  </a:lnTo>
                  <a:lnTo>
                    <a:pt x="297" y="476"/>
                  </a:lnTo>
                  <a:lnTo>
                    <a:pt x="297" y="471"/>
                  </a:lnTo>
                  <a:lnTo>
                    <a:pt x="297" y="462"/>
                  </a:lnTo>
                  <a:lnTo>
                    <a:pt x="302" y="462"/>
                  </a:lnTo>
                  <a:lnTo>
                    <a:pt x="302" y="458"/>
                  </a:lnTo>
                  <a:lnTo>
                    <a:pt x="302" y="453"/>
                  </a:lnTo>
                  <a:lnTo>
                    <a:pt x="302" y="453"/>
                  </a:lnTo>
                  <a:lnTo>
                    <a:pt x="306" y="448"/>
                  </a:lnTo>
                  <a:lnTo>
                    <a:pt x="302" y="448"/>
                  </a:lnTo>
                  <a:lnTo>
                    <a:pt x="302" y="444"/>
                  </a:lnTo>
                  <a:lnTo>
                    <a:pt x="292" y="448"/>
                  </a:lnTo>
                  <a:lnTo>
                    <a:pt x="288" y="448"/>
                  </a:lnTo>
                  <a:lnTo>
                    <a:pt x="288" y="444"/>
                  </a:lnTo>
                  <a:lnTo>
                    <a:pt x="283" y="444"/>
                  </a:lnTo>
                  <a:lnTo>
                    <a:pt x="283" y="439"/>
                  </a:lnTo>
                  <a:lnTo>
                    <a:pt x="283" y="435"/>
                  </a:lnTo>
                  <a:lnTo>
                    <a:pt x="283" y="435"/>
                  </a:lnTo>
                  <a:lnTo>
                    <a:pt x="279" y="435"/>
                  </a:lnTo>
                  <a:lnTo>
                    <a:pt x="279" y="430"/>
                  </a:lnTo>
                  <a:lnTo>
                    <a:pt x="279" y="430"/>
                  </a:lnTo>
                  <a:lnTo>
                    <a:pt x="279" y="435"/>
                  </a:lnTo>
                  <a:lnTo>
                    <a:pt x="274" y="435"/>
                  </a:lnTo>
                  <a:lnTo>
                    <a:pt x="270" y="435"/>
                  </a:lnTo>
                  <a:lnTo>
                    <a:pt x="260" y="435"/>
                  </a:lnTo>
                  <a:lnTo>
                    <a:pt x="256" y="430"/>
                  </a:lnTo>
                  <a:lnTo>
                    <a:pt x="256" y="426"/>
                  </a:lnTo>
                  <a:lnTo>
                    <a:pt x="251" y="426"/>
                  </a:lnTo>
                  <a:lnTo>
                    <a:pt x="247" y="421"/>
                  </a:lnTo>
                  <a:lnTo>
                    <a:pt x="238" y="416"/>
                  </a:lnTo>
                  <a:lnTo>
                    <a:pt x="238" y="412"/>
                  </a:lnTo>
                  <a:lnTo>
                    <a:pt x="238" y="412"/>
                  </a:lnTo>
                  <a:lnTo>
                    <a:pt x="233" y="412"/>
                  </a:lnTo>
                  <a:lnTo>
                    <a:pt x="233" y="407"/>
                  </a:lnTo>
                  <a:lnTo>
                    <a:pt x="228" y="403"/>
                  </a:lnTo>
                  <a:lnTo>
                    <a:pt x="224" y="398"/>
                  </a:lnTo>
                  <a:lnTo>
                    <a:pt x="224" y="394"/>
                  </a:lnTo>
                  <a:lnTo>
                    <a:pt x="219" y="389"/>
                  </a:lnTo>
                  <a:lnTo>
                    <a:pt x="215" y="389"/>
                  </a:lnTo>
                  <a:lnTo>
                    <a:pt x="215" y="384"/>
                  </a:lnTo>
                  <a:lnTo>
                    <a:pt x="219" y="371"/>
                  </a:lnTo>
                  <a:lnTo>
                    <a:pt x="219" y="366"/>
                  </a:lnTo>
                  <a:lnTo>
                    <a:pt x="224" y="366"/>
                  </a:lnTo>
                  <a:lnTo>
                    <a:pt x="219" y="362"/>
                  </a:lnTo>
                  <a:lnTo>
                    <a:pt x="219" y="357"/>
                  </a:lnTo>
                  <a:lnTo>
                    <a:pt x="215" y="357"/>
                  </a:lnTo>
                  <a:lnTo>
                    <a:pt x="210" y="362"/>
                  </a:lnTo>
                  <a:lnTo>
                    <a:pt x="192" y="362"/>
                  </a:lnTo>
                  <a:lnTo>
                    <a:pt x="183" y="366"/>
                  </a:lnTo>
                  <a:lnTo>
                    <a:pt x="174" y="366"/>
                  </a:lnTo>
                  <a:lnTo>
                    <a:pt x="169" y="366"/>
                  </a:lnTo>
                  <a:lnTo>
                    <a:pt x="169" y="362"/>
                  </a:lnTo>
                  <a:lnTo>
                    <a:pt x="164" y="362"/>
                  </a:lnTo>
                  <a:lnTo>
                    <a:pt x="160" y="357"/>
                  </a:lnTo>
                  <a:lnTo>
                    <a:pt x="155" y="357"/>
                  </a:lnTo>
                  <a:lnTo>
                    <a:pt x="155" y="352"/>
                  </a:lnTo>
                  <a:lnTo>
                    <a:pt x="151" y="352"/>
                  </a:lnTo>
                  <a:lnTo>
                    <a:pt x="151" y="352"/>
                  </a:lnTo>
                  <a:lnTo>
                    <a:pt x="146" y="352"/>
                  </a:lnTo>
                  <a:lnTo>
                    <a:pt x="137" y="348"/>
                  </a:lnTo>
                  <a:lnTo>
                    <a:pt x="132" y="348"/>
                  </a:lnTo>
                  <a:lnTo>
                    <a:pt x="128" y="343"/>
                  </a:lnTo>
                  <a:lnTo>
                    <a:pt x="128" y="343"/>
                  </a:lnTo>
                  <a:lnTo>
                    <a:pt x="128" y="343"/>
                  </a:lnTo>
                  <a:lnTo>
                    <a:pt x="123" y="343"/>
                  </a:lnTo>
                  <a:lnTo>
                    <a:pt x="110" y="339"/>
                  </a:lnTo>
                  <a:lnTo>
                    <a:pt x="105" y="334"/>
                  </a:lnTo>
                  <a:lnTo>
                    <a:pt x="105" y="334"/>
                  </a:lnTo>
                  <a:lnTo>
                    <a:pt x="105" y="330"/>
                  </a:lnTo>
                  <a:lnTo>
                    <a:pt x="100" y="325"/>
                  </a:lnTo>
                  <a:lnTo>
                    <a:pt x="96" y="320"/>
                  </a:lnTo>
                  <a:lnTo>
                    <a:pt x="96" y="316"/>
                  </a:lnTo>
                  <a:lnTo>
                    <a:pt x="96" y="311"/>
                  </a:lnTo>
                  <a:lnTo>
                    <a:pt x="96" y="307"/>
                  </a:lnTo>
                  <a:lnTo>
                    <a:pt x="96" y="302"/>
                  </a:lnTo>
                  <a:lnTo>
                    <a:pt x="96" y="298"/>
                  </a:lnTo>
                  <a:lnTo>
                    <a:pt x="100" y="298"/>
                  </a:lnTo>
                  <a:lnTo>
                    <a:pt x="100" y="293"/>
                  </a:lnTo>
                  <a:lnTo>
                    <a:pt x="105" y="288"/>
                  </a:lnTo>
                  <a:lnTo>
                    <a:pt x="105" y="288"/>
                  </a:lnTo>
                  <a:lnTo>
                    <a:pt x="105" y="284"/>
                  </a:lnTo>
                  <a:lnTo>
                    <a:pt x="110" y="284"/>
                  </a:lnTo>
                  <a:lnTo>
                    <a:pt x="119" y="279"/>
                  </a:lnTo>
                  <a:lnTo>
                    <a:pt x="119" y="279"/>
                  </a:lnTo>
                  <a:lnTo>
                    <a:pt x="123" y="270"/>
                  </a:lnTo>
                  <a:lnTo>
                    <a:pt x="119" y="270"/>
                  </a:lnTo>
                  <a:lnTo>
                    <a:pt x="119" y="266"/>
                  </a:lnTo>
                  <a:lnTo>
                    <a:pt x="114" y="266"/>
                  </a:lnTo>
                  <a:lnTo>
                    <a:pt x="110" y="261"/>
                  </a:lnTo>
                  <a:lnTo>
                    <a:pt x="105" y="261"/>
                  </a:lnTo>
                  <a:lnTo>
                    <a:pt x="105" y="261"/>
                  </a:lnTo>
                  <a:lnTo>
                    <a:pt x="100" y="266"/>
                  </a:lnTo>
                  <a:lnTo>
                    <a:pt x="96" y="266"/>
                  </a:lnTo>
                  <a:lnTo>
                    <a:pt x="87" y="266"/>
                  </a:lnTo>
                  <a:lnTo>
                    <a:pt x="87" y="270"/>
                  </a:lnTo>
                  <a:lnTo>
                    <a:pt x="82" y="270"/>
                  </a:lnTo>
                  <a:lnTo>
                    <a:pt x="82" y="270"/>
                  </a:lnTo>
                  <a:lnTo>
                    <a:pt x="82" y="275"/>
                  </a:lnTo>
                  <a:lnTo>
                    <a:pt x="78" y="275"/>
                  </a:lnTo>
                  <a:lnTo>
                    <a:pt x="73" y="275"/>
                  </a:lnTo>
                  <a:lnTo>
                    <a:pt x="73" y="279"/>
                  </a:lnTo>
                  <a:lnTo>
                    <a:pt x="68" y="279"/>
                  </a:lnTo>
                  <a:lnTo>
                    <a:pt x="64" y="279"/>
                  </a:lnTo>
                  <a:lnTo>
                    <a:pt x="64" y="270"/>
                  </a:lnTo>
                  <a:lnTo>
                    <a:pt x="64" y="266"/>
                  </a:lnTo>
                  <a:lnTo>
                    <a:pt x="68" y="261"/>
                  </a:lnTo>
                  <a:lnTo>
                    <a:pt x="73" y="256"/>
                  </a:lnTo>
                  <a:lnTo>
                    <a:pt x="73" y="256"/>
                  </a:lnTo>
                  <a:lnTo>
                    <a:pt x="78" y="256"/>
                  </a:lnTo>
                  <a:lnTo>
                    <a:pt x="78" y="252"/>
                  </a:lnTo>
                  <a:lnTo>
                    <a:pt x="78" y="247"/>
                  </a:lnTo>
                  <a:lnTo>
                    <a:pt x="82" y="243"/>
                  </a:lnTo>
                  <a:lnTo>
                    <a:pt x="82" y="234"/>
                  </a:lnTo>
                  <a:lnTo>
                    <a:pt x="82" y="229"/>
                  </a:lnTo>
                  <a:lnTo>
                    <a:pt x="82" y="224"/>
                  </a:lnTo>
                  <a:lnTo>
                    <a:pt x="82" y="220"/>
                  </a:lnTo>
                  <a:lnTo>
                    <a:pt x="78" y="215"/>
                  </a:lnTo>
                  <a:lnTo>
                    <a:pt x="73" y="215"/>
                  </a:lnTo>
                  <a:lnTo>
                    <a:pt x="68" y="215"/>
                  </a:lnTo>
                  <a:lnTo>
                    <a:pt x="59" y="220"/>
                  </a:lnTo>
                  <a:lnTo>
                    <a:pt x="59" y="220"/>
                  </a:lnTo>
                  <a:lnTo>
                    <a:pt x="55" y="220"/>
                  </a:lnTo>
                  <a:lnTo>
                    <a:pt x="50" y="220"/>
                  </a:lnTo>
                  <a:lnTo>
                    <a:pt x="46" y="220"/>
                  </a:lnTo>
                  <a:lnTo>
                    <a:pt x="46" y="215"/>
                  </a:lnTo>
                  <a:lnTo>
                    <a:pt x="41" y="215"/>
                  </a:lnTo>
                  <a:lnTo>
                    <a:pt x="41" y="211"/>
                  </a:lnTo>
                  <a:lnTo>
                    <a:pt x="41" y="202"/>
                  </a:lnTo>
                  <a:lnTo>
                    <a:pt x="41" y="197"/>
                  </a:lnTo>
                  <a:lnTo>
                    <a:pt x="41" y="192"/>
                  </a:lnTo>
                  <a:lnTo>
                    <a:pt x="36" y="192"/>
                  </a:lnTo>
                  <a:lnTo>
                    <a:pt x="36" y="188"/>
                  </a:lnTo>
                  <a:lnTo>
                    <a:pt x="32" y="188"/>
                  </a:lnTo>
                  <a:lnTo>
                    <a:pt x="18" y="188"/>
                  </a:lnTo>
                  <a:lnTo>
                    <a:pt x="18" y="188"/>
                  </a:lnTo>
                  <a:lnTo>
                    <a:pt x="14" y="183"/>
                  </a:lnTo>
                  <a:lnTo>
                    <a:pt x="14" y="179"/>
                  </a:lnTo>
                  <a:lnTo>
                    <a:pt x="9" y="174"/>
                  </a:lnTo>
                  <a:lnTo>
                    <a:pt x="9" y="170"/>
                  </a:lnTo>
                  <a:lnTo>
                    <a:pt x="4" y="170"/>
                  </a:lnTo>
                  <a:lnTo>
                    <a:pt x="4" y="165"/>
                  </a:lnTo>
                  <a:lnTo>
                    <a:pt x="0" y="151"/>
                  </a:lnTo>
                  <a:lnTo>
                    <a:pt x="0" y="147"/>
                  </a:lnTo>
                  <a:lnTo>
                    <a:pt x="0" y="147"/>
                  </a:lnTo>
                  <a:lnTo>
                    <a:pt x="4" y="147"/>
                  </a:lnTo>
                  <a:lnTo>
                    <a:pt x="4" y="142"/>
                  </a:lnTo>
                  <a:lnTo>
                    <a:pt x="4" y="138"/>
                  </a:lnTo>
                  <a:lnTo>
                    <a:pt x="9" y="138"/>
                  </a:lnTo>
                  <a:lnTo>
                    <a:pt x="14" y="133"/>
                  </a:lnTo>
                  <a:lnTo>
                    <a:pt x="18" y="133"/>
                  </a:lnTo>
                  <a:lnTo>
                    <a:pt x="18" y="128"/>
                  </a:lnTo>
                  <a:lnTo>
                    <a:pt x="18" y="128"/>
                  </a:lnTo>
                  <a:lnTo>
                    <a:pt x="18" y="124"/>
                  </a:lnTo>
                  <a:lnTo>
                    <a:pt x="23" y="124"/>
                  </a:lnTo>
                  <a:lnTo>
                    <a:pt x="23" y="124"/>
                  </a:lnTo>
                  <a:lnTo>
                    <a:pt x="27" y="124"/>
                  </a:lnTo>
                  <a:lnTo>
                    <a:pt x="32" y="119"/>
                  </a:lnTo>
                  <a:lnTo>
                    <a:pt x="36" y="115"/>
                  </a:lnTo>
                  <a:lnTo>
                    <a:pt x="36" y="110"/>
                  </a:lnTo>
                  <a:lnTo>
                    <a:pt x="41" y="110"/>
                  </a:lnTo>
                  <a:lnTo>
                    <a:pt x="41" y="106"/>
                  </a:lnTo>
                  <a:lnTo>
                    <a:pt x="41" y="106"/>
                  </a:lnTo>
                  <a:lnTo>
                    <a:pt x="46" y="96"/>
                  </a:lnTo>
                  <a:lnTo>
                    <a:pt x="46" y="92"/>
                  </a:lnTo>
                  <a:lnTo>
                    <a:pt x="50" y="92"/>
                  </a:lnTo>
                  <a:lnTo>
                    <a:pt x="55" y="87"/>
                  </a:lnTo>
                  <a:lnTo>
                    <a:pt x="59" y="83"/>
                  </a:lnTo>
                  <a:lnTo>
                    <a:pt x="59" y="83"/>
                  </a:lnTo>
                  <a:lnTo>
                    <a:pt x="64" y="83"/>
                  </a:lnTo>
                  <a:lnTo>
                    <a:pt x="68" y="83"/>
                  </a:lnTo>
                  <a:lnTo>
                    <a:pt x="73" y="83"/>
                  </a:lnTo>
                  <a:lnTo>
                    <a:pt x="78" y="83"/>
                  </a:lnTo>
                  <a:lnTo>
                    <a:pt x="82" y="83"/>
                  </a:lnTo>
                  <a:lnTo>
                    <a:pt x="82" y="83"/>
                  </a:lnTo>
                  <a:lnTo>
                    <a:pt x="87" y="83"/>
                  </a:lnTo>
                  <a:lnTo>
                    <a:pt x="87" y="87"/>
                  </a:lnTo>
                  <a:lnTo>
                    <a:pt x="91" y="87"/>
                  </a:lnTo>
                  <a:lnTo>
                    <a:pt x="96" y="92"/>
                  </a:lnTo>
                  <a:lnTo>
                    <a:pt x="100" y="96"/>
                  </a:lnTo>
                  <a:lnTo>
                    <a:pt x="105" y="101"/>
                  </a:lnTo>
                  <a:lnTo>
                    <a:pt x="105" y="101"/>
                  </a:lnTo>
                  <a:lnTo>
                    <a:pt x="110" y="106"/>
                  </a:lnTo>
                  <a:lnTo>
                    <a:pt x="114" y="106"/>
                  </a:lnTo>
                  <a:lnTo>
                    <a:pt x="119" y="106"/>
                  </a:lnTo>
                  <a:lnTo>
                    <a:pt x="119" y="110"/>
                  </a:lnTo>
                  <a:lnTo>
                    <a:pt x="123" y="110"/>
                  </a:lnTo>
                  <a:lnTo>
                    <a:pt x="128" y="115"/>
                  </a:lnTo>
                  <a:lnTo>
                    <a:pt x="132" y="119"/>
                  </a:lnTo>
                  <a:lnTo>
                    <a:pt x="137" y="119"/>
                  </a:lnTo>
                  <a:lnTo>
                    <a:pt x="142" y="119"/>
                  </a:lnTo>
                  <a:lnTo>
                    <a:pt x="146" y="119"/>
                  </a:lnTo>
                  <a:lnTo>
                    <a:pt x="146" y="124"/>
                  </a:lnTo>
                  <a:lnTo>
                    <a:pt x="151" y="124"/>
                  </a:lnTo>
                  <a:lnTo>
                    <a:pt x="155" y="124"/>
                  </a:lnTo>
                  <a:lnTo>
                    <a:pt x="160" y="124"/>
                  </a:lnTo>
                  <a:lnTo>
                    <a:pt x="174" y="124"/>
                  </a:lnTo>
                  <a:lnTo>
                    <a:pt x="178" y="124"/>
                  </a:lnTo>
                  <a:lnTo>
                    <a:pt x="183" y="124"/>
                  </a:lnTo>
                  <a:lnTo>
                    <a:pt x="187" y="124"/>
                  </a:lnTo>
                  <a:lnTo>
                    <a:pt x="192" y="124"/>
                  </a:lnTo>
                  <a:lnTo>
                    <a:pt x="192" y="124"/>
                  </a:lnTo>
                  <a:lnTo>
                    <a:pt x="192" y="128"/>
                  </a:lnTo>
                  <a:lnTo>
                    <a:pt x="196" y="128"/>
                  </a:lnTo>
                  <a:lnTo>
                    <a:pt x="201" y="128"/>
                  </a:lnTo>
                  <a:lnTo>
                    <a:pt x="206" y="124"/>
                  </a:lnTo>
                  <a:lnTo>
                    <a:pt x="215" y="124"/>
                  </a:lnTo>
                  <a:lnTo>
                    <a:pt x="224" y="124"/>
                  </a:lnTo>
                  <a:lnTo>
                    <a:pt x="228" y="124"/>
                  </a:lnTo>
                  <a:lnTo>
                    <a:pt x="233" y="124"/>
                  </a:lnTo>
                  <a:lnTo>
                    <a:pt x="247" y="124"/>
                  </a:lnTo>
                  <a:lnTo>
                    <a:pt x="256" y="124"/>
                  </a:lnTo>
                  <a:lnTo>
                    <a:pt x="260" y="128"/>
                  </a:lnTo>
                  <a:lnTo>
                    <a:pt x="260" y="128"/>
                  </a:lnTo>
                  <a:lnTo>
                    <a:pt x="265" y="128"/>
                  </a:lnTo>
                  <a:lnTo>
                    <a:pt x="274" y="128"/>
                  </a:lnTo>
                  <a:lnTo>
                    <a:pt x="279" y="128"/>
                  </a:lnTo>
                  <a:lnTo>
                    <a:pt x="283" y="128"/>
                  </a:lnTo>
                  <a:lnTo>
                    <a:pt x="288" y="128"/>
                  </a:lnTo>
                  <a:lnTo>
                    <a:pt x="288" y="124"/>
                  </a:lnTo>
                  <a:lnTo>
                    <a:pt x="288" y="124"/>
                  </a:lnTo>
                  <a:lnTo>
                    <a:pt x="292" y="124"/>
                  </a:lnTo>
                  <a:lnTo>
                    <a:pt x="292" y="110"/>
                  </a:lnTo>
                  <a:lnTo>
                    <a:pt x="292" y="106"/>
                  </a:lnTo>
                  <a:lnTo>
                    <a:pt x="292" y="96"/>
                  </a:lnTo>
                  <a:lnTo>
                    <a:pt x="297" y="92"/>
                  </a:lnTo>
                  <a:lnTo>
                    <a:pt x="297" y="87"/>
                  </a:lnTo>
                  <a:lnTo>
                    <a:pt x="297" y="83"/>
                  </a:lnTo>
                  <a:lnTo>
                    <a:pt x="297" y="74"/>
                  </a:lnTo>
                  <a:lnTo>
                    <a:pt x="297" y="69"/>
                  </a:lnTo>
                  <a:lnTo>
                    <a:pt x="302" y="64"/>
                  </a:lnTo>
                  <a:lnTo>
                    <a:pt x="302" y="60"/>
                  </a:lnTo>
                  <a:lnTo>
                    <a:pt x="302" y="60"/>
                  </a:lnTo>
                  <a:lnTo>
                    <a:pt x="302" y="60"/>
                  </a:lnTo>
                  <a:lnTo>
                    <a:pt x="302" y="55"/>
                  </a:lnTo>
                  <a:lnTo>
                    <a:pt x="306" y="51"/>
                  </a:lnTo>
                  <a:lnTo>
                    <a:pt x="306" y="46"/>
                  </a:lnTo>
                  <a:lnTo>
                    <a:pt x="311" y="46"/>
                  </a:lnTo>
                  <a:lnTo>
                    <a:pt x="311" y="42"/>
                  </a:lnTo>
                  <a:lnTo>
                    <a:pt x="315" y="37"/>
                  </a:lnTo>
                  <a:lnTo>
                    <a:pt x="315" y="37"/>
                  </a:lnTo>
                  <a:lnTo>
                    <a:pt x="320" y="32"/>
                  </a:lnTo>
                  <a:lnTo>
                    <a:pt x="320" y="23"/>
                  </a:lnTo>
                  <a:lnTo>
                    <a:pt x="324" y="19"/>
                  </a:lnTo>
                  <a:lnTo>
                    <a:pt x="324" y="14"/>
                  </a:lnTo>
                  <a:lnTo>
                    <a:pt x="324" y="14"/>
                  </a:lnTo>
                  <a:lnTo>
                    <a:pt x="324" y="10"/>
                  </a:lnTo>
                  <a:lnTo>
                    <a:pt x="338" y="5"/>
                  </a:lnTo>
                  <a:lnTo>
                    <a:pt x="343" y="0"/>
                  </a:lnTo>
                  <a:lnTo>
                    <a:pt x="347" y="0"/>
                  </a:lnTo>
                  <a:lnTo>
                    <a:pt x="347" y="5"/>
                  </a:lnTo>
                  <a:lnTo>
                    <a:pt x="352" y="5"/>
                  </a:lnTo>
                  <a:lnTo>
                    <a:pt x="356" y="5"/>
                  </a:lnTo>
                  <a:lnTo>
                    <a:pt x="366" y="10"/>
                  </a:lnTo>
                  <a:lnTo>
                    <a:pt x="370" y="10"/>
                  </a:lnTo>
                  <a:lnTo>
                    <a:pt x="370" y="14"/>
                  </a:lnTo>
                  <a:lnTo>
                    <a:pt x="375" y="14"/>
                  </a:lnTo>
                  <a:lnTo>
                    <a:pt x="375" y="14"/>
                  </a:lnTo>
                  <a:lnTo>
                    <a:pt x="379" y="19"/>
                  </a:lnTo>
                  <a:lnTo>
                    <a:pt x="384" y="19"/>
                  </a:lnTo>
                  <a:lnTo>
                    <a:pt x="388" y="23"/>
                  </a:lnTo>
                  <a:lnTo>
                    <a:pt x="388" y="28"/>
                  </a:lnTo>
                  <a:lnTo>
                    <a:pt x="388" y="32"/>
                  </a:lnTo>
                  <a:lnTo>
                    <a:pt x="393" y="37"/>
                  </a:lnTo>
                  <a:lnTo>
                    <a:pt x="393" y="37"/>
                  </a:lnTo>
                  <a:lnTo>
                    <a:pt x="393" y="42"/>
                  </a:lnTo>
                  <a:lnTo>
                    <a:pt x="398" y="46"/>
                  </a:lnTo>
                  <a:lnTo>
                    <a:pt x="398" y="51"/>
                  </a:lnTo>
                  <a:lnTo>
                    <a:pt x="402" y="55"/>
                  </a:lnTo>
                  <a:lnTo>
                    <a:pt x="407" y="60"/>
                  </a:lnTo>
                  <a:lnTo>
                    <a:pt x="407" y="60"/>
                  </a:lnTo>
                  <a:lnTo>
                    <a:pt x="407" y="69"/>
                  </a:lnTo>
                  <a:lnTo>
                    <a:pt x="407" y="74"/>
                  </a:lnTo>
                  <a:lnTo>
                    <a:pt x="411" y="74"/>
                  </a:lnTo>
                  <a:lnTo>
                    <a:pt x="411" y="83"/>
                  </a:lnTo>
                  <a:lnTo>
                    <a:pt x="411" y="83"/>
                  </a:lnTo>
                  <a:lnTo>
                    <a:pt x="411" y="87"/>
                  </a:lnTo>
                  <a:lnTo>
                    <a:pt x="411" y="92"/>
                  </a:lnTo>
                  <a:lnTo>
                    <a:pt x="416" y="106"/>
                  </a:lnTo>
                  <a:lnTo>
                    <a:pt x="416" y="106"/>
                  </a:lnTo>
                  <a:lnTo>
                    <a:pt x="420" y="110"/>
                  </a:lnTo>
                  <a:lnTo>
                    <a:pt x="420" y="115"/>
                  </a:lnTo>
                  <a:lnTo>
                    <a:pt x="425" y="115"/>
                  </a:lnTo>
                  <a:lnTo>
                    <a:pt x="430" y="119"/>
                  </a:lnTo>
                  <a:lnTo>
                    <a:pt x="434" y="124"/>
                  </a:lnTo>
                  <a:lnTo>
                    <a:pt x="434" y="124"/>
                  </a:lnTo>
                  <a:lnTo>
                    <a:pt x="434" y="124"/>
                  </a:lnTo>
                  <a:lnTo>
                    <a:pt x="439" y="124"/>
                  </a:lnTo>
                  <a:lnTo>
                    <a:pt x="439" y="128"/>
                  </a:lnTo>
                  <a:lnTo>
                    <a:pt x="448" y="133"/>
                  </a:lnTo>
                  <a:lnTo>
                    <a:pt x="448" y="138"/>
                  </a:lnTo>
                  <a:lnTo>
                    <a:pt x="452" y="138"/>
                  </a:lnTo>
                  <a:lnTo>
                    <a:pt x="452" y="142"/>
                  </a:lnTo>
                  <a:lnTo>
                    <a:pt x="457" y="142"/>
                  </a:lnTo>
                  <a:lnTo>
                    <a:pt x="462" y="147"/>
                  </a:lnTo>
                  <a:lnTo>
                    <a:pt x="462" y="147"/>
                  </a:lnTo>
                  <a:lnTo>
                    <a:pt x="466" y="147"/>
                  </a:lnTo>
                  <a:lnTo>
                    <a:pt x="471" y="147"/>
                  </a:lnTo>
                  <a:lnTo>
                    <a:pt x="471" y="151"/>
                  </a:lnTo>
                  <a:lnTo>
                    <a:pt x="475" y="151"/>
                  </a:lnTo>
                  <a:lnTo>
                    <a:pt x="480" y="156"/>
                  </a:lnTo>
                  <a:lnTo>
                    <a:pt x="480" y="156"/>
                  </a:lnTo>
                  <a:lnTo>
                    <a:pt x="480" y="160"/>
                  </a:lnTo>
                  <a:lnTo>
                    <a:pt x="484" y="165"/>
                  </a:lnTo>
                  <a:lnTo>
                    <a:pt x="489" y="170"/>
                  </a:lnTo>
                  <a:lnTo>
                    <a:pt x="494" y="170"/>
                  </a:lnTo>
                  <a:lnTo>
                    <a:pt x="498" y="174"/>
                  </a:lnTo>
                  <a:lnTo>
                    <a:pt x="498" y="179"/>
                  </a:lnTo>
                  <a:lnTo>
                    <a:pt x="498" y="179"/>
                  </a:lnTo>
                  <a:lnTo>
                    <a:pt x="498" y="183"/>
                  </a:lnTo>
                  <a:lnTo>
                    <a:pt x="498" y="188"/>
                  </a:lnTo>
                  <a:lnTo>
                    <a:pt x="503" y="188"/>
                  </a:lnTo>
                  <a:lnTo>
                    <a:pt x="507" y="192"/>
                  </a:lnTo>
                  <a:lnTo>
                    <a:pt x="512" y="192"/>
                  </a:lnTo>
                  <a:lnTo>
                    <a:pt x="516" y="197"/>
                  </a:lnTo>
                  <a:lnTo>
                    <a:pt x="521" y="192"/>
                  </a:lnTo>
                  <a:lnTo>
                    <a:pt x="521" y="192"/>
                  </a:lnTo>
                  <a:lnTo>
                    <a:pt x="526" y="192"/>
                  </a:lnTo>
                  <a:lnTo>
                    <a:pt x="526" y="188"/>
                  </a:lnTo>
                  <a:lnTo>
                    <a:pt x="530" y="188"/>
                  </a:lnTo>
                  <a:lnTo>
                    <a:pt x="530" y="183"/>
                  </a:lnTo>
                  <a:lnTo>
                    <a:pt x="535" y="179"/>
                  </a:lnTo>
                  <a:lnTo>
                    <a:pt x="535" y="174"/>
                  </a:lnTo>
                  <a:lnTo>
                    <a:pt x="539" y="174"/>
                  </a:lnTo>
                  <a:lnTo>
                    <a:pt x="544" y="170"/>
                  </a:lnTo>
                  <a:lnTo>
                    <a:pt x="544" y="165"/>
                  </a:lnTo>
                  <a:lnTo>
                    <a:pt x="544" y="156"/>
                  </a:lnTo>
                  <a:lnTo>
                    <a:pt x="544" y="151"/>
                  </a:lnTo>
                  <a:lnTo>
                    <a:pt x="548" y="151"/>
                  </a:lnTo>
                  <a:lnTo>
                    <a:pt x="548" y="147"/>
                  </a:lnTo>
                  <a:lnTo>
                    <a:pt x="553" y="147"/>
                  </a:lnTo>
                  <a:lnTo>
                    <a:pt x="558" y="147"/>
                  </a:lnTo>
                  <a:lnTo>
                    <a:pt x="558" y="142"/>
                  </a:lnTo>
                  <a:lnTo>
                    <a:pt x="562" y="138"/>
                  </a:lnTo>
                  <a:lnTo>
                    <a:pt x="562" y="133"/>
                  </a:lnTo>
                  <a:lnTo>
                    <a:pt x="567" y="133"/>
                  </a:lnTo>
                  <a:lnTo>
                    <a:pt x="567" y="128"/>
                  </a:lnTo>
                  <a:lnTo>
                    <a:pt x="567" y="124"/>
                  </a:lnTo>
                  <a:lnTo>
                    <a:pt x="567" y="119"/>
                  </a:lnTo>
                  <a:lnTo>
                    <a:pt x="571" y="119"/>
                  </a:lnTo>
                  <a:lnTo>
                    <a:pt x="576" y="119"/>
                  </a:lnTo>
                  <a:lnTo>
                    <a:pt x="580" y="119"/>
                  </a:lnTo>
                  <a:lnTo>
                    <a:pt x="585" y="119"/>
                  </a:lnTo>
                  <a:lnTo>
                    <a:pt x="590" y="119"/>
                  </a:lnTo>
                  <a:lnTo>
                    <a:pt x="590" y="119"/>
                  </a:lnTo>
                  <a:lnTo>
                    <a:pt x="603" y="119"/>
                  </a:lnTo>
                  <a:lnTo>
                    <a:pt x="608" y="119"/>
                  </a:lnTo>
                  <a:lnTo>
                    <a:pt x="612" y="119"/>
                  </a:lnTo>
                  <a:lnTo>
                    <a:pt x="631" y="119"/>
                  </a:lnTo>
                  <a:lnTo>
                    <a:pt x="635" y="119"/>
                  </a:lnTo>
                  <a:lnTo>
                    <a:pt x="631" y="128"/>
                  </a:lnTo>
                  <a:lnTo>
                    <a:pt x="626" y="133"/>
                  </a:lnTo>
                  <a:lnTo>
                    <a:pt x="617" y="142"/>
                  </a:lnTo>
                  <a:lnTo>
                    <a:pt x="612" y="156"/>
                  </a:lnTo>
                  <a:lnTo>
                    <a:pt x="608" y="165"/>
                  </a:lnTo>
                  <a:lnTo>
                    <a:pt x="608" y="170"/>
                  </a:lnTo>
                  <a:lnTo>
                    <a:pt x="612" y="179"/>
                  </a:lnTo>
                  <a:lnTo>
                    <a:pt x="617" y="183"/>
                  </a:lnTo>
                  <a:lnTo>
                    <a:pt x="617" y="192"/>
                  </a:lnTo>
                  <a:lnTo>
                    <a:pt x="617" y="192"/>
                  </a:lnTo>
                  <a:lnTo>
                    <a:pt x="622" y="197"/>
                  </a:lnTo>
                  <a:lnTo>
                    <a:pt x="622" y="202"/>
                  </a:lnTo>
                  <a:lnTo>
                    <a:pt x="626" y="206"/>
                  </a:lnTo>
                  <a:lnTo>
                    <a:pt x="631" y="211"/>
                  </a:lnTo>
                  <a:lnTo>
                    <a:pt x="631" y="215"/>
                  </a:lnTo>
                  <a:lnTo>
                    <a:pt x="631" y="215"/>
                  </a:lnTo>
                  <a:lnTo>
                    <a:pt x="631" y="215"/>
                  </a:lnTo>
                  <a:lnTo>
                    <a:pt x="631" y="220"/>
                  </a:lnTo>
                  <a:lnTo>
                    <a:pt x="626" y="229"/>
                  </a:lnTo>
                  <a:lnTo>
                    <a:pt x="626" y="234"/>
                  </a:lnTo>
                  <a:lnTo>
                    <a:pt x="626" y="234"/>
                  </a:lnTo>
                  <a:lnTo>
                    <a:pt x="626" y="238"/>
                  </a:lnTo>
                  <a:lnTo>
                    <a:pt x="631" y="243"/>
                  </a:lnTo>
                  <a:lnTo>
                    <a:pt x="631" y="252"/>
                  </a:lnTo>
                  <a:lnTo>
                    <a:pt x="626" y="256"/>
                  </a:lnTo>
                  <a:lnTo>
                    <a:pt x="626" y="256"/>
                  </a:lnTo>
                  <a:lnTo>
                    <a:pt x="626" y="261"/>
                  </a:lnTo>
                  <a:lnTo>
                    <a:pt x="622" y="261"/>
                  </a:lnTo>
                  <a:lnTo>
                    <a:pt x="622" y="266"/>
                  </a:lnTo>
                  <a:lnTo>
                    <a:pt x="622" y="270"/>
                  </a:lnTo>
                  <a:lnTo>
                    <a:pt x="622" y="275"/>
                  </a:lnTo>
                  <a:lnTo>
                    <a:pt x="622" y="279"/>
                  </a:lnTo>
                  <a:lnTo>
                    <a:pt x="617" y="279"/>
                  </a:lnTo>
                  <a:lnTo>
                    <a:pt x="617" y="288"/>
                  </a:lnTo>
                  <a:lnTo>
                    <a:pt x="612" y="298"/>
                  </a:lnTo>
                  <a:lnTo>
                    <a:pt x="612" y="307"/>
                  </a:lnTo>
                  <a:lnTo>
                    <a:pt x="612" y="311"/>
                  </a:lnTo>
                  <a:lnTo>
                    <a:pt x="612" y="316"/>
                  </a:lnTo>
                  <a:lnTo>
                    <a:pt x="612" y="320"/>
                  </a:lnTo>
                  <a:lnTo>
                    <a:pt x="612" y="325"/>
                  </a:lnTo>
                  <a:lnTo>
                    <a:pt x="617" y="325"/>
                  </a:lnTo>
                  <a:lnTo>
                    <a:pt x="626" y="320"/>
                  </a:lnTo>
                  <a:lnTo>
                    <a:pt x="631" y="316"/>
                  </a:lnTo>
                  <a:lnTo>
                    <a:pt x="631" y="311"/>
                  </a:lnTo>
                  <a:lnTo>
                    <a:pt x="635" y="311"/>
                  </a:lnTo>
                  <a:lnTo>
                    <a:pt x="640" y="307"/>
                  </a:lnTo>
                  <a:lnTo>
                    <a:pt x="644" y="307"/>
                  </a:lnTo>
                  <a:lnTo>
                    <a:pt x="649" y="302"/>
                  </a:lnTo>
                  <a:lnTo>
                    <a:pt x="654" y="302"/>
                  </a:lnTo>
                  <a:lnTo>
                    <a:pt x="654" y="302"/>
                  </a:lnTo>
                  <a:lnTo>
                    <a:pt x="663" y="298"/>
                  </a:lnTo>
                  <a:lnTo>
                    <a:pt x="667" y="298"/>
                  </a:lnTo>
                  <a:lnTo>
                    <a:pt x="672" y="298"/>
                  </a:lnTo>
                  <a:lnTo>
                    <a:pt x="672" y="293"/>
                  </a:lnTo>
                  <a:lnTo>
                    <a:pt x="676" y="293"/>
                  </a:lnTo>
                  <a:lnTo>
                    <a:pt x="686" y="293"/>
                  </a:lnTo>
                  <a:lnTo>
                    <a:pt x="686" y="288"/>
                  </a:lnTo>
                  <a:lnTo>
                    <a:pt x="690" y="288"/>
                  </a:lnTo>
                  <a:lnTo>
                    <a:pt x="695" y="288"/>
                  </a:lnTo>
                  <a:lnTo>
                    <a:pt x="699" y="288"/>
                  </a:lnTo>
                  <a:lnTo>
                    <a:pt x="699" y="284"/>
                  </a:lnTo>
                  <a:lnTo>
                    <a:pt x="699" y="284"/>
                  </a:lnTo>
                  <a:lnTo>
                    <a:pt x="708" y="284"/>
                  </a:lnTo>
                  <a:lnTo>
                    <a:pt x="713" y="279"/>
                  </a:lnTo>
                  <a:lnTo>
                    <a:pt x="718" y="279"/>
                  </a:lnTo>
                  <a:lnTo>
                    <a:pt x="727" y="279"/>
                  </a:lnTo>
                  <a:lnTo>
                    <a:pt x="731" y="279"/>
                  </a:lnTo>
                  <a:lnTo>
                    <a:pt x="736" y="275"/>
                  </a:lnTo>
                  <a:lnTo>
                    <a:pt x="740" y="275"/>
                  </a:lnTo>
                  <a:lnTo>
                    <a:pt x="754" y="270"/>
                  </a:lnTo>
                  <a:lnTo>
                    <a:pt x="759" y="270"/>
                  </a:lnTo>
                  <a:lnTo>
                    <a:pt x="763" y="270"/>
                  </a:lnTo>
                  <a:lnTo>
                    <a:pt x="768" y="266"/>
                  </a:lnTo>
                  <a:lnTo>
                    <a:pt x="777" y="266"/>
                  </a:lnTo>
                  <a:lnTo>
                    <a:pt x="786" y="261"/>
                  </a:lnTo>
                  <a:lnTo>
                    <a:pt x="791" y="261"/>
                  </a:lnTo>
                  <a:lnTo>
                    <a:pt x="800" y="261"/>
                  </a:lnTo>
                  <a:lnTo>
                    <a:pt x="809" y="261"/>
                  </a:lnTo>
                  <a:lnTo>
                    <a:pt x="814" y="261"/>
                  </a:lnTo>
                  <a:lnTo>
                    <a:pt x="818" y="261"/>
                  </a:lnTo>
                  <a:lnTo>
                    <a:pt x="823" y="256"/>
                  </a:lnTo>
                  <a:lnTo>
                    <a:pt x="827" y="256"/>
                  </a:lnTo>
                  <a:lnTo>
                    <a:pt x="836" y="256"/>
                  </a:lnTo>
                  <a:lnTo>
                    <a:pt x="850" y="261"/>
                  </a:lnTo>
                  <a:lnTo>
                    <a:pt x="855" y="261"/>
                  </a:lnTo>
                  <a:lnTo>
                    <a:pt x="864" y="261"/>
                  </a:lnTo>
                  <a:lnTo>
                    <a:pt x="864" y="275"/>
                  </a:lnTo>
                  <a:lnTo>
                    <a:pt x="864" y="284"/>
                  </a:lnTo>
                  <a:lnTo>
                    <a:pt x="864" y="293"/>
                  </a:lnTo>
                  <a:lnTo>
                    <a:pt x="864" y="302"/>
                  </a:lnTo>
                  <a:lnTo>
                    <a:pt x="868" y="307"/>
                  </a:lnTo>
                  <a:lnTo>
                    <a:pt x="868" y="311"/>
                  </a:lnTo>
                  <a:lnTo>
                    <a:pt x="868" y="316"/>
                  </a:lnTo>
                  <a:lnTo>
                    <a:pt x="868" y="320"/>
                  </a:lnTo>
                  <a:lnTo>
                    <a:pt x="873" y="325"/>
                  </a:lnTo>
                  <a:lnTo>
                    <a:pt x="873" y="325"/>
                  </a:lnTo>
                  <a:lnTo>
                    <a:pt x="873" y="330"/>
                  </a:lnTo>
                  <a:lnTo>
                    <a:pt x="878" y="334"/>
                  </a:lnTo>
                  <a:lnTo>
                    <a:pt x="882" y="343"/>
                  </a:lnTo>
                  <a:lnTo>
                    <a:pt x="882" y="343"/>
                  </a:lnTo>
                  <a:lnTo>
                    <a:pt x="887" y="348"/>
                  </a:lnTo>
                  <a:lnTo>
                    <a:pt x="896" y="357"/>
                  </a:lnTo>
                  <a:lnTo>
                    <a:pt x="896" y="362"/>
                  </a:lnTo>
                  <a:lnTo>
                    <a:pt x="896" y="366"/>
                  </a:lnTo>
                  <a:lnTo>
                    <a:pt x="896" y="366"/>
                  </a:lnTo>
                  <a:lnTo>
                    <a:pt x="896" y="371"/>
                  </a:lnTo>
                  <a:lnTo>
                    <a:pt x="896" y="371"/>
                  </a:lnTo>
                  <a:lnTo>
                    <a:pt x="900" y="375"/>
                  </a:lnTo>
                  <a:lnTo>
                    <a:pt x="900" y="380"/>
                  </a:lnTo>
                  <a:lnTo>
                    <a:pt x="905" y="389"/>
                  </a:lnTo>
                  <a:lnTo>
                    <a:pt x="900" y="412"/>
                  </a:lnTo>
                  <a:lnTo>
                    <a:pt x="900" y="421"/>
                  </a:lnTo>
                  <a:lnTo>
                    <a:pt x="900" y="439"/>
                  </a:lnTo>
                  <a:lnTo>
                    <a:pt x="905" y="453"/>
                  </a:lnTo>
                  <a:lnTo>
                    <a:pt x="905" y="471"/>
                  </a:lnTo>
                  <a:lnTo>
                    <a:pt x="910" y="476"/>
                  </a:lnTo>
                  <a:lnTo>
                    <a:pt x="910" y="480"/>
                  </a:lnTo>
                  <a:lnTo>
                    <a:pt x="910" y="485"/>
                  </a:lnTo>
                  <a:lnTo>
                    <a:pt x="914" y="490"/>
                  </a:lnTo>
                  <a:lnTo>
                    <a:pt x="914" y="494"/>
                  </a:lnTo>
                  <a:lnTo>
                    <a:pt x="923" y="499"/>
                  </a:lnTo>
                  <a:lnTo>
                    <a:pt x="928" y="503"/>
                  </a:lnTo>
                  <a:lnTo>
                    <a:pt x="932" y="503"/>
                  </a:lnTo>
                  <a:lnTo>
                    <a:pt x="937" y="508"/>
                  </a:lnTo>
                  <a:lnTo>
                    <a:pt x="937" y="508"/>
                  </a:lnTo>
                  <a:lnTo>
                    <a:pt x="937" y="512"/>
                  </a:lnTo>
                  <a:lnTo>
                    <a:pt x="942" y="517"/>
                  </a:lnTo>
                  <a:lnTo>
                    <a:pt x="937" y="522"/>
                  </a:lnTo>
                  <a:lnTo>
                    <a:pt x="937" y="526"/>
                  </a:lnTo>
                  <a:lnTo>
                    <a:pt x="937" y="526"/>
                  </a:lnTo>
                  <a:lnTo>
                    <a:pt x="937" y="531"/>
                  </a:lnTo>
                  <a:lnTo>
                    <a:pt x="937" y="535"/>
                  </a:lnTo>
                  <a:lnTo>
                    <a:pt x="932" y="544"/>
                  </a:lnTo>
                  <a:lnTo>
                    <a:pt x="928" y="544"/>
                  </a:lnTo>
                  <a:lnTo>
                    <a:pt x="928" y="549"/>
                  </a:lnTo>
                  <a:lnTo>
                    <a:pt x="928" y="554"/>
                  </a:lnTo>
                  <a:lnTo>
                    <a:pt x="923" y="554"/>
                  </a:lnTo>
                  <a:lnTo>
                    <a:pt x="923" y="558"/>
                  </a:lnTo>
                  <a:lnTo>
                    <a:pt x="923" y="563"/>
                  </a:lnTo>
                  <a:lnTo>
                    <a:pt x="923" y="563"/>
                  </a:lnTo>
                  <a:lnTo>
                    <a:pt x="919" y="567"/>
                  </a:lnTo>
                  <a:lnTo>
                    <a:pt x="919" y="572"/>
                  </a:lnTo>
                  <a:lnTo>
                    <a:pt x="919" y="576"/>
                  </a:lnTo>
                  <a:lnTo>
                    <a:pt x="914" y="576"/>
                  </a:lnTo>
                  <a:lnTo>
                    <a:pt x="914" y="581"/>
                  </a:lnTo>
                  <a:lnTo>
                    <a:pt x="914" y="586"/>
                  </a:lnTo>
                  <a:lnTo>
                    <a:pt x="910" y="586"/>
                  </a:lnTo>
                  <a:lnTo>
                    <a:pt x="905" y="586"/>
                  </a:lnTo>
                  <a:lnTo>
                    <a:pt x="900" y="586"/>
                  </a:lnTo>
                  <a:lnTo>
                    <a:pt x="896" y="590"/>
                  </a:lnTo>
                  <a:lnTo>
                    <a:pt x="896" y="590"/>
                  </a:lnTo>
                  <a:lnTo>
                    <a:pt x="891" y="590"/>
                  </a:lnTo>
                  <a:lnTo>
                    <a:pt x="887" y="595"/>
                  </a:lnTo>
                  <a:lnTo>
                    <a:pt x="882" y="595"/>
                  </a:lnTo>
                  <a:lnTo>
                    <a:pt x="878" y="595"/>
                  </a:lnTo>
                  <a:lnTo>
                    <a:pt x="873" y="599"/>
                  </a:lnTo>
                  <a:lnTo>
                    <a:pt x="873" y="599"/>
                  </a:lnTo>
                  <a:lnTo>
                    <a:pt x="868" y="599"/>
                  </a:lnTo>
                  <a:lnTo>
                    <a:pt x="864" y="604"/>
                  </a:lnTo>
                  <a:lnTo>
                    <a:pt x="855" y="608"/>
                  </a:lnTo>
                  <a:lnTo>
                    <a:pt x="850" y="613"/>
                  </a:lnTo>
                  <a:lnTo>
                    <a:pt x="850" y="618"/>
                  </a:lnTo>
                  <a:lnTo>
                    <a:pt x="850" y="627"/>
                  </a:lnTo>
                  <a:lnTo>
                    <a:pt x="846" y="627"/>
                  </a:lnTo>
                  <a:lnTo>
                    <a:pt x="846" y="631"/>
                  </a:lnTo>
                  <a:lnTo>
                    <a:pt x="846" y="636"/>
                  </a:lnTo>
                  <a:lnTo>
                    <a:pt x="846" y="640"/>
                  </a:lnTo>
                  <a:lnTo>
                    <a:pt x="846" y="645"/>
                  </a:lnTo>
                  <a:lnTo>
                    <a:pt x="846" y="650"/>
                  </a:lnTo>
                  <a:lnTo>
                    <a:pt x="846" y="654"/>
                  </a:lnTo>
                  <a:lnTo>
                    <a:pt x="832" y="650"/>
                  </a:lnTo>
                  <a:lnTo>
                    <a:pt x="827" y="645"/>
                  </a:lnTo>
                  <a:lnTo>
                    <a:pt x="827" y="640"/>
                  </a:lnTo>
                  <a:lnTo>
                    <a:pt x="818" y="631"/>
                  </a:lnTo>
                  <a:lnTo>
                    <a:pt x="814" y="627"/>
                  </a:lnTo>
                  <a:lnTo>
                    <a:pt x="809" y="622"/>
                  </a:lnTo>
                  <a:lnTo>
                    <a:pt x="804" y="618"/>
                  </a:lnTo>
                  <a:lnTo>
                    <a:pt x="804" y="613"/>
                  </a:lnTo>
                  <a:lnTo>
                    <a:pt x="800" y="613"/>
                  </a:lnTo>
                  <a:lnTo>
                    <a:pt x="795" y="613"/>
                  </a:lnTo>
                  <a:lnTo>
                    <a:pt x="791" y="613"/>
                  </a:lnTo>
                  <a:lnTo>
                    <a:pt x="782" y="613"/>
                  </a:lnTo>
                  <a:lnTo>
                    <a:pt x="777" y="613"/>
                  </a:lnTo>
                  <a:lnTo>
                    <a:pt x="777" y="618"/>
                  </a:lnTo>
                  <a:lnTo>
                    <a:pt x="772" y="618"/>
                  </a:lnTo>
                  <a:lnTo>
                    <a:pt x="768" y="622"/>
                  </a:lnTo>
                  <a:lnTo>
                    <a:pt x="763" y="627"/>
                  </a:lnTo>
                  <a:lnTo>
                    <a:pt x="763" y="631"/>
                  </a:lnTo>
                  <a:lnTo>
                    <a:pt x="763" y="631"/>
                  </a:lnTo>
                  <a:lnTo>
                    <a:pt x="759" y="631"/>
                  </a:lnTo>
                  <a:lnTo>
                    <a:pt x="754" y="636"/>
                  </a:lnTo>
                  <a:lnTo>
                    <a:pt x="750" y="640"/>
                  </a:lnTo>
                  <a:lnTo>
                    <a:pt x="745" y="640"/>
                  </a:lnTo>
                  <a:lnTo>
                    <a:pt x="745" y="645"/>
                  </a:lnTo>
                  <a:lnTo>
                    <a:pt x="740" y="645"/>
                  </a:lnTo>
                  <a:lnTo>
                    <a:pt x="740" y="650"/>
                  </a:lnTo>
                  <a:lnTo>
                    <a:pt x="736" y="654"/>
                  </a:lnTo>
                  <a:lnTo>
                    <a:pt x="731" y="654"/>
                  </a:lnTo>
                  <a:lnTo>
                    <a:pt x="731" y="659"/>
                  </a:lnTo>
                  <a:lnTo>
                    <a:pt x="727" y="663"/>
                  </a:lnTo>
                  <a:lnTo>
                    <a:pt x="718" y="672"/>
                  </a:lnTo>
                  <a:lnTo>
                    <a:pt x="718" y="672"/>
                  </a:lnTo>
                  <a:lnTo>
                    <a:pt x="713" y="677"/>
                  </a:lnTo>
                  <a:lnTo>
                    <a:pt x="704" y="682"/>
                  </a:lnTo>
                  <a:lnTo>
                    <a:pt x="699" y="686"/>
                  </a:lnTo>
                  <a:lnTo>
                    <a:pt x="699" y="695"/>
                  </a:lnTo>
                  <a:lnTo>
                    <a:pt x="695" y="695"/>
                  </a:lnTo>
                  <a:lnTo>
                    <a:pt x="686" y="700"/>
                  </a:lnTo>
                  <a:lnTo>
                    <a:pt x="681" y="704"/>
                  </a:lnTo>
                  <a:lnTo>
                    <a:pt x="676" y="704"/>
                  </a:lnTo>
                  <a:lnTo>
                    <a:pt x="672" y="714"/>
                  </a:lnTo>
                  <a:lnTo>
                    <a:pt x="667" y="714"/>
                  </a:lnTo>
                  <a:lnTo>
                    <a:pt x="667" y="718"/>
                  </a:lnTo>
                  <a:lnTo>
                    <a:pt x="663" y="718"/>
                  </a:lnTo>
                  <a:lnTo>
                    <a:pt x="663" y="718"/>
                  </a:lnTo>
                  <a:lnTo>
                    <a:pt x="658" y="723"/>
                  </a:lnTo>
                  <a:lnTo>
                    <a:pt x="658" y="727"/>
                  </a:lnTo>
                  <a:lnTo>
                    <a:pt x="654" y="732"/>
                  </a:lnTo>
                  <a:lnTo>
                    <a:pt x="644" y="736"/>
                  </a:lnTo>
                  <a:lnTo>
                    <a:pt x="635" y="736"/>
                  </a:lnTo>
                  <a:lnTo>
                    <a:pt x="631" y="736"/>
                  </a:lnTo>
                  <a:lnTo>
                    <a:pt x="631" y="736"/>
                  </a:lnTo>
                  <a:lnTo>
                    <a:pt x="626" y="732"/>
                  </a:lnTo>
                  <a:lnTo>
                    <a:pt x="626" y="727"/>
                  </a:lnTo>
                  <a:lnTo>
                    <a:pt x="626" y="723"/>
                  </a:lnTo>
                  <a:lnTo>
                    <a:pt x="622" y="723"/>
                  </a:lnTo>
                  <a:lnTo>
                    <a:pt x="622" y="718"/>
                  </a:lnTo>
                  <a:lnTo>
                    <a:pt x="617" y="714"/>
                  </a:lnTo>
                  <a:lnTo>
                    <a:pt x="612" y="709"/>
                  </a:lnTo>
                  <a:lnTo>
                    <a:pt x="608" y="709"/>
                  </a:lnTo>
                  <a:lnTo>
                    <a:pt x="608" y="714"/>
                  </a:lnTo>
                  <a:lnTo>
                    <a:pt x="608" y="718"/>
                  </a:lnTo>
                  <a:lnTo>
                    <a:pt x="608" y="727"/>
                  </a:lnTo>
                  <a:lnTo>
                    <a:pt x="603" y="732"/>
                  </a:lnTo>
                  <a:lnTo>
                    <a:pt x="603" y="736"/>
                  </a:lnTo>
                  <a:lnTo>
                    <a:pt x="603" y="736"/>
                  </a:lnTo>
                  <a:lnTo>
                    <a:pt x="599" y="741"/>
                  </a:lnTo>
                  <a:lnTo>
                    <a:pt x="599" y="741"/>
                  </a:lnTo>
                  <a:lnTo>
                    <a:pt x="594" y="746"/>
                  </a:lnTo>
                  <a:lnTo>
                    <a:pt x="590" y="746"/>
                  </a:lnTo>
                  <a:lnTo>
                    <a:pt x="585" y="759"/>
                  </a:lnTo>
                  <a:lnTo>
                    <a:pt x="580" y="764"/>
                  </a:lnTo>
                  <a:lnTo>
                    <a:pt x="576" y="764"/>
                  </a:lnTo>
                  <a:lnTo>
                    <a:pt x="576" y="764"/>
                  </a:lnTo>
                  <a:lnTo>
                    <a:pt x="571" y="764"/>
                  </a:lnTo>
                  <a:lnTo>
                    <a:pt x="567" y="773"/>
                  </a:lnTo>
                  <a:lnTo>
                    <a:pt x="567" y="773"/>
                  </a:lnTo>
                  <a:lnTo>
                    <a:pt x="567" y="782"/>
                  </a:lnTo>
                  <a:lnTo>
                    <a:pt x="567" y="791"/>
                  </a:lnTo>
                  <a:lnTo>
                    <a:pt x="562" y="805"/>
                  </a:lnTo>
                  <a:lnTo>
                    <a:pt x="562" y="810"/>
                  </a:lnTo>
                  <a:lnTo>
                    <a:pt x="562" y="814"/>
                  </a:lnTo>
                  <a:lnTo>
                    <a:pt x="558" y="819"/>
                  </a:lnTo>
                  <a:lnTo>
                    <a:pt x="553" y="823"/>
                  </a:lnTo>
                  <a:lnTo>
                    <a:pt x="548" y="823"/>
                  </a:lnTo>
                  <a:lnTo>
                    <a:pt x="544" y="823"/>
                  </a:lnTo>
                  <a:lnTo>
                    <a:pt x="544" y="828"/>
                  </a:lnTo>
                  <a:lnTo>
                    <a:pt x="539" y="828"/>
                  </a:lnTo>
                  <a:lnTo>
                    <a:pt x="530" y="828"/>
                  </a:lnTo>
                  <a:lnTo>
                    <a:pt x="526" y="828"/>
                  </a:lnTo>
                  <a:lnTo>
                    <a:pt x="521" y="828"/>
                  </a:lnTo>
                  <a:lnTo>
                    <a:pt x="516" y="828"/>
                  </a:lnTo>
                  <a:lnTo>
                    <a:pt x="498" y="828"/>
                  </a:lnTo>
                  <a:lnTo>
                    <a:pt x="498" y="823"/>
                  </a:lnTo>
                  <a:lnTo>
                    <a:pt x="498" y="810"/>
                  </a:lnTo>
                  <a:lnTo>
                    <a:pt x="498" y="805"/>
                  </a:lnTo>
                  <a:lnTo>
                    <a:pt x="498" y="800"/>
                  </a:lnTo>
                  <a:lnTo>
                    <a:pt x="498" y="796"/>
                  </a:lnTo>
                  <a:lnTo>
                    <a:pt x="498" y="791"/>
                  </a:lnTo>
                  <a:lnTo>
                    <a:pt x="494" y="782"/>
                  </a:lnTo>
                  <a:lnTo>
                    <a:pt x="494" y="778"/>
                  </a:lnTo>
                  <a:lnTo>
                    <a:pt x="489" y="768"/>
                  </a:lnTo>
                  <a:lnTo>
                    <a:pt x="484" y="755"/>
                  </a:lnTo>
                  <a:lnTo>
                    <a:pt x="484" y="750"/>
                  </a:lnTo>
                  <a:lnTo>
                    <a:pt x="489" y="736"/>
                  </a:lnTo>
                  <a:lnTo>
                    <a:pt x="489" y="732"/>
                  </a:lnTo>
                  <a:lnTo>
                    <a:pt x="489" y="727"/>
                  </a:lnTo>
                  <a:lnTo>
                    <a:pt x="489" y="727"/>
                  </a:lnTo>
                  <a:lnTo>
                    <a:pt x="484" y="723"/>
                  </a:lnTo>
                  <a:lnTo>
                    <a:pt x="484" y="718"/>
                  </a:lnTo>
                  <a:lnTo>
                    <a:pt x="489" y="718"/>
                  </a:lnTo>
                  <a:lnTo>
                    <a:pt x="489" y="714"/>
                  </a:lnTo>
                  <a:lnTo>
                    <a:pt x="489" y="709"/>
                  </a:lnTo>
                  <a:lnTo>
                    <a:pt x="494" y="700"/>
                  </a:lnTo>
                  <a:lnTo>
                    <a:pt x="498" y="695"/>
                  </a:lnTo>
                  <a:lnTo>
                    <a:pt x="498" y="691"/>
                  </a:lnTo>
                  <a:lnTo>
                    <a:pt x="498" y="686"/>
                  </a:lnTo>
                  <a:lnTo>
                    <a:pt x="498" y="682"/>
                  </a:lnTo>
                  <a:lnTo>
                    <a:pt x="503" y="677"/>
                  </a:lnTo>
                  <a:lnTo>
                    <a:pt x="507" y="668"/>
                  </a:lnTo>
                  <a:lnTo>
                    <a:pt x="507" y="663"/>
                  </a:lnTo>
                  <a:lnTo>
                    <a:pt x="507" y="654"/>
                  </a:lnTo>
                  <a:lnTo>
                    <a:pt x="507" y="645"/>
                  </a:lnTo>
                  <a:lnTo>
                    <a:pt x="512" y="640"/>
                  </a:lnTo>
                  <a:lnTo>
                    <a:pt x="512" y="636"/>
                  </a:lnTo>
                  <a:lnTo>
                    <a:pt x="512" y="631"/>
                  </a:lnTo>
                  <a:lnTo>
                    <a:pt x="512" y="631"/>
                  </a:lnTo>
                  <a:lnTo>
                    <a:pt x="516" y="631"/>
                  </a:lnTo>
                  <a:lnTo>
                    <a:pt x="516" y="627"/>
                  </a:lnTo>
                  <a:lnTo>
                    <a:pt x="516" y="622"/>
                  </a:lnTo>
                  <a:lnTo>
                    <a:pt x="521" y="613"/>
                  </a:lnTo>
                  <a:lnTo>
                    <a:pt x="521" y="608"/>
                  </a:lnTo>
                  <a:lnTo>
                    <a:pt x="521" y="599"/>
                  </a:lnTo>
                  <a:lnTo>
                    <a:pt x="521" y="595"/>
                  </a:lnTo>
                  <a:lnTo>
                    <a:pt x="521" y="590"/>
                  </a:lnTo>
                  <a:lnTo>
                    <a:pt x="521" y="586"/>
                  </a:lnTo>
                  <a:lnTo>
                    <a:pt x="521" y="586"/>
                  </a:lnTo>
                  <a:lnTo>
                    <a:pt x="521" y="581"/>
                  </a:lnTo>
                  <a:lnTo>
                    <a:pt x="521" y="576"/>
                  </a:lnTo>
                  <a:lnTo>
                    <a:pt x="516" y="572"/>
                  </a:lnTo>
                  <a:lnTo>
                    <a:pt x="516" y="567"/>
                  </a:lnTo>
                  <a:lnTo>
                    <a:pt x="512" y="567"/>
                  </a:lnTo>
                  <a:lnTo>
                    <a:pt x="512" y="563"/>
                  </a:lnTo>
                  <a:lnTo>
                    <a:pt x="512" y="563"/>
                  </a:lnTo>
                  <a:lnTo>
                    <a:pt x="507" y="558"/>
                  </a:lnTo>
                  <a:lnTo>
                    <a:pt x="507" y="554"/>
                  </a:lnTo>
                  <a:lnTo>
                    <a:pt x="507" y="549"/>
                  </a:lnTo>
                  <a:lnTo>
                    <a:pt x="503" y="549"/>
                  </a:lnTo>
                  <a:lnTo>
                    <a:pt x="503" y="544"/>
                  </a:lnTo>
                  <a:lnTo>
                    <a:pt x="498" y="544"/>
                  </a:lnTo>
                  <a:lnTo>
                    <a:pt x="498" y="544"/>
                  </a:lnTo>
                  <a:lnTo>
                    <a:pt x="489" y="540"/>
                  </a:lnTo>
                  <a:lnTo>
                    <a:pt x="480" y="544"/>
                  </a:lnTo>
                  <a:lnTo>
                    <a:pt x="480" y="544"/>
                  </a:lnTo>
                  <a:lnTo>
                    <a:pt x="475" y="544"/>
                  </a:lnTo>
                  <a:lnTo>
                    <a:pt x="462" y="544"/>
                  </a:lnTo>
                  <a:lnTo>
                    <a:pt x="457" y="544"/>
                  </a:lnTo>
                  <a:lnTo>
                    <a:pt x="457" y="549"/>
                  </a:lnTo>
                  <a:lnTo>
                    <a:pt x="452" y="549"/>
                  </a:lnTo>
                  <a:lnTo>
                    <a:pt x="448" y="549"/>
                  </a:lnTo>
                  <a:lnTo>
                    <a:pt x="443" y="549"/>
                  </a:lnTo>
                  <a:lnTo>
                    <a:pt x="439" y="549"/>
                  </a:lnTo>
                  <a:lnTo>
                    <a:pt x="439" y="544"/>
                  </a:lnTo>
                  <a:lnTo>
                    <a:pt x="434" y="544"/>
                  </a:lnTo>
                  <a:lnTo>
                    <a:pt x="434" y="540"/>
                  </a:lnTo>
                  <a:lnTo>
                    <a:pt x="434" y="531"/>
                  </a:lnTo>
                  <a:lnTo>
                    <a:pt x="430" y="526"/>
                  </a:lnTo>
                  <a:close/>
                </a:path>
              </a:pathLst>
            </a:custGeom>
            <a:blipFill>
              <a:blip r:embed="rId77"/>
              <a:tile tx="0" ty="0" sx="100000" sy="100000" flip="none" algn="tl"/>
            </a:blip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Kogi</a:t>
              </a:r>
            </a:p>
          </p:txBody>
        </p:sp>
        <p:sp>
          <p:nvSpPr>
            <p:cNvPr id="147" name="Freeform 66">
              <a:extLst>
                <a:ext uri="{FF2B5EF4-FFF2-40B4-BE49-F238E27FC236}">
                  <a16:creationId xmlns:a16="http://schemas.microsoft.com/office/drawing/2014/main" id="{82BA57AF-6D95-4C0A-B5CB-E2DA384A444A}"/>
                </a:ext>
              </a:extLst>
            </p:cNvPr>
            <p:cNvSpPr>
              <a:spLocks noEditPoints="1"/>
            </p:cNvSpPr>
            <p:nvPr>
              <p:custDataLst>
                <p:tags r:id="rId59"/>
              </p:custDataLst>
            </p:nvPr>
          </p:nvSpPr>
          <p:spPr bwMode="auto">
            <a:xfrm>
              <a:off x="153229" y="2262810"/>
              <a:ext cx="1153883" cy="882201"/>
            </a:xfrm>
            <a:custGeom>
              <a:avLst/>
              <a:gdLst/>
              <a:ahLst/>
              <a:cxnLst>
                <a:cxn ang="0">
                  <a:pos x="681" y="818"/>
                </a:cxn>
                <a:cxn ang="0">
                  <a:pos x="403" y="27"/>
                </a:cxn>
                <a:cxn ang="0">
                  <a:pos x="448" y="27"/>
                </a:cxn>
                <a:cxn ang="0">
                  <a:pos x="471" y="64"/>
                </a:cxn>
                <a:cxn ang="0">
                  <a:pos x="489" y="82"/>
                </a:cxn>
                <a:cxn ang="0">
                  <a:pos x="531" y="91"/>
                </a:cxn>
                <a:cxn ang="0">
                  <a:pos x="576" y="141"/>
                </a:cxn>
                <a:cxn ang="0">
                  <a:pos x="654" y="228"/>
                </a:cxn>
                <a:cxn ang="0">
                  <a:pos x="727" y="297"/>
                </a:cxn>
                <a:cxn ang="0">
                  <a:pos x="773" y="347"/>
                </a:cxn>
                <a:cxn ang="0">
                  <a:pos x="841" y="338"/>
                </a:cxn>
                <a:cxn ang="0">
                  <a:pos x="905" y="365"/>
                </a:cxn>
                <a:cxn ang="0">
                  <a:pos x="947" y="407"/>
                </a:cxn>
                <a:cxn ang="0">
                  <a:pos x="1052" y="439"/>
                </a:cxn>
                <a:cxn ang="0">
                  <a:pos x="1143" y="489"/>
                </a:cxn>
                <a:cxn ang="0">
                  <a:pos x="1230" y="516"/>
                </a:cxn>
                <a:cxn ang="0">
                  <a:pos x="1299" y="521"/>
                </a:cxn>
                <a:cxn ang="0">
                  <a:pos x="1303" y="562"/>
                </a:cxn>
                <a:cxn ang="0">
                  <a:pos x="1285" y="640"/>
                </a:cxn>
                <a:cxn ang="0">
                  <a:pos x="1198" y="644"/>
                </a:cxn>
                <a:cxn ang="0">
                  <a:pos x="1129" y="635"/>
                </a:cxn>
                <a:cxn ang="0">
                  <a:pos x="1075" y="599"/>
                </a:cxn>
                <a:cxn ang="0">
                  <a:pos x="1024" y="640"/>
                </a:cxn>
                <a:cxn ang="0">
                  <a:pos x="1001" y="686"/>
                </a:cxn>
                <a:cxn ang="0">
                  <a:pos x="1043" y="731"/>
                </a:cxn>
                <a:cxn ang="0">
                  <a:pos x="1075" y="772"/>
                </a:cxn>
                <a:cxn ang="0">
                  <a:pos x="1015" y="759"/>
                </a:cxn>
                <a:cxn ang="0">
                  <a:pos x="969" y="800"/>
                </a:cxn>
                <a:cxn ang="0">
                  <a:pos x="915" y="772"/>
                </a:cxn>
                <a:cxn ang="0">
                  <a:pos x="860" y="772"/>
                </a:cxn>
                <a:cxn ang="0">
                  <a:pos x="800" y="768"/>
                </a:cxn>
                <a:cxn ang="0">
                  <a:pos x="741" y="772"/>
                </a:cxn>
                <a:cxn ang="0">
                  <a:pos x="672" y="745"/>
                </a:cxn>
                <a:cxn ang="0">
                  <a:pos x="631" y="681"/>
                </a:cxn>
                <a:cxn ang="0">
                  <a:pos x="585" y="599"/>
                </a:cxn>
                <a:cxn ang="0">
                  <a:pos x="553" y="544"/>
                </a:cxn>
                <a:cxn ang="0">
                  <a:pos x="553" y="480"/>
                </a:cxn>
                <a:cxn ang="0">
                  <a:pos x="608" y="420"/>
                </a:cxn>
                <a:cxn ang="0">
                  <a:pos x="553" y="434"/>
                </a:cxn>
                <a:cxn ang="0">
                  <a:pos x="499" y="407"/>
                </a:cxn>
                <a:cxn ang="0">
                  <a:pos x="467" y="356"/>
                </a:cxn>
                <a:cxn ang="0">
                  <a:pos x="407" y="347"/>
                </a:cxn>
                <a:cxn ang="0">
                  <a:pos x="380" y="402"/>
                </a:cxn>
                <a:cxn ang="0">
                  <a:pos x="320" y="439"/>
                </a:cxn>
                <a:cxn ang="0">
                  <a:pos x="229" y="475"/>
                </a:cxn>
                <a:cxn ang="0">
                  <a:pos x="169" y="489"/>
                </a:cxn>
                <a:cxn ang="0">
                  <a:pos x="115" y="512"/>
                </a:cxn>
                <a:cxn ang="0">
                  <a:pos x="69" y="553"/>
                </a:cxn>
                <a:cxn ang="0">
                  <a:pos x="9" y="558"/>
                </a:cxn>
                <a:cxn ang="0">
                  <a:pos x="5" y="503"/>
                </a:cxn>
                <a:cxn ang="0">
                  <a:pos x="14" y="462"/>
                </a:cxn>
                <a:cxn ang="0">
                  <a:pos x="19" y="430"/>
                </a:cxn>
                <a:cxn ang="0">
                  <a:pos x="23" y="402"/>
                </a:cxn>
                <a:cxn ang="0">
                  <a:pos x="64" y="379"/>
                </a:cxn>
                <a:cxn ang="0">
                  <a:pos x="142" y="361"/>
                </a:cxn>
                <a:cxn ang="0">
                  <a:pos x="160" y="269"/>
                </a:cxn>
                <a:cxn ang="0">
                  <a:pos x="201" y="183"/>
                </a:cxn>
                <a:cxn ang="0">
                  <a:pos x="229" y="123"/>
                </a:cxn>
                <a:cxn ang="0">
                  <a:pos x="311" y="77"/>
                </a:cxn>
                <a:cxn ang="0">
                  <a:pos x="339" y="4"/>
                </a:cxn>
              </a:cxnLst>
              <a:rect l="0" t="0" r="r" b="b"/>
              <a:pathLst>
                <a:path w="1321" h="873">
                  <a:moveTo>
                    <a:pt x="636" y="836"/>
                  </a:moveTo>
                  <a:lnTo>
                    <a:pt x="640" y="836"/>
                  </a:lnTo>
                  <a:lnTo>
                    <a:pt x="640" y="832"/>
                  </a:lnTo>
                  <a:lnTo>
                    <a:pt x="640" y="827"/>
                  </a:lnTo>
                  <a:lnTo>
                    <a:pt x="640" y="827"/>
                  </a:lnTo>
                  <a:lnTo>
                    <a:pt x="640" y="823"/>
                  </a:lnTo>
                  <a:lnTo>
                    <a:pt x="645" y="818"/>
                  </a:lnTo>
                  <a:lnTo>
                    <a:pt x="645" y="818"/>
                  </a:lnTo>
                  <a:lnTo>
                    <a:pt x="649" y="818"/>
                  </a:lnTo>
                  <a:lnTo>
                    <a:pt x="659" y="818"/>
                  </a:lnTo>
                  <a:lnTo>
                    <a:pt x="663" y="818"/>
                  </a:lnTo>
                  <a:lnTo>
                    <a:pt x="663" y="814"/>
                  </a:lnTo>
                  <a:lnTo>
                    <a:pt x="668" y="814"/>
                  </a:lnTo>
                  <a:lnTo>
                    <a:pt x="672" y="809"/>
                  </a:lnTo>
                  <a:lnTo>
                    <a:pt x="672" y="814"/>
                  </a:lnTo>
                  <a:lnTo>
                    <a:pt x="681" y="818"/>
                  </a:lnTo>
                  <a:lnTo>
                    <a:pt x="681" y="832"/>
                  </a:lnTo>
                  <a:lnTo>
                    <a:pt x="681" y="841"/>
                  </a:lnTo>
                  <a:lnTo>
                    <a:pt x="681" y="850"/>
                  </a:lnTo>
                  <a:lnTo>
                    <a:pt x="672" y="855"/>
                  </a:lnTo>
                  <a:lnTo>
                    <a:pt x="663" y="859"/>
                  </a:lnTo>
                  <a:lnTo>
                    <a:pt x="663" y="864"/>
                  </a:lnTo>
                  <a:lnTo>
                    <a:pt x="659" y="868"/>
                  </a:lnTo>
                  <a:lnTo>
                    <a:pt x="654" y="873"/>
                  </a:lnTo>
                  <a:lnTo>
                    <a:pt x="649" y="868"/>
                  </a:lnTo>
                  <a:lnTo>
                    <a:pt x="640" y="859"/>
                  </a:lnTo>
                  <a:lnTo>
                    <a:pt x="640" y="855"/>
                  </a:lnTo>
                  <a:lnTo>
                    <a:pt x="640" y="850"/>
                  </a:lnTo>
                  <a:lnTo>
                    <a:pt x="636" y="841"/>
                  </a:lnTo>
                  <a:lnTo>
                    <a:pt x="636" y="841"/>
                  </a:lnTo>
                  <a:lnTo>
                    <a:pt x="636" y="836"/>
                  </a:lnTo>
                  <a:close/>
                  <a:moveTo>
                    <a:pt x="403" y="27"/>
                  </a:moveTo>
                  <a:lnTo>
                    <a:pt x="407" y="27"/>
                  </a:lnTo>
                  <a:lnTo>
                    <a:pt x="412" y="27"/>
                  </a:lnTo>
                  <a:lnTo>
                    <a:pt x="412" y="27"/>
                  </a:lnTo>
                  <a:lnTo>
                    <a:pt x="416" y="27"/>
                  </a:lnTo>
                  <a:lnTo>
                    <a:pt x="421" y="23"/>
                  </a:lnTo>
                  <a:lnTo>
                    <a:pt x="421" y="18"/>
                  </a:lnTo>
                  <a:lnTo>
                    <a:pt x="421" y="13"/>
                  </a:lnTo>
                  <a:lnTo>
                    <a:pt x="421" y="9"/>
                  </a:lnTo>
                  <a:lnTo>
                    <a:pt x="425" y="9"/>
                  </a:lnTo>
                  <a:lnTo>
                    <a:pt x="425" y="4"/>
                  </a:lnTo>
                  <a:lnTo>
                    <a:pt x="430" y="9"/>
                  </a:lnTo>
                  <a:lnTo>
                    <a:pt x="435" y="13"/>
                  </a:lnTo>
                  <a:lnTo>
                    <a:pt x="439" y="23"/>
                  </a:lnTo>
                  <a:lnTo>
                    <a:pt x="444" y="27"/>
                  </a:lnTo>
                  <a:lnTo>
                    <a:pt x="444" y="27"/>
                  </a:lnTo>
                  <a:lnTo>
                    <a:pt x="448" y="27"/>
                  </a:lnTo>
                  <a:lnTo>
                    <a:pt x="444" y="32"/>
                  </a:lnTo>
                  <a:lnTo>
                    <a:pt x="444" y="36"/>
                  </a:lnTo>
                  <a:lnTo>
                    <a:pt x="439" y="41"/>
                  </a:lnTo>
                  <a:lnTo>
                    <a:pt x="439" y="45"/>
                  </a:lnTo>
                  <a:lnTo>
                    <a:pt x="444" y="50"/>
                  </a:lnTo>
                  <a:lnTo>
                    <a:pt x="448" y="50"/>
                  </a:lnTo>
                  <a:lnTo>
                    <a:pt x="453" y="50"/>
                  </a:lnTo>
                  <a:lnTo>
                    <a:pt x="457" y="45"/>
                  </a:lnTo>
                  <a:lnTo>
                    <a:pt x="462" y="50"/>
                  </a:lnTo>
                  <a:lnTo>
                    <a:pt x="467" y="50"/>
                  </a:lnTo>
                  <a:lnTo>
                    <a:pt x="462" y="50"/>
                  </a:lnTo>
                  <a:lnTo>
                    <a:pt x="462" y="55"/>
                  </a:lnTo>
                  <a:lnTo>
                    <a:pt x="462" y="59"/>
                  </a:lnTo>
                  <a:lnTo>
                    <a:pt x="467" y="59"/>
                  </a:lnTo>
                  <a:lnTo>
                    <a:pt x="467" y="59"/>
                  </a:lnTo>
                  <a:lnTo>
                    <a:pt x="471" y="64"/>
                  </a:lnTo>
                  <a:lnTo>
                    <a:pt x="476" y="64"/>
                  </a:lnTo>
                  <a:lnTo>
                    <a:pt x="476" y="68"/>
                  </a:lnTo>
                  <a:lnTo>
                    <a:pt x="471" y="73"/>
                  </a:lnTo>
                  <a:lnTo>
                    <a:pt x="467" y="73"/>
                  </a:lnTo>
                  <a:lnTo>
                    <a:pt x="462" y="68"/>
                  </a:lnTo>
                  <a:lnTo>
                    <a:pt x="462" y="73"/>
                  </a:lnTo>
                  <a:lnTo>
                    <a:pt x="457" y="73"/>
                  </a:lnTo>
                  <a:lnTo>
                    <a:pt x="462" y="73"/>
                  </a:lnTo>
                  <a:lnTo>
                    <a:pt x="462" y="77"/>
                  </a:lnTo>
                  <a:lnTo>
                    <a:pt x="467" y="77"/>
                  </a:lnTo>
                  <a:lnTo>
                    <a:pt x="467" y="82"/>
                  </a:lnTo>
                  <a:lnTo>
                    <a:pt x="471" y="82"/>
                  </a:lnTo>
                  <a:lnTo>
                    <a:pt x="480" y="82"/>
                  </a:lnTo>
                  <a:lnTo>
                    <a:pt x="485" y="82"/>
                  </a:lnTo>
                  <a:lnTo>
                    <a:pt x="489" y="82"/>
                  </a:lnTo>
                  <a:lnTo>
                    <a:pt x="489" y="82"/>
                  </a:lnTo>
                  <a:lnTo>
                    <a:pt x="489" y="87"/>
                  </a:lnTo>
                  <a:lnTo>
                    <a:pt x="489" y="91"/>
                  </a:lnTo>
                  <a:lnTo>
                    <a:pt x="494" y="96"/>
                  </a:lnTo>
                  <a:lnTo>
                    <a:pt x="499" y="96"/>
                  </a:lnTo>
                  <a:lnTo>
                    <a:pt x="503" y="96"/>
                  </a:lnTo>
                  <a:lnTo>
                    <a:pt x="508" y="96"/>
                  </a:lnTo>
                  <a:lnTo>
                    <a:pt x="512" y="100"/>
                  </a:lnTo>
                  <a:lnTo>
                    <a:pt x="517" y="100"/>
                  </a:lnTo>
                  <a:lnTo>
                    <a:pt x="517" y="96"/>
                  </a:lnTo>
                  <a:lnTo>
                    <a:pt x="517" y="91"/>
                  </a:lnTo>
                  <a:lnTo>
                    <a:pt x="521" y="91"/>
                  </a:lnTo>
                  <a:lnTo>
                    <a:pt x="526" y="91"/>
                  </a:lnTo>
                  <a:lnTo>
                    <a:pt x="526" y="87"/>
                  </a:lnTo>
                  <a:lnTo>
                    <a:pt x="531" y="87"/>
                  </a:lnTo>
                  <a:lnTo>
                    <a:pt x="531" y="91"/>
                  </a:lnTo>
                  <a:lnTo>
                    <a:pt x="531" y="91"/>
                  </a:lnTo>
                  <a:lnTo>
                    <a:pt x="531" y="96"/>
                  </a:lnTo>
                  <a:lnTo>
                    <a:pt x="531" y="96"/>
                  </a:lnTo>
                  <a:lnTo>
                    <a:pt x="540" y="96"/>
                  </a:lnTo>
                  <a:lnTo>
                    <a:pt x="544" y="100"/>
                  </a:lnTo>
                  <a:lnTo>
                    <a:pt x="549" y="109"/>
                  </a:lnTo>
                  <a:lnTo>
                    <a:pt x="549" y="114"/>
                  </a:lnTo>
                  <a:lnTo>
                    <a:pt x="549" y="114"/>
                  </a:lnTo>
                  <a:lnTo>
                    <a:pt x="553" y="114"/>
                  </a:lnTo>
                  <a:lnTo>
                    <a:pt x="553" y="119"/>
                  </a:lnTo>
                  <a:lnTo>
                    <a:pt x="553" y="123"/>
                  </a:lnTo>
                  <a:lnTo>
                    <a:pt x="558" y="128"/>
                  </a:lnTo>
                  <a:lnTo>
                    <a:pt x="563" y="132"/>
                  </a:lnTo>
                  <a:lnTo>
                    <a:pt x="563" y="137"/>
                  </a:lnTo>
                  <a:lnTo>
                    <a:pt x="572" y="137"/>
                  </a:lnTo>
                  <a:lnTo>
                    <a:pt x="572" y="141"/>
                  </a:lnTo>
                  <a:lnTo>
                    <a:pt x="576" y="141"/>
                  </a:lnTo>
                  <a:lnTo>
                    <a:pt x="576" y="146"/>
                  </a:lnTo>
                  <a:lnTo>
                    <a:pt x="585" y="160"/>
                  </a:lnTo>
                  <a:lnTo>
                    <a:pt x="595" y="164"/>
                  </a:lnTo>
                  <a:lnTo>
                    <a:pt x="599" y="169"/>
                  </a:lnTo>
                  <a:lnTo>
                    <a:pt x="599" y="173"/>
                  </a:lnTo>
                  <a:lnTo>
                    <a:pt x="599" y="173"/>
                  </a:lnTo>
                  <a:lnTo>
                    <a:pt x="608" y="183"/>
                  </a:lnTo>
                  <a:lnTo>
                    <a:pt x="613" y="187"/>
                  </a:lnTo>
                  <a:lnTo>
                    <a:pt x="617" y="192"/>
                  </a:lnTo>
                  <a:lnTo>
                    <a:pt x="617" y="196"/>
                  </a:lnTo>
                  <a:lnTo>
                    <a:pt x="627" y="201"/>
                  </a:lnTo>
                  <a:lnTo>
                    <a:pt x="627" y="205"/>
                  </a:lnTo>
                  <a:lnTo>
                    <a:pt x="631" y="205"/>
                  </a:lnTo>
                  <a:lnTo>
                    <a:pt x="640" y="224"/>
                  </a:lnTo>
                  <a:lnTo>
                    <a:pt x="649" y="224"/>
                  </a:lnTo>
                  <a:lnTo>
                    <a:pt x="654" y="228"/>
                  </a:lnTo>
                  <a:lnTo>
                    <a:pt x="654" y="233"/>
                  </a:lnTo>
                  <a:lnTo>
                    <a:pt x="659" y="233"/>
                  </a:lnTo>
                  <a:lnTo>
                    <a:pt x="663" y="242"/>
                  </a:lnTo>
                  <a:lnTo>
                    <a:pt x="663" y="247"/>
                  </a:lnTo>
                  <a:lnTo>
                    <a:pt x="668" y="247"/>
                  </a:lnTo>
                  <a:lnTo>
                    <a:pt x="672" y="247"/>
                  </a:lnTo>
                  <a:lnTo>
                    <a:pt x="677" y="251"/>
                  </a:lnTo>
                  <a:lnTo>
                    <a:pt x="681" y="260"/>
                  </a:lnTo>
                  <a:lnTo>
                    <a:pt x="686" y="265"/>
                  </a:lnTo>
                  <a:lnTo>
                    <a:pt x="695" y="274"/>
                  </a:lnTo>
                  <a:lnTo>
                    <a:pt x="700" y="279"/>
                  </a:lnTo>
                  <a:lnTo>
                    <a:pt x="704" y="283"/>
                  </a:lnTo>
                  <a:lnTo>
                    <a:pt x="713" y="292"/>
                  </a:lnTo>
                  <a:lnTo>
                    <a:pt x="718" y="292"/>
                  </a:lnTo>
                  <a:lnTo>
                    <a:pt x="723" y="292"/>
                  </a:lnTo>
                  <a:lnTo>
                    <a:pt x="727" y="297"/>
                  </a:lnTo>
                  <a:lnTo>
                    <a:pt x="727" y="297"/>
                  </a:lnTo>
                  <a:lnTo>
                    <a:pt x="732" y="297"/>
                  </a:lnTo>
                  <a:lnTo>
                    <a:pt x="732" y="301"/>
                  </a:lnTo>
                  <a:lnTo>
                    <a:pt x="736" y="301"/>
                  </a:lnTo>
                  <a:lnTo>
                    <a:pt x="741" y="301"/>
                  </a:lnTo>
                  <a:lnTo>
                    <a:pt x="750" y="306"/>
                  </a:lnTo>
                  <a:lnTo>
                    <a:pt x="755" y="306"/>
                  </a:lnTo>
                  <a:lnTo>
                    <a:pt x="759" y="311"/>
                  </a:lnTo>
                  <a:lnTo>
                    <a:pt x="764" y="311"/>
                  </a:lnTo>
                  <a:lnTo>
                    <a:pt x="768" y="311"/>
                  </a:lnTo>
                  <a:lnTo>
                    <a:pt x="768" y="315"/>
                  </a:lnTo>
                  <a:lnTo>
                    <a:pt x="768" y="320"/>
                  </a:lnTo>
                  <a:lnTo>
                    <a:pt x="768" y="324"/>
                  </a:lnTo>
                  <a:lnTo>
                    <a:pt x="773" y="338"/>
                  </a:lnTo>
                  <a:lnTo>
                    <a:pt x="773" y="343"/>
                  </a:lnTo>
                  <a:lnTo>
                    <a:pt x="773" y="347"/>
                  </a:lnTo>
                  <a:lnTo>
                    <a:pt x="773" y="352"/>
                  </a:lnTo>
                  <a:lnTo>
                    <a:pt x="773" y="352"/>
                  </a:lnTo>
                  <a:lnTo>
                    <a:pt x="773" y="356"/>
                  </a:lnTo>
                  <a:lnTo>
                    <a:pt x="777" y="356"/>
                  </a:lnTo>
                  <a:lnTo>
                    <a:pt x="782" y="361"/>
                  </a:lnTo>
                  <a:lnTo>
                    <a:pt x="787" y="361"/>
                  </a:lnTo>
                  <a:lnTo>
                    <a:pt x="791" y="361"/>
                  </a:lnTo>
                  <a:lnTo>
                    <a:pt x="796" y="361"/>
                  </a:lnTo>
                  <a:lnTo>
                    <a:pt x="819" y="352"/>
                  </a:lnTo>
                  <a:lnTo>
                    <a:pt x="823" y="352"/>
                  </a:lnTo>
                  <a:lnTo>
                    <a:pt x="828" y="347"/>
                  </a:lnTo>
                  <a:lnTo>
                    <a:pt x="832" y="347"/>
                  </a:lnTo>
                  <a:lnTo>
                    <a:pt x="837" y="347"/>
                  </a:lnTo>
                  <a:lnTo>
                    <a:pt x="837" y="343"/>
                  </a:lnTo>
                  <a:lnTo>
                    <a:pt x="841" y="343"/>
                  </a:lnTo>
                  <a:lnTo>
                    <a:pt x="841" y="338"/>
                  </a:lnTo>
                  <a:lnTo>
                    <a:pt x="846" y="338"/>
                  </a:lnTo>
                  <a:lnTo>
                    <a:pt x="860" y="338"/>
                  </a:lnTo>
                  <a:lnTo>
                    <a:pt x="864" y="338"/>
                  </a:lnTo>
                  <a:lnTo>
                    <a:pt x="869" y="338"/>
                  </a:lnTo>
                  <a:lnTo>
                    <a:pt x="873" y="343"/>
                  </a:lnTo>
                  <a:lnTo>
                    <a:pt x="878" y="343"/>
                  </a:lnTo>
                  <a:lnTo>
                    <a:pt x="883" y="347"/>
                  </a:lnTo>
                  <a:lnTo>
                    <a:pt x="883" y="347"/>
                  </a:lnTo>
                  <a:lnTo>
                    <a:pt x="883" y="352"/>
                  </a:lnTo>
                  <a:lnTo>
                    <a:pt x="887" y="352"/>
                  </a:lnTo>
                  <a:lnTo>
                    <a:pt x="892" y="356"/>
                  </a:lnTo>
                  <a:lnTo>
                    <a:pt x="892" y="356"/>
                  </a:lnTo>
                  <a:lnTo>
                    <a:pt x="896" y="356"/>
                  </a:lnTo>
                  <a:lnTo>
                    <a:pt x="901" y="361"/>
                  </a:lnTo>
                  <a:lnTo>
                    <a:pt x="901" y="365"/>
                  </a:lnTo>
                  <a:lnTo>
                    <a:pt x="905" y="365"/>
                  </a:lnTo>
                  <a:lnTo>
                    <a:pt x="905" y="365"/>
                  </a:lnTo>
                  <a:lnTo>
                    <a:pt x="905" y="370"/>
                  </a:lnTo>
                  <a:lnTo>
                    <a:pt x="910" y="370"/>
                  </a:lnTo>
                  <a:lnTo>
                    <a:pt x="915" y="375"/>
                  </a:lnTo>
                  <a:lnTo>
                    <a:pt x="919" y="379"/>
                  </a:lnTo>
                  <a:lnTo>
                    <a:pt x="924" y="379"/>
                  </a:lnTo>
                  <a:lnTo>
                    <a:pt x="924" y="379"/>
                  </a:lnTo>
                  <a:lnTo>
                    <a:pt x="928" y="379"/>
                  </a:lnTo>
                  <a:lnTo>
                    <a:pt x="928" y="384"/>
                  </a:lnTo>
                  <a:lnTo>
                    <a:pt x="928" y="388"/>
                  </a:lnTo>
                  <a:lnTo>
                    <a:pt x="928" y="393"/>
                  </a:lnTo>
                  <a:lnTo>
                    <a:pt x="933" y="398"/>
                  </a:lnTo>
                  <a:lnTo>
                    <a:pt x="937" y="402"/>
                  </a:lnTo>
                  <a:lnTo>
                    <a:pt x="942" y="402"/>
                  </a:lnTo>
                  <a:lnTo>
                    <a:pt x="947" y="407"/>
                  </a:lnTo>
                  <a:lnTo>
                    <a:pt x="947" y="407"/>
                  </a:lnTo>
                  <a:lnTo>
                    <a:pt x="947" y="411"/>
                  </a:lnTo>
                  <a:lnTo>
                    <a:pt x="951" y="411"/>
                  </a:lnTo>
                  <a:lnTo>
                    <a:pt x="956" y="411"/>
                  </a:lnTo>
                  <a:lnTo>
                    <a:pt x="969" y="411"/>
                  </a:lnTo>
                  <a:lnTo>
                    <a:pt x="983" y="416"/>
                  </a:lnTo>
                  <a:lnTo>
                    <a:pt x="992" y="416"/>
                  </a:lnTo>
                  <a:lnTo>
                    <a:pt x="1001" y="420"/>
                  </a:lnTo>
                  <a:lnTo>
                    <a:pt x="1015" y="420"/>
                  </a:lnTo>
                  <a:lnTo>
                    <a:pt x="1029" y="430"/>
                  </a:lnTo>
                  <a:lnTo>
                    <a:pt x="1033" y="430"/>
                  </a:lnTo>
                  <a:lnTo>
                    <a:pt x="1038" y="434"/>
                  </a:lnTo>
                  <a:lnTo>
                    <a:pt x="1038" y="434"/>
                  </a:lnTo>
                  <a:lnTo>
                    <a:pt x="1043" y="434"/>
                  </a:lnTo>
                  <a:lnTo>
                    <a:pt x="1047" y="439"/>
                  </a:lnTo>
                  <a:lnTo>
                    <a:pt x="1047" y="439"/>
                  </a:lnTo>
                  <a:lnTo>
                    <a:pt x="1052" y="439"/>
                  </a:lnTo>
                  <a:lnTo>
                    <a:pt x="1056" y="443"/>
                  </a:lnTo>
                  <a:lnTo>
                    <a:pt x="1061" y="443"/>
                  </a:lnTo>
                  <a:lnTo>
                    <a:pt x="1079" y="457"/>
                  </a:lnTo>
                  <a:lnTo>
                    <a:pt x="1084" y="466"/>
                  </a:lnTo>
                  <a:lnTo>
                    <a:pt x="1088" y="466"/>
                  </a:lnTo>
                  <a:lnTo>
                    <a:pt x="1093" y="466"/>
                  </a:lnTo>
                  <a:lnTo>
                    <a:pt x="1093" y="471"/>
                  </a:lnTo>
                  <a:lnTo>
                    <a:pt x="1097" y="471"/>
                  </a:lnTo>
                  <a:lnTo>
                    <a:pt x="1102" y="475"/>
                  </a:lnTo>
                  <a:lnTo>
                    <a:pt x="1102" y="475"/>
                  </a:lnTo>
                  <a:lnTo>
                    <a:pt x="1111" y="480"/>
                  </a:lnTo>
                  <a:lnTo>
                    <a:pt x="1120" y="480"/>
                  </a:lnTo>
                  <a:lnTo>
                    <a:pt x="1125" y="480"/>
                  </a:lnTo>
                  <a:lnTo>
                    <a:pt x="1129" y="484"/>
                  </a:lnTo>
                  <a:lnTo>
                    <a:pt x="1139" y="489"/>
                  </a:lnTo>
                  <a:lnTo>
                    <a:pt x="1143" y="489"/>
                  </a:lnTo>
                  <a:lnTo>
                    <a:pt x="1143" y="494"/>
                  </a:lnTo>
                  <a:lnTo>
                    <a:pt x="1148" y="494"/>
                  </a:lnTo>
                  <a:lnTo>
                    <a:pt x="1148" y="498"/>
                  </a:lnTo>
                  <a:lnTo>
                    <a:pt x="1148" y="503"/>
                  </a:lnTo>
                  <a:lnTo>
                    <a:pt x="1148" y="507"/>
                  </a:lnTo>
                  <a:lnTo>
                    <a:pt x="1152" y="507"/>
                  </a:lnTo>
                  <a:lnTo>
                    <a:pt x="1152" y="512"/>
                  </a:lnTo>
                  <a:lnTo>
                    <a:pt x="1157" y="512"/>
                  </a:lnTo>
                  <a:lnTo>
                    <a:pt x="1166" y="512"/>
                  </a:lnTo>
                  <a:lnTo>
                    <a:pt x="1171" y="512"/>
                  </a:lnTo>
                  <a:lnTo>
                    <a:pt x="1175" y="516"/>
                  </a:lnTo>
                  <a:lnTo>
                    <a:pt x="1198" y="516"/>
                  </a:lnTo>
                  <a:lnTo>
                    <a:pt x="1203" y="512"/>
                  </a:lnTo>
                  <a:lnTo>
                    <a:pt x="1216" y="512"/>
                  </a:lnTo>
                  <a:lnTo>
                    <a:pt x="1225" y="516"/>
                  </a:lnTo>
                  <a:lnTo>
                    <a:pt x="1230" y="516"/>
                  </a:lnTo>
                  <a:lnTo>
                    <a:pt x="1239" y="512"/>
                  </a:lnTo>
                  <a:lnTo>
                    <a:pt x="1248" y="512"/>
                  </a:lnTo>
                  <a:lnTo>
                    <a:pt x="1253" y="512"/>
                  </a:lnTo>
                  <a:lnTo>
                    <a:pt x="1257" y="512"/>
                  </a:lnTo>
                  <a:lnTo>
                    <a:pt x="1267" y="507"/>
                  </a:lnTo>
                  <a:lnTo>
                    <a:pt x="1271" y="507"/>
                  </a:lnTo>
                  <a:lnTo>
                    <a:pt x="1276" y="512"/>
                  </a:lnTo>
                  <a:lnTo>
                    <a:pt x="1280" y="512"/>
                  </a:lnTo>
                  <a:lnTo>
                    <a:pt x="1285" y="512"/>
                  </a:lnTo>
                  <a:lnTo>
                    <a:pt x="1285" y="512"/>
                  </a:lnTo>
                  <a:lnTo>
                    <a:pt x="1289" y="512"/>
                  </a:lnTo>
                  <a:lnTo>
                    <a:pt x="1289" y="516"/>
                  </a:lnTo>
                  <a:lnTo>
                    <a:pt x="1294" y="516"/>
                  </a:lnTo>
                  <a:lnTo>
                    <a:pt x="1299" y="516"/>
                  </a:lnTo>
                  <a:lnTo>
                    <a:pt x="1299" y="521"/>
                  </a:lnTo>
                  <a:lnTo>
                    <a:pt x="1299" y="521"/>
                  </a:lnTo>
                  <a:lnTo>
                    <a:pt x="1308" y="526"/>
                  </a:lnTo>
                  <a:lnTo>
                    <a:pt x="1312" y="526"/>
                  </a:lnTo>
                  <a:lnTo>
                    <a:pt x="1317" y="526"/>
                  </a:lnTo>
                  <a:lnTo>
                    <a:pt x="1321" y="526"/>
                  </a:lnTo>
                  <a:lnTo>
                    <a:pt x="1321" y="521"/>
                  </a:lnTo>
                  <a:lnTo>
                    <a:pt x="1321" y="526"/>
                  </a:lnTo>
                  <a:lnTo>
                    <a:pt x="1321" y="530"/>
                  </a:lnTo>
                  <a:lnTo>
                    <a:pt x="1321" y="530"/>
                  </a:lnTo>
                  <a:lnTo>
                    <a:pt x="1321" y="535"/>
                  </a:lnTo>
                  <a:lnTo>
                    <a:pt x="1317" y="539"/>
                  </a:lnTo>
                  <a:lnTo>
                    <a:pt x="1317" y="548"/>
                  </a:lnTo>
                  <a:lnTo>
                    <a:pt x="1312" y="553"/>
                  </a:lnTo>
                  <a:lnTo>
                    <a:pt x="1312" y="553"/>
                  </a:lnTo>
                  <a:lnTo>
                    <a:pt x="1308" y="558"/>
                  </a:lnTo>
                  <a:lnTo>
                    <a:pt x="1308" y="562"/>
                  </a:lnTo>
                  <a:lnTo>
                    <a:pt x="1303" y="562"/>
                  </a:lnTo>
                  <a:lnTo>
                    <a:pt x="1303" y="567"/>
                  </a:lnTo>
                  <a:lnTo>
                    <a:pt x="1299" y="571"/>
                  </a:lnTo>
                  <a:lnTo>
                    <a:pt x="1299" y="576"/>
                  </a:lnTo>
                  <a:lnTo>
                    <a:pt x="1299" y="576"/>
                  </a:lnTo>
                  <a:lnTo>
                    <a:pt x="1299" y="576"/>
                  </a:lnTo>
                  <a:lnTo>
                    <a:pt x="1299" y="580"/>
                  </a:lnTo>
                  <a:lnTo>
                    <a:pt x="1294" y="585"/>
                  </a:lnTo>
                  <a:lnTo>
                    <a:pt x="1294" y="590"/>
                  </a:lnTo>
                  <a:lnTo>
                    <a:pt x="1294" y="599"/>
                  </a:lnTo>
                  <a:lnTo>
                    <a:pt x="1294" y="603"/>
                  </a:lnTo>
                  <a:lnTo>
                    <a:pt x="1294" y="608"/>
                  </a:lnTo>
                  <a:lnTo>
                    <a:pt x="1289" y="612"/>
                  </a:lnTo>
                  <a:lnTo>
                    <a:pt x="1289" y="622"/>
                  </a:lnTo>
                  <a:lnTo>
                    <a:pt x="1289" y="626"/>
                  </a:lnTo>
                  <a:lnTo>
                    <a:pt x="1289" y="640"/>
                  </a:lnTo>
                  <a:lnTo>
                    <a:pt x="1285" y="640"/>
                  </a:lnTo>
                  <a:lnTo>
                    <a:pt x="1285" y="640"/>
                  </a:lnTo>
                  <a:lnTo>
                    <a:pt x="1285" y="644"/>
                  </a:lnTo>
                  <a:lnTo>
                    <a:pt x="1280" y="644"/>
                  </a:lnTo>
                  <a:lnTo>
                    <a:pt x="1276" y="644"/>
                  </a:lnTo>
                  <a:lnTo>
                    <a:pt x="1271" y="644"/>
                  </a:lnTo>
                  <a:lnTo>
                    <a:pt x="1262" y="644"/>
                  </a:lnTo>
                  <a:lnTo>
                    <a:pt x="1257" y="644"/>
                  </a:lnTo>
                  <a:lnTo>
                    <a:pt x="1257" y="644"/>
                  </a:lnTo>
                  <a:lnTo>
                    <a:pt x="1253" y="640"/>
                  </a:lnTo>
                  <a:lnTo>
                    <a:pt x="1244" y="640"/>
                  </a:lnTo>
                  <a:lnTo>
                    <a:pt x="1230" y="640"/>
                  </a:lnTo>
                  <a:lnTo>
                    <a:pt x="1225" y="640"/>
                  </a:lnTo>
                  <a:lnTo>
                    <a:pt x="1221" y="640"/>
                  </a:lnTo>
                  <a:lnTo>
                    <a:pt x="1212" y="640"/>
                  </a:lnTo>
                  <a:lnTo>
                    <a:pt x="1203" y="640"/>
                  </a:lnTo>
                  <a:lnTo>
                    <a:pt x="1198" y="644"/>
                  </a:lnTo>
                  <a:lnTo>
                    <a:pt x="1193" y="644"/>
                  </a:lnTo>
                  <a:lnTo>
                    <a:pt x="1189" y="644"/>
                  </a:lnTo>
                  <a:lnTo>
                    <a:pt x="1189" y="640"/>
                  </a:lnTo>
                  <a:lnTo>
                    <a:pt x="1189" y="640"/>
                  </a:lnTo>
                  <a:lnTo>
                    <a:pt x="1184" y="640"/>
                  </a:lnTo>
                  <a:lnTo>
                    <a:pt x="1180" y="640"/>
                  </a:lnTo>
                  <a:lnTo>
                    <a:pt x="1175" y="640"/>
                  </a:lnTo>
                  <a:lnTo>
                    <a:pt x="1171" y="640"/>
                  </a:lnTo>
                  <a:lnTo>
                    <a:pt x="1157" y="640"/>
                  </a:lnTo>
                  <a:lnTo>
                    <a:pt x="1152" y="640"/>
                  </a:lnTo>
                  <a:lnTo>
                    <a:pt x="1148" y="640"/>
                  </a:lnTo>
                  <a:lnTo>
                    <a:pt x="1143" y="640"/>
                  </a:lnTo>
                  <a:lnTo>
                    <a:pt x="1143" y="635"/>
                  </a:lnTo>
                  <a:lnTo>
                    <a:pt x="1139" y="635"/>
                  </a:lnTo>
                  <a:lnTo>
                    <a:pt x="1134" y="635"/>
                  </a:lnTo>
                  <a:lnTo>
                    <a:pt x="1129" y="635"/>
                  </a:lnTo>
                  <a:lnTo>
                    <a:pt x="1125" y="631"/>
                  </a:lnTo>
                  <a:lnTo>
                    <a:pt x="1120" y="626"/>
                  </a:lnTo>
                  <a:lnTo>
                    <a:pt x="1116" y="626"/>
                  </a:lnTo>
                  <a:lnTo>
                    <a:pt x="1116" y="622"/>
                  </a:lnTo>
                  <a:lnTo>
                    <a:pt x="1111" y="622"/>
                  </a:lnTo>
                  <a:lnTo>
                    <a:pt x="1107" y="622"/>
                  </a:lnTo>
                  <a:lnTo>
                    <a:pt x="1102" y="617"/>
                  </a:lnTo>
                  <a:lnTo>
                    <a:pt x="1102" y="617"/>
                  </a:lnTo>
                  <a:lnTo>
                    <a:pt x="1097" y="612"/>
                  </a:lnTo>
                  <a:lnTo>
                    <a:pt x="1093" y="608"/>
                  </a:lnTo>
                  <a:lnTo>
                    <a:pt x="1088" y="603"/>
                  </a:lnTo>
                  <a:lnTo>
                    <a:pt x="1084" y="603"/>
                  </a:lnTo>
                  <a:lnTo>
                    <a:pt x="1084" y="599"/>
                  </a:lnTo>
                  <a:lnTo>
                    <a:pt x="1079" y="599"/>
                  </a:lnTo>
                  <a:lnTo>
                    <a:pt x="1079" y="599"/>
                  </a:lnTo>
                  <a:lnTo>
                    <a:pt x="1075" y="599"/>
                  </a:lnTo>
                  <a:lnTo>
                    <a:pt x="1070" y="599"/>
                  </a:lnTo>
                  <a:lnTo>
                    <a:pt x="1065" y="599"/>
                  </a:lnTo>
                  <a:lnTo>
                    <a:pt x="1061" y="599"/>
                  </a:lnTo>
                  <a:lnTo>
                    <a:pt x="1056" y="599"/>
                  </a:lnTo>
                  <a:lnTo>
                    <a:pt x="1056" y="599"/>
                  </a:lnTo>
                  <a:lnTo>
                    <a:pt x="1052" y="603"/>
                  </a:lnTo>
                  <a:lnTo>
                    <a:pt x="1047" y="608"/>
                  </a:lnTo>
                  <a:lnTo>
                    <a:pt x="1043" y="608"/>
                  </a:lnTo>
                  <a:lnTo>
                    <a:pt x="1043" y="612"/>
                  </a:lnTo>
                  <a:lnTo>
                    <a:pt x="1038" y="622"/>
                  </a:lnTo>
                  <a:lnTo>
                    <a:pt x="1038" y="622"/>
                  </a:lnTo>
                  <a:lnTo>
                    <a:pt x="1038" y="626"/>
                  </a:lnTo>
                  <a:lnTo>
                    <a:pt x="1033" y="626"/>
                  </a:lnTo>
                  <a:lnTo>
                    <a:pt x="1033" y="631"/>
                  </a:lnTo>
                  <a:lnTo>
                    <a:pt x="1029" y="635"/>
                  </a:lnTo>
                  <a:lnTo>
                    <a:pt x="1024" y="640"/>
                  </a:lnTo>
                  <a:lnTo>
                    <a:pt x="1020" y="640"/>
                  </a:lnTo>
                  <a:lnTo>
                    <a:pt x="1020" y="640"/>
                  </a:lnTo>
                  <a:lnTo>
                    <a:pt x="1015" y="640"/>
                  </a:lnTo>
                  <a:lnTo>
                    <a:pt x="1015" y="644"/>
                  </a:lnTo>
                  <a:lnTo>
                    <a:pt x="1015" y="644"/>
                  </a:lnTo>
                  <a:lnTo>
                    <a:pt x="1015" y="649"/>
                  </a:lnTo>
                  <a:lnTo>
                    <a:pt x="1011" y="649"/>
                  </a:lnTo>
                  <a:lnTo>
                    <a:pt x="1006" y="654"/>
                  </a:lnTo>
                  <a:lnTo>
                    <a:pt x="1001" y="654"/>
                  </a:lnTo>
                  <a:lnTo>
                    <a:pt x="1001" y="658"/>
                  </a:lnTo>
                  <a:lnTo>
                    <a:pt x="1001" y="663"/>
                  </a:lnTo>
                  <a:lnTo>
                    <a:pt x="997" y="663"/>
                  </a:lnTo>
                  <a:lnTo>
                    <a:pt x="997" y="663"/>
                  </a:lnTo>
                  <a:lnTo>
                    <a:pt x="997" y="667"/>
                  </a:lnTo>
                  <a:lnTo>
                    <a:pt x="1001" y="681"/>
                  </a:lnTo>
                  <a:lnTo>
                    <a:pt x="1001" y="686"/>
                  </a:lnTo>
                  <a:lnTo>
                    <a:pt x="1006" y="686"/>
                  </a:lnTo>
                  <a:lnTo>
                    <a:pt x="1006" y="690"/>
                  </a:lnTo>
                  <a:lnTo>
                    <a:pt x="1011" y="695"/>
                  </a:lnTo>
                  <a:lnTo>
                    <a:pt x="1011" y="699"/>
                  </a:lnTo>
                  <a:lnTo>
                    <a:pt x="1015" y="704"/>
                  </a:lnTo>
                  <a:lnTo>
                    <a:pt x="1015" y="704"/>
                  </a:lnTo>
                  <a:lnTo>
                    <a:pt x="1024" y="704"/>
                  </a:lnTo>
                  <a:lnTo>
                    <a:pt x="1029" y="704"/>
                  </a:lnTo>
                  <a:lnTo>
                    <a:pt x="1033" y="704"/>
                  </a:lnTo>
                  <a:lnTo>
                    <a:pt x="1033" y="708"/>
                  </a:lnTo>
                  <a:lnTo>
                    <a:pt x="1038" y="708"/>
                  </a:lnTo>
                  <a:lnTo>
                    <a:pt x="1038" y="713"/>
                  </a:lnTo>
                  <a:lnTo>
                    <a:pt x="1038" y="718"/>
                  </a:lnTo>
                  <a:lnTo>
                    <a:pt x="1038" y="727"/>
                  </a:lnTo>
                  <a:lnTo>
                    <a:pt x="1038" y="731"/>
                  </a:lnTo>
                  <a:lnTo>
                    <a:pt x="1043" y="731"/>
                  </a:lnTo>
                  <a:lnTo>
                    <a:pt x="1043" y="736"/>
                  </a:lnTo>
                  <a:lnTo>
                    <a:pt x="1047" y="736"/>
                  </a:lnTo>
                  <a:lnTo>
                    <a:pt x="1052" y="736"/>
                  </a:lnTo>
                  <a:lnTo>
                    <a:pt x="1056" y="736"/>
                  </a:lnTo>
                  <a:lnTo>
                    <a:pt x="1056" y="736"/>
                  </a:lnTo>
                  <a:lnTo>
                    <a:pt x="1065" y="731"/>
                  </a:lnTo>
                  <a:lnTo>
                    <a:pt x="1070" y="731"/>
                  </a:lnTo>
                  <a:lnTo>
                    <a:pt x="1075" y="731"/>
                  </a:lnTo>
                  <a:lnTo>
                    <a:pt x="1079" y="736"/>
                  </a:lnTo>
                  <a:lnTo>
                    <a:pt x="1079" y="740"/>
                  </a:lnTo>
                  <a:lnTo>
                    <a:pt x="1079" y="745"/>
                  </a:lnTo>
                  <a:lnTo>
                    <a:pt x="1079" y="750"/>
                  </a:lnTo>
                  <a:lnTo>
                    <a:pt x="1079" y="759"/>
                  </a:lnTo>
                  <a:lnTo>
                    <a:pt x="1075" y="763"/>
                  </a:lnTo>
                  <a:lnTo>
                    <a:pt x="1075" y="768"/>
                  </a:lnTo>
                  <a:lnTo>
                    <a:pt x="1075" y="772"/>
                  </a:lnTo>
                  <a:lnTo>
                    <a:pt x="1070" y="772"/>
                  </a:lnTo>
                  <a:lnTo>
                    <a:pt x="1070" y="772"/>
                  </a:lnTo>
                  <a:lnTo>
                    <a:pt x="1065" y="777"/>
                  </a:lnTo>
                  <a:lnTo>
                    <a:pt x="1065" y="772"/>
                  </a:lnTo>
                  <a:lnTo>
                    <a:pt x="1065" y="772"/>
                  </a:lnTo>
                  <a:lnTo>
                    <a:pt x="1061" y="768"/>
                  </a:lnTo>
                  <a:lnTo>
                    <a:pt x="1061" y="763"/>
                  </a:lnTo>
                  <a:lnTo>
                    <a:pt x="1056" y="759"/>
                  </a:lnTo>
                  <a:lnTo>
                    <a:pt x="1056" y="759"/>
                  </a:lnTo>
                  <a:lnTo>
                    <a:pt x="1052" y="759"/>
                  </a:lnTo>
                  <a:lnTo>
                    <a:pt x="1047" y="754"/>
                  </a:lnTo>
                  <a:lnTo>
                    <a:pt x="1043" y="754"/>
                  </a:lnTo>
                  <a:lnTo>
                    <a:pt x="1038" y="754"/>
                  </a:lnTo>
                  <a:lnTo>
                    <a:pt x="1033" y="754"/>
                  </a:lnTo>
                  <a:lnTo>
                    <a:pt x="1029" y="754"/>
                  </a:lnTo>
                  <a:lnTo>
                    <a:pt x="1015" y="759"/>
                  </a:lnTo>
                  <a:lnTo>
                    <a:pt x="1015" y="759"/>
                  </a:lnTo>
                  <a:lnTo>
                    <a:pt x="1015" y="763"/>
                  </a:lnTo>
                  <a:lnTo>
                    <a:pt x="1011" y="768"/>
                  </a:lnTo>
                  <a:lnTo>
                    <a:pt x="1011" y="772"/>
                  </a:lnTo>
                  <a:lnTo>
                    <a:pt x="1011" y="777"/>
                  </a:lnTo>
                  <a:lnTo>
                    <a:pt x="1011" y="782"/>
                  </a:lnTo>
                  <a:lnTo>
                    <a:pt x="1011" y="786"/>
                  </a:lnTo>
                  <a:lnTo>
                    <a:pt x="1006" y="786"/>
                  </a:lnTo>
                  <a:lnTo>
                    <a:pt x="1006" y="791"/>
                  </a:lnTo>
                  <a:lnTo>
                    <a:pt x="1001" y="795"/>
                  </a:lnTo>
                  <a:lnTo>
                    <a:pt x="997" y="795"/>
                  </a:lnTo>
                  <a:lnTo>
                    <a:pt x="992" y="795"/>
                  </a:lnTo>
                  <a:lnTo>
                    <a:pt x="992" y="800"/>
                  </a:lnTo>
                  <a:lnTo>
                    <a:pt x="988" y="800"/>
                  </a:lnTo>
                  <a:lnTo>
                    <a:pt x="979" y="800"/>
                  </a:lnTo>
                  <a:lnTo>
                    <a:pt x="969" y="800"/>
                  </a:lnTo>
                  <a:lnTo>
                    <a:pt x="969" y="795"/>
                  </a:lnTo>
                  <a:lnTo>
                    <a:pt x="965" y="795"/>
                  </a:lnTo>
                  <a:lnTo>
                    <a:pt x="960" y="795"/>
                  </a:lnTo>
                  <a:lnTo>
                    <a:pt x="960" y="795"/>
                  </a:lnTo>
                  <a:lnTo>
                    <a:pt x="956" y="795"/>
                  </a:lnTo>
                  <a:lnTo>
                    <a:pt x="951" y="795"/>
                  </a:lnTo>
                  <a:lnTo>
                    <a:pt x="947" y="791"/>
                  </a:lnTo>
                  <a:lnTo>
                    <a:pt x="947" y="786"/>
                  </a:lnTo>
                  <a:lnTo>
                    <a:pt x="942" y="786"/>
                  </a:lnTo>
                  <a:lnTo>
                    <a:pt x="942" y="782"/>
                  </a:lnTo>
                  <a:lnTo>
                    <a:pt x="937" y="777"/>
                  </a:lnTo>
                  <a:lnTo>
                    <a:pt x="933" y="772"/>
                  </a:lnTo>
                  <a:lnTo>
                    <a:pt x="928" y="772"/>
                  </a:lnTo>
                  <a:lnTo>
                    <a:pt x="924" y="772"/>
                  </a:lnTo>
                  <a:lnTo>
                    <a:pt x="919" y="772"/>
                  </a:lnTo>
                  <a:lnTo>
                    <a:pt x="915" y="772"/>
                  </a:lnTo>
                  <a:lnTo>
                    <a:pt x="915" y="777"/>
                  </a:lnTo>
                  <a:lnTo>
                    <a:pt x="910" y="777"/>
                  </a:lnTo>
                  <a:lnTo>
                    <a:pt x="910" y="782"/>
                  </a:lnTo>
                  <a:lnTo>
                    <a:pt x="905" y="782"/>
                  </a:lnTo>
                  <a:lnTo>
                    <a:pt x="905" y="782"/>
                  </a:lnTo>
                  <a:lnTo>
                    <a:pt x="901" y="782"/>
                  </a:lnTo>
                  <a:lnTo>
                    <a:pt x="896" y="777"/>
                  </a:lnTo>
                  <a:lnTo>
                    <a:pt x="892" y="777"/>
                  </a:lnTo>
                  <a:lnTo>
                    <a:pt x="887" y="772"/>
                  </a:lnTo>
                  <a:lnTo>
                    <a:pt x="883" y="772"/>
                  </a:lnTo>
                  <a:lnTo>
                    <a:pt x="883" y="772"/>
                  </a:lnTo>
                  <a:lnTo>
                    <a:pt x="878" y="772"/>
                  </a:lnTo>
                  <a:lnTo>
                    <a:pt x="864" y="777"/>
                  </a:lnTo>
                  <a:lnTo>
                    <a:pt x="860" y="777"/>
                  </a:lnTo>
                  <a:lnTo>
                    <a:pt x="860" y="777"/>
                  </a:lnTo>
                  <a:lnTo>
                    <a:pt x="860" y="772"/>
                  </a:lnTo>
                  <a:lnTo>
                    <a:pt x="855" y="772"/>
                  </a:lnTo>
                  <a:lnTo>
                    <a:pt x="855" y="772"/>
                  </a:lnTo>
                  <a:lnTo>
                    <a:pt x="851" y="768"/>
                  </a:lnTo>
                  <a:lnTo>
                    <a:pt x="851" y="763"/>
                  </a:lnTo>
                  <a:lnTo>
                    <a:pt x="846" y="759"/>
                  </a:lnTo>
                  <a:lnTo>
                    <a:pt x="841" y="759"/>
                  </a:lnTo>
                  <a:lnTo>
                    <a:pt x="837" y="759"/>
                  </a:lnTo>
                  <a:lnTo>
                    <a:pt x="837" y="754"/>
                  </a:lnTo>
                  <a:lnTo>
                    <a:pt x="828" y="754"/>
                  </a:lnTo>
                  <a:lnTo>
                    <a:pt x="823" y="754"/>
                  </a:lnTo>
                  <a:lnTo>
                    <a:pt x="819" y="754"/>
                  </a:lnTo>
                  <a:lnTo>
                    <a:pt x="819" y="759"/>
                  </a:lnTo>
                  <a:lnTo>
                    <a:pt x="814" y="763"/>
                  </a:lnTo>
                  <a:lnTo>
                    <a:pt x="809" y="763"/>
                  </a:lnTo>
                  <a:lnTo>
                    <a:pt x="805" y="768"/>
                  </a:lnTo>
                  <a:lnTo>
                    <a:pt x="800" y="768"/>
                  </a:lnTo>
                  <a:lnTo>
                    <a:pt x="796" y="763"/>
                  </a:lnTo>
                  <a:lnTo>
                    <a:pt x="796" y="763"/>
                  </a:lnTo>
                  <a:lnTo>
                    <a:pt x="791" y="763"/>
                  </a:lnTo>
                  <a:lnTo>
                    <a:pt x="787" y="763"/>
                  </a:lnTo>
                  <a:lnTo>
                    <a:pt x="782" y="763"/>
                  </a:lnTo>
                  <a:lnTo>
                    <a:pt x="782" y="768"/>
                  </a:lnTo>
                  <a:lnTo>
                    <a:pt x="777" y="768"/>
                  </a:lnTo>
                  <a:lnTo>
                    <a:pt x="773" y="768"/>
                  </a:lnTo>
                  <a:lnTo>
                    <a:pt x="773" y="768"/>
                  </a:lnTo>
                  <a:lnTo>
                    <a:pt x="773" y="772"/>
                  </a:lnTo>
                  <a:lnTo>
                    <a:pt x="768" y="772"/>
                  </a:lnTo>
                  <a:lnTo>
                    <a:pt x="755" y="772"/>
                  </a:lnTo>
                  <a:lnTo>
                    <a:pt x="750" y="772"/>
                  </a:lnTo>
                  <a:lnTo>
                    <a:pt x="750" y="772"/>
                  </a:lnTo>
                  <a:lnTo>
                    <a:pt x="750" y="772"/>
                  </a:lnTo>
                  <a:lnTo>
                    <a:pt x="741" y="772"/>
                  </a:lnTo>
                  <a:lnTo>
                    <a:pt x="736" y="772"/>
                  </a:lnTo>
                  <a:lnTo>
                    <a:pt x="732" y="768"/>
                  </a:lnTo>
                  <a:lnTo>
                    <a:pt x="727" y="772"/>
                  </a:lnTo>
                  <a:lnTo>
                    <a:pt x="727" y="772"/>
                  </a:lnTo>
                  <a:lnTo>
                    <a:pt x="723" y="772"/>
                  </a:lnTo>
                  <a:lnTo>
                    <a:pt x="713" y="772"/>
                  </a:lnTo>
                  <a:lnTo>
                    <a:pt x="709" y="772"/>
                  </a:lnTo>
                  <a:lnTo>
                    <a:pt x="704" y="772"/>
                  </a:lnTo>
                  <a:lnTo>
                    <a:pt x="700" y="772"/>
                  </a:lnTo>
                  <a:lnTo>
                    <a:pt x="691" y="768"/>
                  </a:lnTo>
                  <a:lnTo>
                    <a:pt x="686" y="763"/>
                  </a:lnTo>
                  <a:lnTo>
                    <a:pt x="681" y="759"/>
                  </a:lnTo>
                  <a:lnTo>
                    <a:pt x="677" y="750"/>
                  </a:lnTo>
                  <a:lnTo>
                    <a:pt x="672" y="750"/>
                  </a:lnTo>
                  <a:lnTo>
                    <a:pt x="672" y="750"/>
                  </a:lnTo>
                  <a:lnTo>
                    <a:pt x="672" y="745"/>
                  </a:lnTo>
                  <a:lnTo>
                    <a:pt x="668" y="736"/>
                  </a:lnTo>
                  <a:lnTo>
                    <a:pt x="672" y="731"/>
                  </a:lnTo>
                  <a:lnTo>
                    <a:pt x="668" y="727"/>
                  </a:lnTo>
                  <a:lnTo>
                    <a:pt x="668" y="722"/>
                  </a:lnTo>
                  <a:lnTo>
                    <a:pt x="663" y="718"/>
                  </a:lnTo>
                  <a:lnTo>
                    <a:pt x="663" y="713"/>
                  </a:lnTo>
                  <a:lnTo>
                    <a:pt x="663" y="708"/>
                  </a:lnTo>
                  <a:lnTo>
                    <a:pt x="663" y="708"/>
                  </a:lnTo>
                  <a:lnTo>
                    <a:pt x="659" y="704"/>
                  </a:lnTo>
                  <a:lnTo>
                    <a:pt x="654" y="699"/>
                  </a:lnTo>
                  <a:lnTo>
                    <a:pt x="649" y="699"/>
                  </a:lnTo>
                  <a:lnTo>
                    <a:pt x="645" y="695"/>
                  </a:lnTo>
                  <a:lnTo>
                    <a:pt x="640" y="690"/>
                  </a:lnTo>
                  <a:lnTo>
                    <a:pt x="640" y="686"/>
                  </a:lnTo>
                  <a:lnTo>
                    <a:pt x="640" y="686"/>
                  </a:lnTo>
                  <a:lnTo>
                    <a:pt x="631" y="681"/>
                  </a:lnTo>
                  <a:lnTo>
                    <a:pt x="631" y="676"/>
                  </a:lnTo>
                  <a:lnTo>
                    <a:pt x="627" y="672"/>
                  </a:lnTo>
                  <a:lnTo>
                    <a:pt x="617" y="667"/>
                  </a:lnTo>
                  <a:lnTo>
                    <a:pt x="617" y="663"/>
                  </a:lnTo>
                  <a:lnTo>
                    <a:pt x="617" y="658"/>
                  </a:lnTo>
                  <a:lnTo>
                    <a:pt x="613" y="658"/>
                  </a:lnTo>
                  <a:lnTo>
                    <a:pt x="608" y="649"/>
                  </a:lnTo>
                  <a:lnTo>
                    <a:pt x="608" y="644"/>
                  </a:lnTo>
                  <a:lnTo>
                    <a:pt x="604" y="640"/>
                  </a:lnTo>
                  <a:lnTo>
                    <a:pt x="599" y="635"/>
                  </a:lnTo>
                  <a:lnTo>
                    <a:pt x="599" y="631"/>
                  </a:lnTo>
                  <a:lnTo>
                    <a:pt x="599" y="626"/>
                  </a:lnTo>
                  <a:lnTo>
                    <a:pt x="595" y="622"/>
                  </a:lnTo>
                  <a:lnTo>
                    <a:pt x="590" y="612"/>
                  </a:lnTo>
                  <a:lnTo>
                    <a:pt x="585" y="603"/>
                  </a:lnTo>
                  <a:lnTo>
                    <a:pt x="585" y="599"/>
                  </a:lnTo>
                  <a:lnTo>
                    <a:pt x="581" y="599"/>
                  </a:lnTo>
                  <a:lnTo>
                    <a:pt x="581" y="599"/>
                  </a:lnTo>
                  <a:lnTo>
                    <a:pt x="576" y="594"/>
                  </a:lnTo>
                  <a:lnTo>
                    <a:pt x="576" y="590"/>
                  </a:lnTo>
                  <a:lnTo>
                    <a:pt x="576" y="585"/>
                  </a:lnTo>
                  <a:lnTo>
                    <a:pt x="572" y="580"/>
                  </a:lnTo>
                  <a:lnTo>
                    <a:pt x="572" y="576"/>
                  </a:lnTo>
                  <a:lnTo>
                    <a:pt x="567" y="576"/>
                  </a:lnTo>
                  <a:lnTo>
                    <a:pt x="563" y="567"/>
                  </a:lnTo>
                  <a:lnTo>
                    <a:pt x="558" y="558"/>
                  </a:lnTo>
                  <a:lnTo>
                    <a:pt x="553" y="558"/>
                  </a:lnTo>
                  <a:lnTo>
                    <a:pt x="553" y="553"/>
                  </a:lnTo>
                  <a:lnTo>
                    <a:pt x="553" y="553"/>
                  </a:lnTo>
                  <a:lnTo>
                    <a:pt x="553" y="553"/>
                  </a:lnTo>
                  <a:lnTo>
                    <a:pt x="553" y="548"/>
                  </a:lnTo>
                  <a:lnTo>
                    <a:pt x="553" y="544"/>
                  </a:lnTo>
                  <a:lnTo>
                    <a:pt x="549" y="539"/>
                  </a:lnTo>
                  <a:lnTo>
                    <a:pt x="549" y="535"/>
                  </a:lnTo>
                  <a:lnTo>
                    <a:pt x="544" y="530"/>
                  </a:lnTo>
                  <a:lnTo>
                    <a:pt x="544" y="526"/>
                  </a:lnTo>
                  <a:lnTo>
                    <a:pt x="544" y="521"/>
                  </a:lnTo>
                  <a:lnTo>
                    <a:pt x="544" y="512"/>
                  </a:lnTo>
                  <a:lnTo>
                    <a:pt x="544" y="507"/>
                  </a:lnTo>
                  <a:lnTo>
                    <a:pt x="544" y="503"/>
                  </a:lnTo>
                  <a:lnTo>
                    <a:pt x="544" y="498"/>
                  </a:lnTo>
                  <a:lnTo>
                    <a:pt x="544" y="494"/>
                  </a:lnTo>
                  <a:lnTo>
                    <a:pt x="544" y="489"/>
                  </a:lnTo>
                  <a:lnTo>
                    <a:pt x="549" y="489"/>
                  </a:lnTo>
                  <a:lnTo>
                    <a:pt x="553" y="489"/>
                  </a:lnTo>
                  <a:lnTo>
                    <a:pt x="553" y="484"/>
                  </a:lnTo>
                  <a:lnTo>
                    <a:pt x="553" y="480"/>
                  </a:lnTo>
                  <a:lnTo>
                    <a:pt x="553" y="480"/>
                  </a:lnTo>
                  <a:lnTo>
                    <a:pt x="553" y="475"/>
                  </a:lnTo>
                  <a:lnTo>
                    <a:pt x="558" y="471"/>
                  </a:lnTo>
                  <a:lnTo>
                    <a:pt x="558" y="466"/>
                  </a:lnTo>
                  <a:lnTo>
                    <a:pt x="563" y="466"/>
                  </a:lnTo>
                  <a:lnTo>
                    <a:pt x="567" y="457"/>
                  </a:lnTo>
                  <a:lnTo>
                    <a:pt x="576" y="452"/>
                  </a:lnTo>
                  <a:lnTo>
                    <a:pt x="576" y="448"/>
                  </a:lnTo>
                  <a:lnTo>
                    <a:pt x="576" y="443"/>
                  </a:lnTo>
                  <a:lnTo>
                    <a:pt x="581" y="443"/>
                  </a:lnTo>
                  <a:lnTo>
                    <a:pt x="585" y="443"/>
                  </a:lnTo>
                  <a:lnTo>
                    <a:pt x="599" y="434"/>
                  </a:lnTo>
                  <a:lnTo>
                    <a:pt x="604" y="430"/>
                  </a:lnTo>
                  <a:lnTo>
                    <a:pt x="604" y="425"/>
                  </a:lnTo>
                  <a:lnTo>
                    <a:pt x="608" y="425"/>
                  </a:lnTo>
                  <a:lnTo>
                    <a:pt x="608" y="420"/>
                  </a:lnTo>
                  <a:lnTo>
                    <a:pt x="608" y="420"/>
                  </a:lnTo>
                  <a:lnTo>
                    <a:pt x="608" y="416"/>
                  </a:lnTo>
                  <a:lnTo>
                    <a:pt x="604" y="411"/>
                  </a:lnTo>
                  <a:lnTo>
                    <a:pt x="599" y="407"/>
                  </a:lnTo>
                  <a:lnTo>
                    <a:pt x="599" y="402"/>
                  </a:lnTo>
                  <a:lnTo>
                    <a:pt x="590" y="407"/>
                  </a:lnTo>
                  <a:lnTo>
                    <a:pt x="585" y="407"/>
                  </a:lnTo>
                  <a:lnTo>
                    <a:pt x="585" y="411"/>
                  </a:lnTo>
                  <a:lnTo>
                    <a:pt x="581" y="411"/>
                  </a:lnTo>
                  <a:lnTo>
                    <a:pt x="576" y="411"/>
                  </a:lnTo>
                  <a:lnTo>
                    <a:pt x="576" y="416"/>
                  </a:lnTo>
                  <a:lnTo>
                    <a:pt x="576" y="416"/>
                  </a:lnTo>
                  <a:lnTo>
                    <a:pt x="576" y="420"/>
                  </a:lnTo>
                  <a:lnTo>
                    <a:pt x="567" y="420"/>
                  </a:lnTo>
                  <a:lnTo>
                    <a:pt x="558" y="425"/>
                  </a:lnTo>
                  <a:lnTo>
                    <a:pt x="558" y="430"/>
                  </a:lnTo>
                  <a:lnTo>
                    <a:pt x="553" y="434"/>
                  </a:lnTo>
                  <a:lnTo>
                    <a:pt x="553" y="439"/>
                  </a:lnTo>
                  <a:lnTo>
                    <a:pt x="549" y="439"/>
                  </a:lnTo>
                  <a:lnTo>
                    <a:pt x="544" y="439"/>
                  </a:lnTo>
                  <a:lnTo>
                    <a:pt x="540" y="439"/>
                  </a:lnTo>
                  <a:lnTo>
                    <a:pt x="535" y="434"/>
                  </a:lnTo>
                  <a:lnTo>
                    <a:pt x="531" y="434"/>
                  </a:lnTo>
                  <a:lnTo>
                    <a:pt x="531" y="430"/>
                  </a:lnTo>
                  <a:lnTo>
                    <a:pt x="526" y="430"/>
                  </a:lnTo>
                  <a:lnTo>
                    <a:pt x="521" y="425"/>
                  </a:lnTo>
                  <a:lnTo>
                    <a:pt x="517" y="425"/>
                  </a:lnTo>
                  <a:lnTo>
                    <a:pt x="512" y="420"/>
                  </a:lnTo>
                  <a:lnTo>
                    <a:pt x="512" y="420"/>
                  </a:lnTo>
                  <a:lnTo>
                    <a:pt x="508" y="420"/>
                  </a:lnTo>
                  <a:lnTo>
                    <a:pt x="508" y="416"/>
                  </a:lnTo>
                  <a:lnTo>
                    <a:pt x="503" y="407"/>
                  </a:lnTo>
                  <a:lnTo>
                    <a:pt x="499" y="407"/>
                  </a:lnTo>
                  <a:lnTo>
                    <a:pt x="499" y="402"/>
                  </a:lnTo>
                  <a:lnTo>
                    <a:pt x="494" y="402"/>
                  </a:lnTo>
                  <a:lnTo>
                    <a:pt x="494" y="402"/>
                  </a:lnTo>
                  <a:lnTo>
                    <a:pt x="489" y="398"/>
                  </a:lnTo>
                  <a:lnTo>
                    <a:pt x="485" y="398"/>
                  </a:lnTo>
                  <a:lnTo>
                    <a:pt x="485" y="393"/>
                  </a:lnTo>
                  <a:lnTo>
                    <a:pt x="480" y="393"/>
                  </a:lnTo>
                  <a:lnTo>
                    <a:pt x="476" y="388"/>
                  </a:lnTo>
                  <a:lnTo>
                    <a:pt x="476" y="384"/>
                  </a:lnTo>
                  <a:lnTo>
                    <a:pt x="471" y="379"/>
                  </a:lnTo>
                  <a:lnTo>
                    <a:pt x="476" y="375"/>
                  </a:lnTo>
                  <a:lnTo>
                    <a:pt x="471" y="375"/>
                  </a:lnTo>
                  <a:lnTo>
                    <a:pt x="471" y="370"/>
                  </a:lnTo>
                  <a:lnTo>
                    <a:pt x="467" y="365"/>
                  </a:lnTo>
                  <a:lnTo>
                    <a:pt x="467" y="361"/>
                  </a:lnTo>
                  <a:lnTo>
                    <a:pt x="467" y="356"/>
                  </a:lnTo>
                  <a:lnTo>
                    <a:pt x="467" y="356"/>
                  </a:lnTo>
                  <a:lnTo>
                    <a:pt x="467" y="356"/>
                  </a:lnTo>
                  <a:lnTo>
                    <a:pt x="453" y="347"/>
                  </a:lnTo>
                  <a:lnTo>
                    <a:pt x="448" y="343"/>
                  </a:lnTo>
                  <a:lnTo>
                    <a:pt x="444" y="338"/>
                  </a:lnTo>
                  <a:lnTo>
                    <a:pt x="444" y="338"/>
                  </a:lnTo>
                  <a:lnTo>
                    <a:pt x="435" y="338"/>
                  </a:lnTo>
                  <a:lnTo>
                    <a:pt x="430" y="338"/>
                  </a:lnTo>
                  <a:lnTo>
                    <a:pt x="425" y="338"/>
                  </a:lnTo>
                  <a:lnTo>
                    <a:pt x="421" y="338"/>
                  </a:lnTo>
                  <a:lnTo>
                    <a:pt x="421" y="338"/>
                  </a:lnTo>
                  <a:lnTo>
                    <a:pt x="421" y="343"/>
                  </a:lnTo>
                  <a:lnTo>
                    <a:pt x="416" y="343"/>
                  </a:lnTo>
                  <a:lnTo>
                    <a:pt x="412" y="343"/>
                  </a:lnTo>
                  <a:lnTo>
                    <a:pt x="412" y="347"/>
                  </a:lnTo>
                  <a:lnTo>
                    <a:pt x="407" y="347"/>
                  </a:lnTo>
                  <a:lnTo>
                    <a:pt x="403" y="347"/>
                  </a:lnTo>
                  <a:lnTo>
                    <a:pt x="403" y="352"/>
                  </a:lnTo>
                  <a:lnTo>
                    <a:pt x="398" y="356"/>
                  </a:lnTo>
                  <a:lnTo>
                    <a:pt x="398" y="356"/>
                  </a:lnTo>
                  <a:lnTo>
                    <a:pt x="389" y="361"/>
                  </a:lnTo>
                  <a:lnTo>
                    <a:pt x="389" y="365"/>
                  </a:lnTo>
                  <a:lnTo>
                    <a:pt x="384" y="370"/>
                  </a:lnTo>
                  <a:lnTo>
                    <a:pt x="384" y="375"/>
                  </a:lnTo>
                  <a:lnTo>
                    <a:pt x="384" y="379"/>
                  </a:lnTo>
                  <a:lnTo>
                    <a:pt x="384" y="379"/>
                  </a:lnTo>
                  <a:lnTo>
                    <a:pt x="384" y="384"/>
                  </a:lnTo>
                  <a:lnTo>
                    <a:pt x="384" y="393"/>
                  </a:lnTo>
                  <a:lnTo>
                    <a:pt x="380" y="398"/>
                  </a:lnTo>
                  <a:lnTo>
                    <a:pt x="380" y="402"/>
                  </a:lnTo>
                  <a:lnTo>
                    <a:pt x="380" y="402"/>
                  </a:lnTo>
                  <a:lnTo>
                    <a:pt x="380" y="402"/>
                  </a:lnTo>
                  <a:lnTo>
                    <a:pt x="375" y="407"/>
                  </a:lnTo>
                  <a:lnTo>
                    <a:pt x="371" y="407"/>
                  </a:lnTo>
                  <a:lnTo>
                    <a:pt x="371" y="411"/>
                  </a:lnTo>
                  <a:lnTo>
                    <a:pt x="366" y="411"/>
                  </a:lnTo>
                  <a:lnTo>
                    <a:pt x="366" y="416"/>
                  </a:lnTo>
                  <a:lnTo>
                    <a:pt x="361" y="416"/>
                  </a:lnTo>
                  <a:lnTo>
                    <a:pt x="357" y="416"/>
                  </a:lnTo>
                  <a:lnTo>
                    <a:pt x="357" y="420"/>
                  </a:lnTo>
                  <a:lnTo>
                    <a:pt x="357" y="420"/>
                  </a:lnTo>
                  <a:lnTo>
                    <a:pt x="352" y="420"/>
                  </a:lnTo>
                  <a:lnTo>
                    <a:pt x="348" y="420"/>
                  </a:lnTo>
                  <a:lnTo>
                    <a:pt x="348" y="425"/>
                  </a:lnTo>
                  <a:lnTo>
                    <a:pt x="343" y="425"/>
                  </a:lnTo>
                  <a:lnTo>
                    <a:pt x="339" y="425"/>
                  </a:lnTo>
                  <a:lnTo>
                    <a:pt x="329" y="434"/>
                  </a:lnTo>
                  <a:lnTo>
                    <a:pt x="320" y="439"/>
                  </a:lnTo>
                  <a:lnTo>
                    <a:pt x="307" y="443"/>
                  </a:lnTo>
                  <a:lnTo>
                    <a:pt x="302" y="443"/>
                  </a:lnTo>
                  <a:lnTo>
                    <a:pt x="288" y="443"/>
                  </a:lnTo>
                  <a:lnTo>
                    <a:pt x="288" y="448"/>
                  </a:lnTo>
                  <a:lnTo>
                    <a:pt x="279" y="452"/>
                  </a:lnTo>
                  <a:lnTo>
                    <a:pt x="275" y="452"/>
                  </a:lnTo>
                  <a:lnTo>
                    <a:pt x="270" y="457"/>
                  </a:lnTo>
                  <a:lnTo>
                    <a:pt x="265" y="462"/>
                  </a:lnTo>
                  <a:lnTo>
                    <a:pt x="261" y="462"/>
                  </a:lnTo>
                  <a:lnTo>
                    <a:pt x="256" y="466"/>
                  </a:lnTo>
                  <a:lnTo>
                    <a:pt x="256" y="466"/>
                  </a:lnTo>
                  <a:lnTo>
                    <a:pt x="252" y="466"/>
                  </a:lnTo>
                  <a:lnTo>
                    <a:pt x="247" y="471"/>
                  </a:lnTo>
                  <a:lnTo>
                    <a:pt x="238" y="475"/>
                  </a:lnTo>
                  <a:lnTo>
                    <a:pt x="233" y="475"/>
                  </a:lnTo>
                  <a:lnTo>
                    <a:pt x="229" y="475"/>
                  </a:lnTo>
                  <a:lnTo>
                    <a:pt x="224" y="475"/>
                  </a:lnTo>
                  <a:lnTo>
                    <a:pt x="224" y="475"/>
                  </a:lnTo>
                  <a:lnTo>
                    <a:pt x="220" y="480"/>
                  </a:lnTo>
                  <a:lnTo>
                    <a:pt x="215" y="480"/>
                  </a:lnTo>
                  <a:lnTo>
                    <a:pt x="215" y="484"/>
                  </a:lnTo>
                  <a:lnTo>
                    <a:pt x="206" y="489"/>
                  </a:lnTo>
                  <a:lnTo>
                    <a:pt x="201" y="489"/>
                  </a:lnTo>
                  <a:lnTo>
                    <a:pt x="201" y="489"/>
                  </a:lnTo>
                  <a:lnTo>
                    <a:pt x="197" y="489"/>
                  </a:lnTo>
                  <a:lnTo>
                    <a:pt x="192" y="489"/>
                  </a:lnTo>
                  <a:lnTo>
                    <a:pt x="183" y="489"/>
                  </a:lnTo>
                  <a:lnTo>
                    <a:pt x="179" y="489"/>
                  </a:lnTo>
                  <a:lnTo>
                    <a:pt x="179" y="489"/>
                  </a:lnTo>
                  <a:lnTo>
                    <a:pt x="179" y="489"/>
                  </a:lnTo>
                  <a:lnTo>
                    <a:pt x="174" y="489"/>
                  </a:lnTo>
                  <a:lnTo>
                    <a:pt x="169" y="489"/>
                  </a:lnTo>
                  <a:lnTo>
                    <a:pt x="165" y="489"/>
                  </a:lnTo>
                  <a:lnTo>
                    <a:pt x="160" y="489"/>
                  </a:lnTo>
                  <a:lnTo>
                    <a:pt x="160" y="489"/>
                  </a:lnTo>
                  <a:lnTo>
                    <a:pt x="156" y="489"/>
                  </a:lnTo>
                  <a:lnTo>
                    <a:pt x="151" y="489"/>
                  </a:lnTo>
                  <a:lnTo>
                    <a:pt x="147" y="489"/>
                  </a:lnTo>
                  <a:lnTo>
                    <a:pt x="142" y="489"/>
                  </a:lnTo>
                  <a:lnTo>
                    <a:pt x="137" y="494"/>
                  </a:lnTo>
                  <a:lnTo>
                    <a:pt x="137" y="494"/>
                  </a:lnTo>
                  <a:lnTo>
                    <a:pt x="137" y="498"/>
                  </a:lnTo>
                  <a:lnTo>
                    <a:pt x="133" y="498"/>
                  </a:lnTo>
                  <a:lnTo>
                    <a:pt x="128" y="503"/>
                  </a:lnTo>
                  <a:lnTo>
                    <a:pt x="124" y="503"/>
                  </a:lnTo>
                  <a:lnTo>
                    <a:pt x="119" y="507"/>
                  </a:lnTo>
                  <a:lnTo>
                    <a:pt x="119" y="512"/>
                  </a:lnTo>
                  <a:lnTo>
                    <a:pt x="115" y="512"/>
                  </a:lnTo>
                  <a:lnTo>
                    <a:pt x="115" y="512"/>
                  </a:lnTo>
                  <a:lnTo>
                    <a:pt x="110" y="512"/>
                  </a:lnTo>
                  <a:lnTo>
                    <a:pt x="110" y="516"/>
                  </a:lnTo>
                  <a:lnTo>
                    <a:pt x="105" y="521"/>
                  </a:lnTo>
                  <a:lnTo>
                    <a:pt x="101" y="526"/>
                  </a:lnTo>
                  <a:lnTo>
                    <a:pt x="96" y="526"/>
                  </a:lnTo>
                  <a:lnTo>
                    <a:pt x="92" y="530"/>
                  </a:lnTo>
                  <a:lnTo>
                    <a:pt x="87" y="535"/>
                  </a:lnTo>
                  <a:lnTo>
                    <a:pt x="83" y="535"/>
                  </a:lnTo>
                  <a:lnTo>
                    <a:pt x="78" y="544"/>
                  </a:lnTo>
                  <a:lnTo>
                    <a:pt x="73" y="544"/>
                  </a:lnTo>
                  <a:lnTo>
                    <a:pt x="73" y="548"/>
                  </a:lnTo>
                  <a:lnTo>
                    <a:pt x="69" y="548"/>
                  </a:lnTo>
                  <a:lnTo>
                    <a:pt x="69" y="553"/>
                  </a:lnTo>
                  <a:lnTo>
                    <a:pt x="69" y="553"/>
                  </a:lnTo>
                  <a:lnTo>
                    <a:pt x="69" y="553"/>
                  </a:lnTo>
                  <a:lnTo>
                    <a:pt x="64" y="553"/>
                  </a:lnTo>
                  <a:lnTo>
                    <a:pt x="60" y="558"/>
                  </a:lnTo>
                  <a:lnTo>
                    <a:pt x="55" y="553"/>
                  </a:lnTo>
                  <a:lnTo>
                    <a:pt x="51" y="553"/>
                  </a:lnTo>
                  <a:lnTo>
                    <a:pt x="46" y="553"/>
                  </a:lnTo>
                  <a:lnTo>
                    <a:pt x="37" y="553"/>
                  </a:lnTo>
                  <a:lnTo>
                    <a:pt x="28" y="553"/>
                  </a:lnTo>
                  <a:lnTo>
                    <a:pt x="28" y="553"/>
                  </a:lnTo>
                  <a:lnTo>
                    <a:pt x="23" y="562"/>
                  </a:lnTo>
                  <a:lnTo>
                    <a:pt x="19" y="567"/>
                  </a:lnTo>
                  <a:lnTo>
                    <a:pt x="14" y="571"/>
                  </a:lnTo>
                  <a:lnTo>
                    <a:pt x="9" y="571"/>
                  </a:lnTo>
                  <a:lnTo>
                    <a:pt x="9" y="571"/>
                  </a:lnTo>
                  <a:lnTo>
                    <a:pt x="9" y="567"/>
                  </a:lnTo>
                  <a:lnTo>
                    <a:pt x="9" y="567"/>
                  </a:lnTo>
                  <a:lnTo>
                    <a:pt x="9" y="558"/>
                  </a:lnTo>
                  <a:lnTo>
                    <a:pt x="9" y="553"/>
                  </a:lnTo>
                  <a:lnTo>
                    <a:pt x="9" y="548"/>
                  </a:lnTo>
                  <a:lnTo>
                    <a:pt x="9" y="544"/>
                  </a:lnTo>
                  <a:lnTo>
                    <a:pt x="5" y="544"/>
                  </a:lnTo>
                  <a:lnTo>
                    <a:pt x="5" y="544"/>
                  </a:lnTo>
                  <a:lnTo>
                    <a:pt x="5" y="539"/>
                  </a:lnTo>
                  <a:lnTo>
                    <a:pt x="9" y="539"/>
                  </a:lnTo>
                  <a:lnTo>
                    <a:pt x="9" y="535"/>
                  </a:lnTo>
                  <a:lnTo>
                    <a:pt x="9" y="530"/>
                  </a:lnTo>
                  <a:lnTo>
                    <a:pt x="9" y="526"/>
                  </a:lnTo>
                  <a:lnTo>
                    <a:pt x="9" y="521"/>
                  </a:lnTo>
                  <a:lnTo>
                    <a:pt x="9" y="516"/>
                  </a:lnTo>
                  <a:lnTo>
                    <a:pt x="9" y="512"/>
                  </a:lnTo>
                  <a:lnTo>
                    <a:pt x="9" y="507"/>
                  </a:lnTo>
                  <a:lnTo>
                    <a:pt x="9" y="507"/>
                  </a:lnTo>
                  <a:lnTo>
                    <a:pt x="5" y="503"/>
                  </a:lnTo>
                  <a:lnTo>
                    <a:pt x="5" y="498"/>
                  </a:lnTo>
                  <a:lnTo>
                    <a:pt x="0" y="498"/>
                  </a:lnTo>
                  <a:lnTo>
                    <a:pt x="5" y="494"/>
                  </a:lnTo>
                  <a:lnTo>
                    <a:pt x="5" y="494"/>
                  </a:lnTo>
                  <a:lnTo>
                    <a:pt x="5" y="489"/>
                  </a:lnTo>
                  <a:lnTo>
                    <a:pt x="9" y="489"/>
                  </a:lnTo>
                  <a:lnTo>
                    <a:pt x="14" y="484"/>
                  </a:lnTo>
                  <a:lnTo>
                    <a:pt x="14" y="484"/>
                  </a:lnTo>
                  <a:lnTo>
                    <a:pt x="14" y="484"/>
                  </a:lnTo>
                  <a:lnTo>
                    <a:pt x="14" y="484"/>
                  </a:lnTo>
                  <a:lnTo>
                    <a:pt x="14" y="480"/>
                  </a:lnTo>
                  <a:lnTo>
                    <a:pt x="14" y="475"/>
                  </a:lnTo>
                  <a:lnTo>
                    <a:pt x="14" y="466"/>
                  </a:lnTo>
                  <a:lnTo>
                    <a:pt x="14" y="466"/>
                  </a:lnTo>
                  <a:lnTo>
                    <a:pt x="14" y="466"/>
                  </a:lnTo>
                  <a:lnTo>
                    <a:pt x="14" y="462"/>
                  </a:lnTo>
                  <a:lnTo>
                    <a:pt x="14" y="462"/>
                  </a:lnTo>
                  <a:lnTo>
                    <a:pt x="19" y="462"/>
                  </a:lnTo>
                  <a:lnTo>
                    <a:pt x="19" y="452"/>
                  </a:lnTo>
                  <a:lnTo>
                    <a:pt x="19" y="448"/>
                  </a:lnTo>
                  <a:lnTo>
                    <a:pt x="14" y="448"/>
                  </a:lnTo>
                  <a:lnTo>
                    <a:pt x="14" y="448"/>
                  </a:lnTo>
                  <a:lnTo>
                    <a:pt x="14" y="448"/>
                  </a:lnTo>
                  <a:lnTo>
                    <a:pt x="14" y="448"/>
                  </a:lnTo>
                  <a:lnTo>
                    <a:pt x="14" y="443"/>
                  </a:lnTo>
                  <a:lnTo>
                    <a:pt x="14" y="443"/>
                  </a:lnTo>
                  <a:lnTo>
                    <a:pt x="19" y="443"/>
                  </a:lnTo>
                  <a:lnTo>
                    <a:pt x="19" y="443"/>
                  </a:lnTo>
                  <a:lnTo>
                    <a:pt x="23" y="434"/>
                  </a:lnTo>
                  <a:lnTo>
                    <a:pt x="23" y="430"/>
                  </a:lnTo>
                  <a:lnTo>
                    <a:pt x="19" y="430"/>
                  </a:lnTo>
                  <a:lnTo>
                    <a:pt x="19" y="430"/>
                  </a:lnTo>
                  <a:lnTo>
                    <a:pt x="23" y="425"/>
                  </a:lnTo>
                  <a:lnTo>
                    <a:pt x="23" y="420"/>
                  </a:lnTo>
                  <a:lnTo>
                    <a:pt x="23" y="420"/>
                  </a:lnTo>
                  <a:lnTo>
                    <a:pt x="23" y="420"/>
                  </a:lnTo>
                  <a:lnTo>
                    <a:pt x="23" y="416"/>
                  </a:lnTo>
                  <a:lnTo>
                    <a:pt x="23" y="416"/>
                  </a:lnTo>
                  <a:lnTo>
                    <a:pt x="23" y="416"/>
                  </a:lnTo>
                  <a:lnTo>
                    <a:pt x="23" y="416"/>
                  </a:lnTo>
                  <a:lnTo>
                    <a:pt x="23" y="416"/>
                  </a:lnTo>
                  <a:lnTo>
                    <a:pt x="23" y="411"/>
                  </a:lnTo>
                  <a:lnTo>
                    <a:pt x="23" y="411"/>
                  </a:lnTo>
                  <a:lnTo>
                    <a:pt x="23" y="411"/>
                  </a:lnTo>
                  <a:lnTo>
                    <a:pt x="19" y="407"/>
                  </a:lnTo>
                  <a:lnTo>
                    <a:pt x="19" y="407"/>
                  </a:lnTo>
                  <a:lnTo>
                    <a:pt x="23" y="407"/>
                  </a:lnTo>
                  <a:lnTo>
                    <a:pt x="23" y="402"/>
                  </a:lnTo>
                  <a:lnTo>
                    <a:pt x="23" y="402"/>
                  </a:lnTo>
                  <a:lnTo>
                    <a:pt x="19" y="402"/>
                  </a:lnTo>
                  <a:lnTo>
                    <a:pt x="19" y="402"/>
                  </a:lnTo>
                  <a:lnTo>
                    <a:pt x="19" y="402"/>
                  </a:lnTo>
                  <a:lnTo>
                    <a:pt x="23" y="398"/>
                  </a:lnTo>
                  <a:lnTo>
                    <a:pt x="23" y="398"/>
                  </a:lnTo>
                  <a:lnTo>
                    <a:pt x="23" y="393"/>
                  </a:lnTo>
                  <a:lnTo>
                    <a:pt x="23" y="393"/>
                  </a:lnTo>
                  <a:lnTo>
                    <a:pt x="23" y="393"/>
                  </a:lnTo>
                  <a:lnTo>
                    <a:pt x="23" y="388"/>
                  </a:lnTo>
                  <a:lnTo>
                    <a:pt x="41" y="388"/>
                  </a:lnTo>
                  <a:lnTo>
                    <a:pt x="51" y="388"/>
                  </a:lnTo>
                  <a:lnTo>
                    <a:pt x="55" y="388"/>
                  </a:lnTo>
                  <a:lnTo>
                    <a:pt x="60" y="388"/>
                  </a:lnTo>
                  <a:lnTo>
                    <a:pt x="60" y="384"/>
                  </a:lnTo>
                  <a:lnTo>
                    <a:pt x="64" y="379"/>
                  </a:lnTo>
                  <a:lnTo>
                    <a:pt x="64" y="379"/>
                  </a:lnTo>
                  <a:lnTo>
                    <a:pt x="73" y="379"/>
                  </a:lnTo>
                  <a:lnTo>
                    <a:pt x="87" y="375"/>
                  </a:lnTo>
                  <a:lnTo>
                    <a:pt x="87" y="375"/>
                  </a:lnTo>
                  <a:lnTo>
                    <a:pt x="92" y="379"/>
                  </a:lnTo>
                  <a:lnTo>
                    <a:pt x="101" y="384"/>
                  </a:lnTo>
                  <a:lnTo>
                    <a:pt x="101" y="384"/>
                  </a:lnTo>
                  <a:lnTo>
                    <a:pt x="110" y="384"/>
                  </a:lnTo>
                  <a:lnTo>
                    <a:pt x="110" y="384"/>
                  </a:lnTo>
                  <a:lnTo>
                    <a:pt x="119" y="379"/>
                  </a:lnTo>
                  <a:lnTo>
                    <a:pt x="119" y="379"/>
                  </a:lnTo>
                  <a:lnTo>
                    <a:pt x="124" y="379"/>
                  </a:lnTo>
                  <a:lnTo>
                    <a:pt x="128" y="379"/>
                  </a:lnTo>
                  <a:lnTo>
                    <a:pt x="137" y="375"/>
                  </a:lnTo>
                  <a:lnTo>
                    <a:pt x="137" y="375"/>
                  </a:lnTo>
                  <a:lnTo>
                    <a:pt x="142" y="361"/>
                  </a:lnTo>
                  <a:lnTo>
                    <a:pt x="142" y="352"/>
                  </a:lnTo>
                  <a:lnTo>
                    <a:pt x="151" y="338"/>
                  </a:lnTo>
                  <a:lnTo>
                    <a:pt x="151" y="338"/>
                  </a:lnTo>
                  <a:lnTo>
                    <a:pt x="151" y="329"/>
                  </a:lnTo>
                  <a:lnTo>
                    <a:pt x="151" y="320"/>
                  </a:lnTo>
                  <a:lnTo>
                    <a:pt x="151" y="315"/>
                  </a:lnTo>
                  <a:lnTo>
                    <a:pt x="156" y="315"/>
                  </a:lnTo>
                  <a:lnTo>
                    <a:pt x="160" y="306"/>
                  </a:lnTo>
                  <a:lnTo>
                    <a:pt x="165" y="306"/>
                  </a:lnTo>
                  <a:lnTo>
                    <a:pt x="165" y="301"/>
                  </a:lnTo>
                  <a:lnTo>
                    <a:pt x="165" y="292"/>
                  </a:lnTo>
                  <a:lnTo>
                    <a:pt x="165" y="288"/>
                  </a:lnTo>
                  <a:lnTo>
                    <a:pt x="160" y="283"/>
                  </a:lnTo>
                  <a:lnTo>
                    <a:pt x="165" y="279"/>
                  </a:lnTo>
                  <a:lnTo>
                    <a:pt x="165" y="274"/>
                  </a:lnTo>
                  <a:lnTo>
                    <a:pt x="160" y="269"/>
                  </a:lnTo>
                  <a:lnTo>
                    <a:pt x="156" y="251"/>
                  </a:lnTo>
                  <a:lnTo>
                    <a:pt x="156" y="247"/>
                  </a:lnTo>
                  <a:lnTo>
                    <a:pt x="156" y="237"/>
                  </a:lnTo>
                  <a:lnTo>
                    <a:pt x="160" y="228"/>
                  </a:lnTo>
                  <a:lnTo>
                    <a:pt x="165" y="224"/>
                  </a:lnTo>
                  <a:lnTo>
                    <a:pt x="165" y="224"/>
                  </a:lnTo>
                  <a:lnTo>
                    <a:pt x="174" y="219"/>
                  </a:lnTo>
                  <a:lnTo>
                    <a:pt x="174" y="219"/>
                  </a:lnTo>
                  <a:lnTo>
                    <a:pt x="179" y="215"/>
                  </a:lnTo>
                  <a:lnTo>
                    <a:pt x="183" y="205"/>
                  </a:lnTo>
                  <a:lnTo>
                    <a:pt x="188" y="201"/>
                  </a:lnTo>
                  <a:lnTo>
                    <a:pt x="192" y="196"/>
                  </a:lnTo>
                  <a:lnTo>
                    <a:pt x="192" y="192"/>
                  </a:lnTo>
                  <a:lnTo>
                    <a:pt x="197" y="187"/>
                  </a:lnTo>
                  <a:lnTo>
                    <a:pt x="201" y="183"/>
                  </a:lnTo>
                  <a:lnTo>
                    <a:pt x="201" y="183"/>
                  </a:lnTo>
                  <a:lnTo>
                    <a:pt x="201" y="169"/>
                  </a:lnTo>
                  <a:lnTo>
                    <a:pt x="206" y="164"/>
                  </a:lnTo>
                  <a:lnTo>
                    <a:pt x="206" y="164"/>
                  </a:lnTo>
                  <a:lnTo>
                    <a:pt x="206" y="160"/>
                  </a:lnTo>
                  <a:lnTo>
                    <a:pt x="211" y="160"/>
                  </a:lnTo>
                  <a:lnTo>
                    <a:pt x="215" y="160"/>
                  </a:lnTo>
                  <a:lnTo>
                    <a:pt x="224" y="164"/>
                  </a:lnTo>
                  <a:lnTo>
                    <a:pt x="224" y="164"/>
                  </a:lnTo>
                  <a:lnTo>
                    <a:pt x="233" y="155"/>
                  </a:lnTo>
                  <a:lnTo>
                    <a:pt x="238" y="151"/>
                  </a:lnTo>
                  <a:lnTo>
                    <a:pt x="238" y="146"/>
                  </a:lnTo>
                  <a:lnTo>
                    <a:pt x="238" y="146"/>
                  </a:lnTo>
                  <a:lnTo>
                    <a:pt x="233" y="137"/>
                  </a:lnTo>
                  <a:lnTo>
                    <a:pt x="233" y="137"/>
                  </a:lnTo>
                  <a:lnTo>
                    <a:pt x="229" y="128"/>
                  </a:lnTo>
                  <a:lnTo>
                    <a:pt x="229" y="123"/>
                  </a:lnTo>
                  <a:lnTo>
                    <a:pt x="229" y="119"/>
                  </a:lnTo>
                  <a:lnTo>
                    <a:pt x="229" y="109"/>
                  </a:lnTo>
                  <a:lnTo>
                    <a:pt x="238" y="100"/>
                  </a:lnTo>
                  <a:lnTo>
                    <a:pt x="238" y="100"/>
                  </a:lnTo>
                  <a:lnTo>
                    <a:pt x="247" y="96"/>
                  </a:lnTo>
                  <a:lnTo>
                    <a:pt x="252" y="96"/>
                  </a:lnTo>
                  <a:lnTo>
                    <a:pt x="265" y="91"/>
                  </a:lnTo>
                  <a:lnTo>
                    <a:pt x="279" y="87"/>
                  </a:lnTo>
                  <a:lnTo>
                    <a:pt x="284" y="87"/>
                  </a:lnTo>
                  <a:lnTo>
                    <a:pt x="288" y="87"/>
                  </a:lnTo>
                  <a:lnTo>
                    <a:pt x="293" y="87"/>
                  </a:lnTo>
                  <a:lnTo>
                    <a:pt x="297" y="87"/>
                  </a:lnTo>
                  <a:lnTo>
                    <a:pt x="302" y="87"/>
                  </a:lnTo>
                  <a:lnTo>
                    <a:pt x="307" y="87"/>
                  </a:lnTo>
                  <a:lnTo>
                    <a:pt x="311" y="82"/>
                  </a:lnTo>
                  <a:lnTo>
                    <a:pt x="311" y="77"/>
                  </a:lnTo>
                  <a:lnTo>
                    <a:pt x="311" y="77"/>
                  </a:lnTo>
                  <a:lnTo>
                    <a:pt x="316" y="77"/>
                  </a:lnTo>
                  <a:lnTo>
                    <a:pt x="320" y="73"/>
                  </a:lnTo>
                  <a:lnTo>
                    <a:pt x="320" y="73"/>
                  </a:lnTo>
                  <a:lnTo>
                    <a:pt x="320" y="64"/>
                  </a:lnTo>
                  <a:lnTo>
                    <a:pt x="320" y="59"/>
                  </a:lnTo>
                  <a:lnTo>
                    <a:pt x="329" y="55"/>
                  </a:lnTo>
                  <a:lnTo>
                    <a:pt x="334" y="50"/>
                  </a:lnTo>
                  <a:lnTo>
                    <a:pt x="334" y="41"/>
                  </a:lnTo>
                  <a:lnTo>
                    <a:pt x="339" y="36"/>
                  </a:lnTo>
                  <a:lnTo>
                    <a:pt x="339" y="32"/>
                  </a:lnTo>
                  <a:lnTo>
                    <a:pt x="339" y="27"/>
                  </a:lnTo>
                  <a:lnTo>
                    <a:pt x="339" y="27"/>
                  </a:lnTo>
                  <a:lnTo>
                    <a:pt x="334" y="18"/>
                  </a:lnTo>
                  <a:lnTo>
                    <a:pt x="339" y="9"/>
                  </a:lnTo>
                  <a:lnTo>
                    <a:pt x="339" y="4"/>
                  </a:lnTo>
                  <a:lnTo>
                    <a:pt x="343" y="0"/>
                  </a:lnTo>
                  <a:lnTo>
                    <a:pt x="343" y="0"/>
                  </a:lnTo>
                  <a:lnTo>
                    <a:pt x="343" y="0"/>
                  </a:lnTo>
                  <a:lnTo>
                    <a:pt x="343" y="4"/>
                  </a:lnTo>
                  <a:lnTo>
                    <a:pt x="348" y="4"/>
                  </a:lnTo>
                  <a:lnTo>
                    <a:pt x="352" y="9"/>
                  </a:lnTo>
                  <a:lnTo>
                    <a:pt x="357" y="9"/>
                  </a:lnTo>
                  <a:lnTo>
                    <a:pt x="361" y="9"/>
                  </a:lnTo>
                  <a:lnTo>
                    <a:pt x="380" y="9"/>
                  </a:lnTo>
                  <a:lnTo>
                    <a:pt x="389" y="9"/>
                  </a:lnTo>
                  <a:lnTo>
                    <a:pt x="393" y="13"/>
                  </a:lnTo>
                  <a:lnTo>
                    <a:pt x="398" y="18"/>
                  </a:lnTo>
                  <a:lnTo>
                    <a:pt x="398" y="23"/>
                  </a:lnTo>
                  <a:lnTo>
                    <a:pt x="398" y="27"/>
                  </a:lnTo>
                  <a:lnTo>
                    <a:pt x="403" y="27"/>
                  </a:lnTo>
                  <a:close/>
                </a:path>
              </a:pathLst>
            </a:custGeom>
            <a:blipFill>
              <a:blip r:embed="rId77"/>
              <a:tile tx="0" ty="0" sx="100000" sy="100000" flip="none" algn="tl"/>
            </a:blip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Kwara</a:t>
              </a:r>
            </a:p>
          </p:txBody>
        </p:sp>
        <p:sp>
          <p:nvSpPr>
            <p:cNvPr id="148" name="Freeform 67">
              <a:extLst>
                <a:ext uri="{FF2B5EF4-FFF2-40B4-BE49-F238E27FC236}">
                  <a16:creationId xmlns:a16="http://schemas.microsoft.com/office/drawing/2014/main" id="{3AA9C276-8357-4F58-8FEA-9C19A6D2757F}"/>
                </a:ext>
              </a:extLst>
            </p:cNvPr>
            <p:cNvSpPr>
              <a:spLocks/>
            </p:cNvSpPr>
            <p:nvPr>
              <p:custDataLst>
                <p:tags r:id="rId60"/>
              </p:custDataLst>
            </p:nvPr>
          </p:nvSpPr>
          <p:spPr bwMode="auto">
            <a:xfrm>
              <a:off x="152479" y="3556408"/>
              <a:ext cx="526035" cy="130697"/>
            </a:xfrm>
            <a:custGeom>
              <a:avLst/>
              <a:gdLst/>
              <a:ahLst/>
              <a:cxnLst>
                <a:cxn ang="0">
                  <a:pos x="265" y="0"/>
                </a:cxn>
                <a:cxn ang="0">
                  <a:pos x="379" y="0"/>
                </a:cxn>
                <a:cxn ang="0">
                  <a:pos x="530" y="0"/>
                </a:cxn>
                <a:cxn ang="0">
                  <a:pos x="530" y="14"/>
                </a:cxn>
                <a:cxn ang="0">
                  <a:pos x="512" y="27"/>
                </a:cxn>
                <a:cxn ang="0">
                  <a:pos x="512" y="41"/>
                </a:cxn>
                <a:cxn ang="0">
                  <a:pos x="516" y="50"/>
                </a:cxn>
                <a:cxn ang="0">
                  <a:pos x="535" y="46"/>
                </a:cxn>
                <a:cxn ang="0">
                  <a:pos x="553" y="41"/>
                </a:cxn>
                <a:cxn ang="0">
                  <a:pos x="562" y="41"/>
                </a:cxn>
                <a:cxn ang="0">
                  <a:pos x="557" y="59"/>
                </a:cxn>
                <a:cxn ang="0">
                  <a:pos x="548" y="64"/>
                </a:cxn>
                <a:cxn ang="0">
                  <a:pos x="535" y="73"/>
                </a:cxn>
                <a:cxn ang="0">
                  <a:pos x="553" y="87"/>
                </a:cxn>
                <a:cxn ang="0">
                  <a:pos x="576" y="96"/>
                </a:cxn>
                <a:cxn ang="0">
                  <a:pos x="599" y="91"/>
                </a:cxn>
                <a:cxn ang="0">
                  <a:pos x="599" y="123"/>
                </a:cxn>
                <a:cxn ang="0">
                  <a:pos x="576" y="123"/>
                </a:cxn>
                <a:cxn ang="0">
                  <a:pos x="548" y="119"/>
                </a:cxn>
                <a:cxn ang="0">
                  <a:pos x="503" y="105"/>
                </a:cxn>
                <a:cxn ang="0">
                  <a:pos x="452" y="105"/>
                </a:cxn>
                <a:cxn ang="0">
                  <a:pos x="407" y="100"/>
                </a:cxn>
                <a:cxn ang="0">
                  <a:pos x="361" y="110"/>
                </a:cxn>
                <a:cxn ang="0">
                  <a:pos x="311" y="110"/>
                </a:cxn>
                <a:cxn ang="0">
                  <a:pos x="274" y="110"/>
                </a:cxn>
                <a:cxn ang="0">
                  <a:pos x="265" y="110"/>
                </a:cxn>
                <a:cxn ang="0">
                  <a:pos x="256" y="119"/>
                </a:cxn>
                <a:cxn ang="0">
                  <a:pos x="219" y="114"/>
                </a:cxn>
                <a:cxn ang="0">
                  <a:pos x="160" y="119"/>
                </a:cxn>
                <a:cxn ang="0">
                  <a:pos x="119" y="119"/>
                </a:cxn>
                <a:cxn ang="0">
                  <a:pos x="73" y="119"/>
                </a:cxn>
                <a:cxn ang="0">
                  <a:pos x="27" y="123"/>
                </a:cxn>
                <a:cxn ang="0">
                  <a:pos x="0" y="114"/>
                </a:cxn>
                <a:cxn ang="0">
                  <a:pos x="4" y="87"/>
                </a:cxn>
                <a:cxn ang="0">
                  <a:pos x="4" y="78"/>
                </a:cxn>
                <a:cxn ang="0">
                  <a:pos x="32" y="82"/>
                </a:cxn>
                <a:cxn ang="0">
                  <a:pos x="41" y="73"/>
                </a:cxn>
                <a:cxn ang="0">
                  <a:pos x="55" y="64"/>
                </a:cxn>
                <a:cxn ang="0">
                  <a:pos x="73" y="59"/>
                </a:cxn>
                <a:cxn ang="0">
                  <a:pos x="96" y="64"/>
                </a:cxn>
                <a:cxn ang="0">
                  <a:pos x="119" y="64"/>
                </a:cxn>
                <a:cxn ang="0">
                  <a:pos x="141" y="64"/>
                </a:cxn>
                <a:cxn ang="0">
                  <a:pos x="160" y="64"/>
                </a:cxn>
                <a:cxn ang="0">
                  <a:pos x="173" y="50"/>
                </a:cxn>
                <a:cxn ang="0">
                  <a:pos x="183" y="27"/>
                </a:cxn>
                <a:cxn ang="0">
                  <a:pos x="192" y="14"/>
                </a:cxn>
                <a:cxn ang="0">
                  <a:pos x="196" y="0"/>
                </a:cxn>
                <a:cxn ang="0">
                  <a:pos x="228" y="0"/>
                </a:cxn>
                <a:cxn ang="0">
                  <a:pos x="237" y="14"/>
                </a:cxn>
                <a:cxn ang="0">
                  <a:pos x="251" y="18"/>
                </a:cxn>
              </a:cxnLst>
              <a:rect l="0" t="0" r="r" b="b"/>
              <a:pathLst>
                <a:path w="603" h="128">
                  <a:moveTo>
                    <a:pt x="265" y="14"/>
                  </a:moveTo>
                  <a:lnTo>
                    <a:pt x="265" y="9"/>
                  </a:lnTo>
                  <a:lnTo>
                    <a:pt x="265" y="4"/>
                  </a:lnTo>
                  <a:lnTo>
                    <a:pt x="265" y="0"/>
                  </a:lnTo>
                  <a:lnTo>
                    <a:pt x="269" y="0"/>
                  </a:lnTo>
                  <a:lnTo>
                    <a:pt x="274" y="0"/>
                  </a:lnTo>
                  <a:lnTo>
                    <a:pt x="375" y="0"/>
                  </a:lnTo>
                  <a:lnTo>
                    <a:pt x="379" y="0"/>
                  </a:lnTo>
                  <a:lnTo>
                    <a:pt x="393" y="0"/>
                  </a:lnTo>
                  <a:lnTo>
                    <a:pt x="461" y="0"/>
                  </a:lnTo>
                  <a:lnTo>
                    <a:pt x="507" y="0"/>
                  </a:lnTo>
                  <a:lnTo>
                    <a:pt x="530" y="0"/>
                  </a:lnTo>
                  <a:lnTo>
                    <a:pt x="535" y="4"/>
                  </a:lnTo>
                  <a:lnTo>
                    <a:pt x="535" y="9"/>
                  </a:lnTo>
                  <a:lnTo>
                    <a:pt x="530" y="9"/>
                  </a:lnTo>
                  <a:lnTo>
                    <a:pt x="530" y="14"/>
                  </a:lnTo>
                  <a:lnTo>
                    <a:pt x="525" y="18"/>
                  </a:lnTo>
                  <a:lnTo>
                    <a:pt x="521" y="18"/>
                  </a:lnTo>
                  <a:lnTo>
                    <a:pt x="512" y="23"/>
                  </a:lnTo>
                  <a:lnTo>
                    <a:pt x="512" y="27"/>
                  </a:lnTo>
                  <a:lnTo>
                    <a:pt x="507" y="27"/>
                  </a:lnTo>
                  <a:lnTo>
                    <a:pt x="507" y="32"/>
                  </a:lnTo>
                  <a:lnTo>
                    <a:pt x="507" y="36"/>
                  </a:lnTo>
                  <a:lnTo>
                    <a:pt x="512" y="41"/>
                  </a:lnTo>
                  <a:lnTo>
                    <a:pt x="512" y="46"/>
                  </a:lnTo>
                  <a:lnTo>
                    <a:pt x="512" y="50"/>
                  </a:lnTo>
                  <a:lnTo>
                    <a:pt x="512" y="50"/>
                  </a:lnTo>
                  <a:lnTo>
                    <a:pt x="516" y="50"/>
                  </a:lnTo>
                  <a:lnTo>
                    <a:pt x="521" y="50"/>
                  </a:lnTo>
                  <a:lnTo>
                    <a:pt x="525" y="50"/>
                  </a:lnTo>
                  <a:lnTo>
                    <a:pt x="530" y="46"/>
                  </a:lnTo>
                  <a:lnTo>
                    <a:pt x="535" y="46"/>
                  </a:lnTo>
                  <a:lnTo>
                    <a:pt x="539" y="46"/>
                  </a:lnTo>
                  <a:lnTo>
                    <a:pt x="539" y="41"/>
                  </a:lnTo>
                  <a:lnTo>
                    <a:pt x="548" y="41"/>
                  </a:lnTo>
                  <a:lnTo>
                    <a:pt x="553" y="41"/>
                  </a:lnTo>
                  <a:lnTo>
                    <a:pt x="557" y="41"/>
                  </a:lnTo>
                  <a:lnTo>
                    <a:pt x="557" y="41"/>
                  </a:lnTo>
                  <a:lnTo>
                    <a:pt x="557" y="41"/>
                  </a:lnTo>
                  <a:lnTo>
                    <a:pt x="562" y="41"/>
                  </a:lnTo>
                  <a:lnTo>
                    <a:pt x="562" y="46"/>
                  </a:lnTo>
                  <a:lnTo>
                    <a:pt x="562" y="50"/>
                  </a:lnTo>
                  <a:lnTo>
                    <a:pt x="562" y="55"/>
                  </a:lnTo>
                  <a:lnTo>
                    <a:pt x="557" y="59"/>
                  </a:lnTo>
                  <a:lnTo>
                    <a:pt x="557" y="64"/>
                  </a:lnTo>
                  <a:lnTo>
                    <a:pt x="557" y="64"/>
                  </a:lnTo>
                  <a:lnTo>
                    <a:pt x="553" y="64"/>
                  </a:lnTo>
                  <a:lnTo>
                    <a:pt x="548" y="64"/>
                  </a:lnTo>
                  <a:lnTo>
                    <a:pt x="544" y="64"/>
                  </a:lnTo>
                  <a:lnTo>
                    <a:pt x="539" y="64"/>
                  </a:lnTo>
                  <a:lnTo>
                    <a:pt x="535" y="68"/>
                  </a:lnTo>
                  <a:lnTo>
                    <a:pt x="535" y="73"/>
                  </a:lnTo>
                  <a:lnTo>
                    <a:pt x="535" y="78"/>
                  </a:lnTo>
                  <a:lnTo>
                    <a:pt x="539" y="82"/>
                  </a:lnTo>
                  <a:lnTo>
                    <a:pt x="544" y="87"/>
                  </a:lnTo>
                  <a:lnTo>
                    <a:pt x="553" y="87"/>
                  </a:lnTo>
                  <a:lnTo>
                    <a:pt x="557" y="87"/>
                  </a:lnTo>
                  <a:lnTo>
                    <a:pt x="562" y="91"/>
                  </a:lnTo>
                  <a:lnTo>
                    <a:pt x="567" y="91"/>
                  </a:lnTo>
                  <a:lnTo>
                    <a:pt x="576" y="96"/>
                  </a:lnTo>
                  <a:lnTo>
                    <a:pt x="580" y="96"/>
                  </a:lnTo>
                  <a:lnTo>
                    <a:pt x="585" y="91"/>
                  </a:lnTo>
                  <a:lnTo>
                    <a:pt x="594" y="91"/>
                  </a:lnTo>
                  <a:lnTo>
                    <a:pt x="599" y="91"/>
                  </a:lnTo>
                  <a:lnTo>
                    <a:pt x="603" y="91"/>
                  </a:lnTo>
                  <a:lnTo>
                    <a:pt x="603" y="96"/>
                  </a:lnTo>
                  <a:lnTo>
                    <a:pt x="603" y="105"/>
                  </a:lnTo>
                  <a:lnTo>
                    <a:pt x="599" y="123"/>
                  </a:lnTo>
                  <a:lnTo>
                    <a:pt x="594" y="123"/>
                  </a:lnTo>
                  <a:lnTo>
                    <a:pt x="594" y="123"/>
                  </a:lnTo>
                  <a:lnTo>
                    <a:pt x="585" y="123"/>
                  </a:lnTo>
                  <a:lnTo>
                    <a:pt x="576" y="123"/>
                  </a:lnTo>
                  <a:lnTo>
                    <a:pt x="571" y="119"/>
                  </a:lnTo>
                  <a:lnTo>
                    <a:pt x="567" y="119"/>
                  </a:lnTo>
                  <a:lnTo>
                    <a:pt x="548" y="119"/>
                  </a:lnTo>
                  <a:lnTo>
                    <a:pt x="548" y="119"/>
                  </a:lnTo>
                  <a:lnTo>
                    <a:pt x="535" y="114"/>
                  </a:lnTo>
                  <a:lnTo>
                    <a:pt x="516" y="110"/>
                  </a:lnTo>
                  <a:lnTo>
                    <a:pt x="503" y="110"/>
                  </a:lnTo>
                  <a:lnTo>
                    <a:pt x="503" y="105"/>
                  </a:lnTo>
                  <a:lnTo>
                    <a:pt x="489" y="105"/>
                  </a:lnTo>
                  <a:lnTo>
                    <a:pt x="461" y="105"/>
                  </a:lnTo>
                  <a:lnTo>
                    <a:pt x="457" y="105"/>
                  </a:lnTo>
                  <a:lnTo>
                    <a:pt x="452" y="105"/>
                  </a:lnTo>
                  <a:lnTo>
                    <a:pt x="434" y="105"/>
                  </a:lnTo>
                  <a:lnTo>
                    <a:pt x="420" y="100"/>
                  </a:lnTo>
                  <a:lnTo>
                    <a:pt x="416" y="100"/>
                  </a:lnTo>
                  <a:lnTo>
                    <a:pt x="407" y="100"/>
                  </a:lnTo>
                  <a:lnTo>
                    <a:pt x="402" y="100"/>
                  </a:lnTo>
                  <a:lnTo>
                    <a:pt x="393" y="105"/>
                  </a:lnTo>
                  <a:lnTo>
                    <a:pt x="365" y="110"/>
                  </a:lnTo>
                  <a:lnTo>
                    <a:pt x="361" y="110"/>
                  </a:lnTo>
                  <a:lnTo>
                    <a:pt x="352" y="110"/>
                  </a:lnTo>
                  <a:lnTo>
                    <a:pt x="338" y="110"/>
                  </a:lnTo>
                  <a:lnTo>
                    <a:pt x="315" y="110"/>
                  </a:lnTo>
                  <a:lnTo>
                    <a:pt x="311" y="110"/>
                  </a:lnTo>
                  <a:lnTo>
                    <a:pt x="306" y="110"/>
                  </a:lnTo>
                  <a:lnTo>
                    <a:pt x="292" y="110"/>
                  </a:lnTo>
                  <a:lnTo>
                    <a:pt x="283" y="110"/>
                  </a:lnTo>
                  <a:lnTo>
                    <a:pt x="274" y="110"/>
                  </a:lnTo>
                  <a:lnTo>
                    <a:pt x="274" y="96"/>
                  </a:lnTo>
                  <a:lnTo>
                    <a:pt x="274" y="96"/>
                  </a:lnTo>
                  <a:lnTo>
                    <a:pt x="274" y="110"/>
                  </a:lnTo>
                  <a:lnTo>
                    <a:pt x="265" y="110"/>
                  </a:lnTo>
                  <a:lnTo>
                    <a:pt x="260" y="114"/>
                  </a:lnTo>
                  <a:lnTo>
                    <a:pt x="260" y="114"/>
                  </a:lnTo>
                  <a:lnTo>
                    <a:pt x="260" y="119"/>
                  </a:lnTo>
                  <a:lnTo>
                    <a:pt x="256" y="119"/>
                  </a:lnTo>
                  <a:lnTo>
                    <a:pt x="251" y="119"/>
                  </a:lnTo>
                  <a:lnTo>
                    <a:pt x="247" y="119"/>
                  </a:lnTo>
                  <a:lnTo>
                    <a:pt x="242" y="114"/>
                  </a:lnTo>
                  <a:lnTo>
                    <a:pt x="219" y="114"/>
                  </a:lnTo>
                  <a:lnTo>
                    <a:pt x="196" y="114"/>
                  </a:lnTo>
                  <a:lnTo>
                    <a:pt x="187" y="114"/>
                  </a:lnTo>
                  <a:lnTo>
                    <a:pt x="173" y="119"/>
                  </a:lnTo>
                  <a:lnTo>
                    <a:pt x="160" y="119"/>
                  </a:lnTo>
                  <a:lnTo>
                    <a:pt x="155" y="119"/>
                  </a:lnTo>
                  <a:lnTo>
                    <a:pt x="151" y="119"/>
                  </a:lnTo>
                  <a:lnTo>
                    <a:pt x="132" y="119"/>
                  </a:lnTo>
                  <a:lnTo>
                    <a:pt x="119" y="119"/>
                  </a:lnTo>
                  <a:lnTo>
                    <a:pt x="109" y="119"/>
                  </a:lnTo>
                  <a:lnTo>
                    <a:pt x="100" y="119"/>
                  </a:lnTo>
                  <a:lnTo>
                    <a:pt x="100" y="119"/>
                  </a:lnTo>
                  <a:lnTo>
                    <a:pt x="73" y="119"/>
                  </a:lnTo>
                  <a:lnTo>
                    <a:pt x="59" y="119"/>
                  </a:lnTo>
                  <a:lnTo>
                    <a:pt x="55" y="119"/>
                  </a:lnTo>
                  <a:lnTo>
                    <a:pt x="50" y="119"/>
                  </a:lnTo>
                  <a:lnTo>
                    <a:pt x="27" y="123"/>
                  </a:lnTo>
                  <a:lnTo>
                    <a:pt x="4" y="123"/>
                  </a:lnTo>
                  <a:lnTo>
                    <a:pt x="4" y="128"/>
                  </a:lnTo>
                  <a:lnTo>
                    <a:pt x="0" y="128"/>
                  </a:lnTo>
                  <a:lnTo>
                    <a:pt x="0" y="114"/>
                  </a:lnTo>
                  <a:lnTo>
                    <a:pt x="0" y="110"/>
                  </a:lnTo>
                  <a:lnTo>
                    <a:pt x="0" y="105"/>
                  </a:lnTo>
                  <a:lnTo>
                    <a:pt x="0" y="96"/>
                  </a:lnTo>
                  <a:lnTo>
                    <a:pt x="4" y="87"/>
                  </a:lnTo>
                  <a:lnTo>
                    <a:pt x="4" y="87"/>
                  </a:lnTo>
                  <a:lnTo>
                    <a:pt x="4" y="82"/>
                  </a:lnTo>
                  <a:lnTo>
                    <a:pt x="4" y="82"/>
                  </a:lnTo>
                  <a:lnTo>
                    <a:pt x="4" y="78"/>
                  </a:lnTo>
                  <a:lnTo>
                    <a:pt x="9" y="78"/>
                  </a:lnTo>
                  <a:lnTo>
                    <a:pt x="13" y="78"/>
                  </a:lnTo>
                  <a:lnTo>
                    <a:pt x="23" y="78"/>
                  </a:lnTo>
                  <a:lnTo>
                    <a:pt x="32" y="82"/>
                  </a:lnTo>
                  <a:lnTo>
                    <a:pt x="32" y="78"/>
                  </a:lnTo>
                  <a:lnTo>
                    <a:pt x="36" y="78"/>
                  </a:lnTo>
                  <a:lnTo>
                    <a:pt x="36" y="73"/>
                  </a:lnTo>
                  <a:lnTo>
                    <a:pt x="41" y="73"/>
                  </a:lnTo>
                  <a:lnTo>
                    <a:pt x="45" y="73"/>
                  </a:lnTo>
                  <a:lnTo>
                    <a:pt x="45" y="68"/>
                  </a:lnTo>
                  <a:lnTo>
                    <a:pt x="55" y="64"/>
                  </a:lnTo>
                  <a:lnTo>
                    <a:pt x="55" y="64"/>
                  </a:lnTo>
                  <a:lnTo>
                    <a:pt x="55" y="59"/>
                  </a:lnTo>
                  <a:lnTo>
                    <a:pt x="59" y="59"/>
                  </a:lnTo>
                  <a:lnTo>
                    <a:pt x="68" y="59"/>
                  </a:lnTo>
                  <a:lnTo>
                    <a:pt x="73" y="59"/>
                  </a:lnTo>
                  <a:lnTo>
                    <a:pt x="77" y="64"/>
                  </a:lnTo>
                  <a:lnTo>
                    <a:pt x="82" y="64"/>
                  </a:lnTo>
                  <a:lnTo>
                    <a:pt x="87" y="64"/>
                  </a:lnTo>
                  <a:lnTo>
                    <a:pt x="96" y="64"/>
                  </a:lnTo>
                  <a:lnTo>
                    <a:pt x="100" y="64"/>
                  </a:lnTo>
                  <a:lnTo>
                    <a:pt x="109" y="64"/>
                  </a:lnTo>
                  <a:lnTo>
                    <a:pt x="114" y="64"/>
                  </a:lnTo>
                  <a:lnTo>
                    <a:pt x="119" y="64"/>
                  </a:lnTo>
                  <a:lnTo>
                    <a:pt x="119" y="64"/>
                  </a:lnTo>
                  <a:lnTo>
                    <a:pt x="128" y="64"/>
                  </a:lnTo>
                  <a:lnTo>
                    <a:pt x="132" y="64"/>
                  </a:lnTo>
                  <a:lnTo>
                    <a:pt x="141" y="64"/>
                  </a:lnTo>
                  <a:lnTo>
                    <a:pt x="141" y="64"/>
                  </a:lnTo>
                  <a:lnTo>
                    <a:pt x="151" y="64"/>
                  </a:lnTo>
                  <a:lnTo>
                    <a:pt x="155" y="64"/>
                  </a:lnTo>
                  <a:lnTo>
                    <a:pt x="160" y="64"/>
                  </a:lnTo>
                  <a:lnTo>
                    <a:pt x="164" y="64"/>
                  </a:lnTo>
                  <a:lnTo>
                    <a:pt x="164" y="59"/>
                  </a:lnTo>
                  <a:lnTo>
                    <a:pt x="169" y="55"/>
                  </a:lnTo>
                  <a:lnTo>
                    <a:pt x="173" y="50"/>
                  </a:lnTo>
                  <a:lnTo>
                    <a:pt x="178" y="41"/>
                  </a:lnTo>
                  <a:lnTo>
                    <a:pt x="178" y="36"/>
                  </a:lnTo>
                  <a:lnTo>
                    <a:pt x="183" y="32"/>
                  </a:lnTo>
                  <a:lnTo>
                    <a:pt x="183" y="27"/>
                  </a:lnTo>
                  <a:lnTo>
                    <a:pt x="183" y="27"/>
                  </a:lnTo>
                  <a:lnTo>
                    <a:pt x="183" y="23"/>
                  </a:lnTo>
                  <a:lnTo>
                    <a:pt x="187" y="23"/>
                  </a:lnTo>
                  <a:lnTo>
                    <a:pt x="192" y="14"/>
                  </a:lnTo>
                  <a:lnTo>
                    <a:pt x="192" y="9"/>
                  </a:lnTo>
                  <a:lnTo>
                    <a:pt x="192" y="4"/>
                  </a:lnTo>
                  <a:lnTo>
                    <a:pt x="196" y="0"/>
                  </a:lnTo>
                  <a:lnTo>
                    <a:pt x="196" y="0"/>
                  </a:lnTo>
                  <a:lnTo>
                    <a:pt x="201" y="0"/>
                  </a:lnTo>
                  <a:lnTo>
                    <a:pt x="205" y="0"/>
                  </a:lnTo>
                  <a:lnTo>
                    <a:pt x="219" y="0"/>
                  </a:lnTo>
                  <a:lnTo>
                    <a:pt x="228" y="0"/>
                  </a:lnTo>
                  <a:lnTo>
                    <a:pt x="228" y="0"/>
                  </a:lnTo>
                  <a:lnTo>
                    <a:pt x="233" y="9"/>
                  </a:lnTo>
                  <a:lnTo>
                    <a:pt x="237" y="14"/>
                  </a:lnTo>
                  <a:lnTo>
                    <a:pt x="237" y="14"/>
                  </a:lnTo>
                  <a:lnTo>
                    <a:pt x="242" y="18"/>
                  </a:lnTo>
                  <a:lnTo>
                    <a:pt x="247" y="18"/>
                  </a:lnTo>
                  <a:lnTo>
                    <a:pt x="251" y="18"/>
                  </a:lnTo>
                  <a:lnTo>
                    <a:pt x="251" y="18"/>
                  </a:lnTo>
                  <a:lnTo>
                    <a:pt x="256" y="14"/>
                  </a:lnTo>
                  <a:lnTo>
                    <a:pt x="265" y="14"/>
                  </a:lnTo>
                  <a:close/>
                </a:path>
              </a:pathLst>
            </a:custGeom>
            <a:solidFill>
              <a:sysClr val="window" lastClr="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Lagos</a:t>
              </a:r>
            </a:p>
          </p:txBody>
        </p:sp>
        <p:sp>
          <p:nvSpPr>
            <p:cNvPr id="149" name="Freeform 68">
              <a:extLst>
                <a:ext uri="{FF2B5EF4-FFF2-40B4-BE49-F238E27FC236}">
                  <a16:creationId xmlns:a16="http://schemas.microsoft.com/office/drawing/2014/main" id="{210DBB73-AC42-4846-BCB5-43EE588CCB44}"/>
                </a:ext>
              </a:extLst>
            </p:cNvPr>
            <p:cNvSpPr>
              <a:spLocks/>
            </p:cNvSpPr>
            <p:nvPr>
              <p:custDataLst>
                <p:tags r:id="rId61"/>
              </p:custDataLst>
            </p:nvPr>
          </p:nvSpPr>
          <p:spPr bwMode="auto">
            <a:xfrm>
              <a:off x="1556653" y="2540539"/>
              <a:ext cx="902179" cy="614868"/>
            </a:xfrm>
            <a:custGeom>
              <a:avLst/>
              <a:gdLst/>
              <a:ahLst/>
              <a:cxnLst>
                <a:cxn ang="0">
                  <a:pos x="402" y="9"/>
                </a:cxn>
                <a:cxn ang="0">
                  <a:pos x="420" y="50"/>
                </a:cxn>
                <a:cxn ang="0">
                  <a:pos x="439" y="82"/>
                </a:cxn>
                <a:cxn ang="0">
                  <a:pos x="443" y="146"/>
                </a:cxn>
                <a:cxn ang="0">
                  <a:pos x="475" y="128"/>
                </a:cxn>
                <a:cxn ang="0">
                  <a:pos x="503" y="101"/>
                </a:cxn>
                <a:cxn ang="0">
                  <a:pos x="548" y="114"/>
                </a:cxn>
                <a:cxn ang="0">
                  <a:pos x="576" y="146"/>
                </a:cxn>
                <a:cxn ang="0">
                  <a:pos x="622" y="137"/>
                </a:cxn>
                <a:cxn ang="0">
                  <a:pos x="640" y="96"/>
                </a:cxn>
                <a:cxn ang="0">
                  <a:pos x="658" y="64"/>
                </a:cxn>
                <a:cxn ang="0">
                  <a:pos x="704" y="128"/>
                </a:cxn>
                <a:cxn ang="0">
                  <a:pos x="786" y="128"/>
                </a:cxn>
                <a:cxn ang="0">
                  <a:pos x="782" y="192"/>
                </a:cxn>
                <a:cxn ang="0">
                  <a:pos x="736" y="261"/>
                </a:cxn>
                <a:cxn ang="0">
                  <a:pos x="768" y="325"/>
                </a:cxn>
                <a:cxn ang="0">
                  <a:pos x="814" y="352"/>
                </a:cxn>
                <a:cxn ang="0">
                  <a:pos x="910" y="343"/>
                </a:cxn>
                <a:cxn ang="0">
                  <a:pos x="1033" y="384"/>
                </a:cxn>
                <a:cxn ang="0">
                  <a:pos x="1006" y="412"/>
                </a:cxn>
                <a:cxn ang="0">
                  <a:pos x="955" y="412"/>
                </a:cxn>
                <a:cxn ang="0">
                  <a:pos x="910" y="412"/>
                </a:cxn>
                <a:cxn ang="0">
                  <a:pos x="923" y="476"/>
                </a:cxn>
                <a:cxn ang="0">
                  <a:pos x="923" y="512"/>
                </a:cxn>
                <a:cxn ang="0">
                  <a:pos x="896" y="540"/>
                </a:cxn>
                <a:cxn ang="0">
                  <a:pos x="855" y="562"/>
                </a:cxn>
                <a:cxn ang="0">
                  <a:pos x="832" y="526"/>
                </a:cxn>
                <a:cxn ang="0">
                  <a:pos x="795" y="498"/>
                </a:cxn>
                <a:cxn ang="0">
                  <a:pos x="750" y="498"/>
                </a:cxn>
                <a:cxn ang="0">
                  <a:pos x="681" y="485"/>
                </a:cxn>
                <a:cxn ang="0">
                  <a:pos x="631" y="466"/>
                </a:cxn>
                <a:cxn ang="0">
                  <a:pos x="576" y="476"/>
                </a:cxn>
                <a:cxn ang="0">
                  <a:pos x="539" y="521"/>
                </a:cxn>
                <a:cxn ang="0">
                  <a:pos x="553" y="562"/>
                </a:cxn>
                <a:cxn ang="0">
                  <a:pos x="567" y="608"/>
                </a:cxn>
                <a:cxn ang="0">
                  <a:pos x="526" y="594"/>
                </a:cxn>
                <a:cxn ang="0">
                  <a:pos x="494" y="576"/>
                </a:cxn>
                <a:cxn ang="0">
                  <a:pos x="434" y="553"/>
                </a:cxn>
                <a:cxn ang="0">
                  <a:pos x="398" y="540"/>
                </a:cxn>
                <a:cxn ang="0">
                  <a:pos x="311" y="521"/>
                </a:cxn>
                <a:cxn ang="0">
                  <a:pos x="256" y="503"/>
                </a:cxn>
                <a:cxn ang="0">
                  <a:pos x="192" y="503"/>
                </a:cxn>
                <a:cxn ang="0">
                  <a:pos x="123" y="521"/>
                </a:cxn>
                <a:cxn ang="0">
                  <a:pos x="78" y="530"/>
                </a:cxn>
                <a:cxn ang="0">
                  <a:pos x="36" y="549"/>
                </a:cxn>
                <a:cxn ang="0">
                  <a:pos x="4" y="553"/>
                </a:cxn>
                <a:cxn ang="0">
                  <a:pos x="18" y="503"/>
                </a:cxn>
                <a:cxn ang="0">
                  <a:pos x="23" y="457"/>
                </a:cxn>
                <a:cxn ang="0">
                  <a:pos x="4" y="421"/>
                </a:cxn>
                <a:cxn ang="0">
                  <a:pos x="55" y="361"/>
                </a:cxn>
                <a:cxn ang="0">
                  <a:pos x="151" y="334"/>
                </a:cxn>
                <a:cxn ang="0">
                  <a:pos x="174" y="320"/>
                </a:cxn>
                <a:cxn ang="0">
                  <a:pos x="196" y="288"/>
                </a:cxn>
                <a:cxn ang="0">
                  <a:pos x="219" y="261"/>
                </a:cxn>
                <a:cxn ang="0">
                  <a:pos x="242" y="160"/>
                </a:cxn>
                <a:cxn ang="0">
                  <a:pos x="242" y="41"/>
                </a:cxn>
                <a:cxn ang="0">
                  <a:pos x="274" y="14"/>
                </a:cxn>
                <a:cxn ang="0">
                  <a:pos x="302" y="18"/>
                </a:cxn>
                <a:cxn ang="0">
                  <a:pos x="343" y="27"/>
                </a:cxn>
              </a:cxnLst>
              <a:rect l="0" t="0" r="r" b="b"/>
              <a:pathLst>
                <a:path w="1033" h="608">
                  <a:moveTo>
                    <a:pt x="370" y="5"/>
                  </a:moveTo>
                  <a:lnTo>
                    <a:pt x="375" y="5"/>
                  </a:lnTo>
                  <a:lnTo>
                    <a:pt x="375" y="5"/>
                  </a:lnTo>
                  <a:lnTo>
                    <a:pt x="379" y="0"/>
                  </a:lnTo>
                  <a:lnTo>
                    <a:pt x="384" y="0"/>
                  </a:lnTo>
                  <a:lnTo>
                    <a:pt x="393" y="0"/>
                  </a:lnTo>
                  <a:lnTo>
                    <a:pt x="398" y="0"/>
                  </a:lnTo>
                  <a:lnTo>
                    <a:pt x="398" y="5"/>
                  </a:lnTo>
                  <a:lnTo>
                    <a:pt x="398" y="5"/>
                  </a:lnTo>
                  <a:lnTo>
                    <a:pt x="402" y="9"/>
                  </a:lnTo>
                  <a:lnTo>
                    <a:pt x="402" y="14"/>
                  </a:lnTo>
                  <a:lnTo>
                    <a:pt x="407" y="14"/>
                  </a:lnTo>
                  <a:lnTo>
                    <a:pt x="407" y="18"/>
                  </a:lnTo>
                  <a:lnTo>
                    <a:pt x="411" y="18"/>
                  </a:lnTo>
                  <a:lnTo>
                    <a:pt x="411" y="27"/>
                  </a:lnTo>
                  <a:lnTo>
                    <a:pt x="416" y="27"/>
                  </a:lnTo>
                  <a:lnTo>
                    <a:pt x="416" y="32"/>
                  </a:lnTo>
                  <a:lnTo>
                    <a:pt x="416" y="37"/>
                  </a:lnTo>
                  <a:lnTo>
                    <a:pt x="416" y="41"/>
                  </a:lnTo>
                  <a:lnTo>
                    <a:pt x="420" y="50"/>
                  </a:lnTo>
                  <a:lnTo>
                    <a:pt x="420" y="55"/>
                  </a:lnTo>
                  <a:lnTo>
                    <a:pt x="425" y="59"/>
                  </a:lnTo>
                  <a:lnTo>
                    <a:pt x="425" y="59"/>
                  </a:lnTo>
                  <a:lnTo>
                    <a:pt x="430" y="59"/>
                  </a:lnTo>
                  <a:lnTo>
                    <a:pt x="430" y="64"/>
                  </a:lnTo>
                  <a:lnTo>
                    <a:pt x="434" y="69"/>
                  </a:lnTo>
                  <a:lnTo>
                    <a:pt x="434" y="73"/>
                  </a:lnTo>
                  <a:lnTo>
                    <a:pt x="439" y="73"/>
                  </a:lnTo>
                  <a:lnTo>
                    <a:pt x="439" y="78"/>
                  </a:lnTo>
                  <a:lnTo>
                    <a:pt x="439" y="82"/>
                  </a:lnTo>
                  <a:lnTo>
                    <a:pt x="439" y="82"/>
                  </a:lnTo>
                  <a:lnTo>
                    <a:pt x="443" y="87"/>
                  </a:lnTo>
                  <a:lnTo>
                    <a:pt x="443" y="91"/>
                  </a:lnTo>
                  <a:lnTo>
                    <a:pt x="443" y="101"/>
                  </a:lnTo>
                  <a:lnTo>
                    <a:pt x="443" y="105"/>
                  </a:lnTo>
                  <a:lnTo>
                    <a:pt x="443" y="110"/>
                  </a:lnTo>
                  <a:lnTo>
                    <a:pt x="439" y="128"/>
                  </a:lnTo>
                  <a:lnTo>
                    <a:pt x="439" y="133"/>
                  </a:lnTo>
                  <a:lnTo>
                    <a:pt x="443" y="146"/>
                  </a:lnTo>
                  <a:lnTo>
                    <a:pt x="443" y="146"/>
                  </a:lnTo>
                  <a:lnTo>
                    <a:pt x="448" y="146"/>
                  </a:lnTo>
                  <a:lnTo>
                    <a:pt x="448" y="146"/>
                  </a:lnTo>
                  <a:lnTo>
                    <a:pt x="452" y="146"/>
                  </a:lnTo>
                  <a:lnTo>
                    <a:pt x="457" y="146"/>
                  </a:lnTo>
                  <a:lnTo>
                    <a:pt x="462" y="142"/>
                  </a:lnTo>
                  <a:lnTo>
                    <a:pt x="462" y="137"/>
                  </a:lnTo>
                  <a:lnTo>
                    <a:pt x="466" y="133"/>
                  </a:lnTo>
                  <a:lnTo>
                    <a:pt x="466" y="128"/>
                  </a:lnTo>
                  <a:lnTo>
                    <a:pt x="471" y="128"/>
                  </a:lnTo>
                  <a:lnTo>
                    <a:pt x="475" y="128"/>
                  </a:lnTo>
                  <a:lnTo>
                    <a:pt x="480" y="124"/>
                  </a:lnTo>
                  <a:lnTo>
                    <a:pt x="480" y="119"/>
                  </a:lnTo>
                  <a:lnTo>
                    <a:pt x="484" y="119"/>
                  </a:lnTo>
                  <a:lnTo>
                    <a:pt x="484" y="114"/>
                  </a:lnTo>
                  <a:lnTo>
                    <a:pt x="484" y="110"/>
                  </a:lnTo>
                  <a:lnTo>
                    <a:pt x="489" y="105"/>
                  </a:lnTo>
                  <a:lnTo>
                    <a:pt x="489" y="105"/>
                  </a:lnTo>
                  <a:lnTo>
                    <a:pt x="494" y="105"/>
                  </a:lnTo>
                  <a:lnTo>
                    <a:pt x="498" y="101"/>
                  </a:lnTo>
                  <a:lnTo>
                    <a:pt x="503" y="101"/>
                  </a:lnTo>
                  <a:lnTo>
                    <a:pt x="507" y="101"/>
                  </a:lnTo>
                  <a:lnTo>
                    <a:pt x="516" y="96"/>
                  </a:lnTo>
                  <a:lnTo>
                    <a:pt x="521" y="101"/>
                  </a:lnTo>
                  <a:lnTo>
                    <a:pt x="530" y="101"/>
                  </a:lnTo>
                  <a:lnTo>
                    <a:pt x="535" y="101"/>
                  </a:lnTo>
                  <a:lnTo>
                    <a:pt x="539" y="101"/>
                  </a:lnTo>
                  <a:lnTo>
                    <a:pt x="544" y="105"/>
                  </a:lnTo>
                  <a:lnTo>
                    <a:pt x="544" y="105"/>
                  </a:lnTo>
                  <a:lnTo>
                    <a:pt x="548" y="110"/>
                  </a:lnTo>
                  <a:lnTo>
                    <a:pt x="548" y="114"/>
                  </a:lnTo>
                  <a:lnTo>
                    <a:pt x="553" y="119"/>
                  </a:lnTo>
                  <a:lnTo>
                    <a:pt x="558" y="124"/>
                  </a:lnTo>
                  <a:lnTo>
                    <a:pt x="558" y="128"/>
                  </a:lnTo>
                  <a:lnTo>
                    <a:pt x="562" y="128"/>
                  </a:lnTo>
                  <a:lnTo>
                    <a:pt x="562" y="133"/>
                  </a:lnTo>
                  <a:lnTo>
                    <a:pt x="567" y="133"/>
                  </a:lnTo>
                  <a:lnTo>
                    <a:pt x="567" y="137"/>
                  </a:lnTo>
                  <a:lnTo>
                    <a:pt x="571" y="137"/>
                  </a:lnTo>
                  <a:lnTo>
                    <a:pt x="571" y="142"/>
                  </a:lnTo>
                  <a:lnTo>
                    <a:pt x="576" y="146"/>
                  </a:lnTo>
                  <a:lnTo>
                    <a:pt x="580" y="146"/>
                  </a:lnTo>
                  <a:lnTo>
                    <a:pt x="585" y="146"/>
                  </a:lnTo>
                  <a:lnTo>
                    <a:pt x="590" y="146"/>
                  </a:lnTo>
                  <a:lnTo>
                    <a:pt x="599" y="146"/>
                  </a:lnTo>
                  <a:lnTo>
                    <a:pt x="603" y="146"/>
                  </a:lnTo>
                  <a:lnTo>
                    <a:pt x="608" y="146"/>
                  </a:lnTo>
                  <a:lnTo>
                    <a:pt x="612" y="146"/>
                  </a:lnTo>
                  <a:lnTo>
                    <a:pt x="617" y="146"/>
                  </a:lnTo>
                  <a:lnTo>
                    <a:pt x="617" y="142"/>
                  </a:lnTo>
                  <a:lnTo>
                    <a:pt x="622" y="137"/>
                  </a:lnTo>
                  <a:lnTo>
                    <a:pt x="626" y="137"/>
                  </a:lnTo>
                  <a:lnTo>
                    <a:pt x="631" y="133"/>
                  </a:lnTo>
                  <a:lnTo>
                    <a:pt x="631" y="128"/>
                  </a:lnTo>
                  <a:lnTo>
                    <a:pt x="631" y="124"/>
                  </a:lnTo>
                  <a:lnTo>
                    <a:pt x="631" y="119"/>
                  </a:lnTo>
                  <a:lnTo>
                    <a:pt x="635" y="114"/>
                  </a:lnTo>
                  <a:lnTo>
                    <a:pt x="635" y="110"/>
                  </a:lnTo>
                  <a:lnTo>
                    <a:pt x="635" y="105"/>
                  </a:lnTo>
                  <a:lnTo>
                    <a:pt x="635" y="101"/>
                  </a:lnTo>
                  <a:lnTo>
                    <a:pt x="640" y="96"/>
                  </a:lnTo>
                  <a:lnTo>
                    <a:pt x="640" y="91"/>
                  </a:lnTo>
                  <a:lnTo>
                    <a:pt x="644" y="87"/>
                  </a:lnTo>
                  <a:lnTo>
                    <a:pt x="644" y="82"/>
                  </a:lnTo>
                  <a:lnTo>
                    <a:pt x="644" y="82"/>
                  </a:lnTo>
                  <a:lnTo>
                    <a:pt x="649" y="78"/>
                  </a:lnTo>
                  <a:lnTo>
                    <a:pt x="649" y="73"/>
                  </a:lnTo>
                  <a:lnTo>
                    <a:pt x="654" y="69"/>
                  </a:lnTo>
                  <a:lnTo>
                    <a:pt x="654" y="64"/>
                  </a:lnTo>
                  <a:lnTo>
                    <a:pt x="658" y="59"/>
                  </a:lnTo>
                  <a:lnTo>
                    <a:pt x="658" y="64"/>
                  </a:lnTo>
                  <a:lnTo>
                    <a:pt x="667" y="69"/>
                  </a:lnTo>
                  <a:lnTo>
                    <a:pt x="676" y="69"/>
                  </a:lnTo>
                  <a:lnTo>
                    <a:pt x="690" y="69"/>
                  </a:lnTo>
                  <a:lnTo>
                    <a:pt x="690" y="78"/>
                  </a:lnTo>
                  <a:lnTo>
                    <a:pt x="695" y="87"/>
                  </a:lnTo>
                  <a:lnTo>
                    <a:pt x="695" y="105"/>
                  </a:lnTo>
                  <a:lnTo>
                    <a:pt x="699" y="105"/>
                  </a:lnTo>
                  <a:lnTo>
                    <a:pt x="704" y="110"/>
                  </a:lnTo>
                  <a:lnTo>
                    <a:pt x="704" y="119"/>
                  </a:lnTo>
                  <a:lnTo>
                    <a:pt x="704" y="128"/>
                  </a:lnTo>
                  <a:lnTo>
                    <a:pt x="708" y="128"/>
                  </a:lnTo>
                  <a:lnTo>
                    <a:pt x="722" y="128"/>
                  </a:lnTo>
                  <a:lnTo>
                    <a:pt x="736" y="128"/>
                  </a:lnTo>
                  <a:lnTo>
                    <a:pt x="745" y="133"/>
                  </a:lnTo>
                  <a:lnTo>
                    <a:pt x="745" y="133"/>
                  </a:lnTo>
                  <a:lnTo>
                    <a:pt x="754" y="133"/>
                  </a:lnTo>
                  <a:lnTo>
                    <a:pt x="763" y="128"/>
                  </a:lnTo>
                  <a:lnTo>
                    <a:pt x="768" y="128"/>
                  </a:lnTo>
                  <a:lnTo>
                    <a:pt x="777" y="128"/>
                  </a:lnTo>
                  <a:lnTo>
                    <a:pt x="786" y="128"/>
                  </a:lnTo>
                  <a:lnTo>
                    <a:pt x="791" y="128"/>
                  </a:lnTo>
                  <a:lnTo>
                    <a:pt x="791" y="128"/>
                  </a:lnTo>
                  <a:lnTo>
                    <a:pt x="795" y="128"/>
                  </a:lnTo>
                  <a:lnTo>
                    <a:pt x="795" y="142"/>
                  </a:lnTo>
                  <a:lnTo>
                    <a:pt x="800" y="146"/>
                  </a:lnTo>
                  <a:lnTo>
                    <a:pt x="795" y="160"/>
                  </a:lnTo>
                  <a:lnTo>
                    <a:pt x="791" y="169"/>
                  </a:lnTo>
                  <a:lnTo>
                    <a:pt x="786" y="183"/>
                  </a:lnTo>
                  <a:lnTo>
                    <a:pt x="786" y="188"/>
                  </a:lnTo>
                  <a:lnTo>
                    <a:pt x="782" y="192"/>
                  </a:lnTo>
                  <a:lnTo>
                    <a:pt x="772" y="197"/>
                  </a:lnTo>
                  <a:lnTo>
                    <a:pt x="768" y="201"/>
                  </a:lnTo>
                  <a:lnTo>
                    <a:pt x="759" y="201"/>
                  </a:lnTo>
                  <a:lnTo>
                    <a:pt x="754" y="215"/>
                  </a:lnTo>
                  <a:lnTo>
                    <a:pt x="754" y="220"/>
                  </a:lnTo>
                  <a:lnTo>
                    <a:pt x="745" y="229"/>
                  </a:lnTo>
                  <a:lnTo>
                    <a:pt x="740" y="233"/>
                  </a:lnTo>
                  <a:lnTo>
                    <a:pt x="731" y="242"/>
                  </a:lnTo>
                  <a:lnTo>
                    <a:pt x="731" y="256"/>
                  </a:lnTo>
                  <a:lnTo>
                    <a:pt x="736" y="261"/>
                  </a:lnTo>
                  <a:lnTo>
                    <a:pt x="745" y="270"/>
                  </a:lnTo>
                  <a:lnTo>
                    <a:pt x="745" y="279"/>
                  </a:lnTo>
                  <a:lnTo>
                    <a:pt x="745" y="279"/>
                  </a:lnTo>
                  <a:lnTo>
                    <a:pt x="750" y="288"/>
                  </a:lnTo>
                  <a:lnTo>
                    <a:pt x="754" y="297"/>
                  </a:lnTo>
                  <a:lnTo>
                    <a:pt x="763" y="297"/>
                  </a:lnTo>
                  <a:lnTo>
                    <a:pt x="768" y="302"/>
                  </a:lnTo>
                  <a:lnTo>
                    <a:pt x="768" y="311"/>
                  </a:lnTo>
                  <a:lnTo>
                    <a:pt x="768" y="320"/>
                  </a:lnTo>
                  <a:lnTo>
                    <a:pt x="768" y="325"/>
                  </a:lnTo>
                  <a:lnTo>
                    <a:pt x="768" y="329"/>
                  </a:lnTo>
                  <a:lnTo>
                    <a:pt x="772" y="329"/>
                  </a:lnTo>
                  <a:lnTo>
                    <a:pt x="782" y="329"/>
                  </a:lnTo>
                  <a:lnTo>
                    <a:pt x="786" y="325"/>
                  </a:lnTo>
                  <a:lnTo>
                    <a:pt x="791" y="329"/>
                  </a:lnTo>
                  <a:lnTo>
                    <a:pt x="795" y="334"/>
                  </a:lnTo>
                  <a:lnTo>
                    <a:pt x="800" y="338"/>
                  </a:lnTo>
                  <a:lnTo>
                    <a:pt x="804" y="343"/>
                  </a:lnTo>
                  <a:lnTo>
                    <a:pt x="809" y="348"/>
                  </a:lnTo>
                  <a:lnTo>
                    <a:pt x="814" y="352"/>
                  </a:lnTo>
                  <a:lnTo>
                    <a:pt x="814" y="352"/>
                  </a:lnTo>
                  <a:lnTo>
                    <a:pt x="818" y="352"/>
                  </a:lnTo>
                  <a:lnTo>
                    <a:pt x="827" y="348"/>
                  </a:lnTo>
                  <a:lnTo>
                    <a:pt x="841" y="348"/>
                  </a:lnTo>
                  <a:lnTo>
                    <a:pt x="859" y="348"/>
                  </a:lnTo>
                  <a:lnTo>
                    <a:pt x="873" y="348"/>
                  </a:lnTo>
                  <a:lnTo>
                    <a:pt x="878" y="348"/>
                  </a:lnTo>
                  <a:lnTo>
                    <a:pt x="882" y="343"/>
                  </a:lnTo>
                  <a:lnTo>
                    <a:pt x="900" y="343"/>
                  </a:lnTo>
                  <a:lnTo>
                    <a:pt x="910" y="343"/>
                  </a:lnTo>
                  <a:lnTo>
                    <a:pt x="919" y="348"/>
                  </a:lnTo>
                  <a:lnTo>
                    <a:pt x="932" y="348"/>
                  </a:lnTo>
                  <a:lnTo>
                    <a:pt x="951" y="357"/>
                  </a:lnTo>
                  <a:lnTo>
                    <a:pt x="969" y="366"/>
                  </a:lnTo>
                  <a:lnTo>
                    <a:pt x="978" y="366"/>
                  </a:lnTo>
                  <a:lnTo>
                    <a:pt x="987" y="375"/>
                  </a:lnTo>
                  <a:lnTo>
                    <a:pt x="996" y="375"/>
                  </a:lnTo>
                  <a:lnTo>
                    <a:pt x="1010" y="380"/>
                  </a:lnTo>
                  <a:lnTo>
                    <a:pt x="1019" y="380"/>
                  </a:lnTo>
                  <a:lnTo>
                    <a:pt x="1033" y="384"/>
                  </a:lnTo>
                  <a:lnTo>
                    <a:pt x="1033" y="389"/>
                  </a:lnTo>
                  <a:lnTo>
                    <a:pt x="1033" y="389"/>
                  </a:lnTo>
                  <a:lnTo>
                    <a:pt x="1024" y="389"/>
                  </a:lnTo>
                  <a:lnTo>
                    <a:pt x="1019" y="389"/>
                  </a:lnTo>
                  <a:lnTo>
                    <a:pt x="1015" y="393"/>
                  </a:lnTo>
                  <a:lnTo>
                    <a:pt x="1010" y="398"/>
                  </a:lnTo>
                  <a:lnTo>
                    <a:pt x="1010" y="402"/>
                  </a:lnTo>
                  <a:lnTo>
                    <a:pt x="1010" y="407"/>
                  </a:lnTo>
                  <a:lnTo>
                    <a:pt x="1010" y="412"/>
                  </a:lnTo>
                  <a:lnTo>
                    <a:pt x="1006" y="412"/>
                  </a:lnTo>
                  <a:lnTo>
                    <a:pt x="1001" y="412"/>
                  </a:lnTo>
                  <a:lnTo>
                    <a:pt x="1001" y="416"/>
                  </a:lnTo>
                  <a:lnTo>
                    <a:pt x="992" y="416"/>
                  </a:lnTo>
                  <a:lnTo>
                    <a:pt x="987" y="416"/>
                  </a:lnTo>
                  <a:lnTo>
                    <a:pt x="978" y="416"/>
                  </a:lnTo>
                  <a:lnTo>
                    <a:pt x="974" y="416"/>
                  </a:lnTo>
                  <a:lnTo>
                    <a:pt x="969" y="416"/>
                  </a:lnTo>
                  <a:lnTo>
                    <a:pt x="964" y="412"/>
                  </a:lnTo>
                  <a:lnTo>
                    <a:pt x="964" y="412"/>
                  </a:lnTo>
                  <a:lnTo>
                    <a:pt x="955" y="412"/>
                  </a:lnTo>
                  <a:lnTo>
                    <a:pt x="951" y="412"/>
                  </a:lnTo>
                  <a:lnTo>
                    <a:pt x="946" y="412"/>
                  </a:lnTo>
                  <a:lnTo>
                    <a:pt x="946" y="407"/>
                  </a:lnTo>
                  <a:lnTo>
                    <a:pt x="942" y="407"/>
                  </a:lnTo>
                  <a:lnTo>
                    <a:pt x="937" y="407"/>
                  </a:lnTo>
                  <a:lnTo>
                    <a:pt x="928" y="402"/>
                  </a:lnTo>
                  <a:lnTo>
                    <a:pt x="923" y="402"/>
                  </a:lnTo>
                  <a:lnTo>
                    <a:pt x="923" y="407"/>
                  </a:lnTo>
                  <a:lnTo>
                    <a:pt x="914" y="407"/>
                  </a:lnTo>
                  <a:lnTo>
                    <a:pt x="910" y="412"/>
                  </a:lnTo>
                  <a:lnTo>
                    <a:pt x="905" y="421"/>
                  </a:lnTo>
                  <a:lnTo>
                    <a:pt x="905" y="434"/>
                  </a:lnTo>
                  <a:lnTo>
                    <a:pt x="910" y="434"/>
                  </a:lnTo>
                  <a:lnTo>
                    <a:pt x="910" y="444"/>
                  </a:lnTo>
                  <a:lnTo>
                    <a:pt x="914" y="453"/>
                  </a:lnTo>
                  <a:lnTo>
                    <a:pt x="914" y="457"/>
                  </a:lnTo>
                  <a:lnTo>
                    <a:pt x="919" y="457"/>
                  </a:lnTo>
                  <a:lnTo>
                    <a:pt x="923" y="462"/>
                  </a:lnTo>
                  <a:lnTo>
                    <a:pt x="923" y="471"/>
                  </a:lnTo>
                  <a:lnTo>
                    <a:pt x="923" y="476"/>
                  </a:lnTo>
                  <a:lnTo>
                    <a:pt x="923" y="476"/>
                  </a:lnTo>
                  <a:lnTo>
                    <a:pt x="928" y="480"/>
                  </a:lnTo>
                  <a:lnTo>
                    <a:pt x="928" y="485"/>
                  </a:lnTo>
                  <a:lnTo>
                    <a:pt x="928" y="489"/>
                  </a:lnTo>
                  <a:lnTo>
                    <a:pt x="928" y="498"/>
                  </a:lnTo>
                  <a:lnTo>
                    <a:pt x="932" y="503"/>
                  </a:lnTo>
                  <a:lnTo>
                    <a:pt x="928" y="503"/>
                  </a:lnTo>
                  <a:lnTo>
                    <a:pt x="928" y="508"/>
                  </a:lnTo>
                  <a:lnTo>
                    <a:pt x="928" y="512"/>
                  </a:lnTo>
                  <a:lnTo>
                    <a:pt x="923" y="512"/>
                  </a:lnTo>
                  <a:lnTo>
                    <a:pt x="923" y="512"/>
                  </a:lnTo>
                  <a:lnTo>
                    <a:pt x="923" y="517"/>
                  </a:lnTo>
                  <a:lnTo>
                    <a:pt x="919" y="521"/>
                  </a:lnTo>
                  <a:lnTo>
                    <a:pt x="914" y="521"/>
                  </a:lnTo>
                  <a:lnTo>
                    <a:pt x="910" y="521"/>
                  </a:lnTo>
                  <a:lnTo>
                    <a:pt x="900" y="530"/>
                  </a:lnTo>
                  <a:lnTo>
                    <a:pt x="900" y="530"/>
                  </a:lnTo>
                  <a:lnTo>
                    <a:pt x="900" y="535"/>
                  </a:lnTo>
                  <a:lnTo>
                    <a:pt x="896" y="535"/>
                  </a:lnTo>
                  <a:lnTo>
                    <a:pt x="896" y="540"/>
                  </a:lnTo>
                  <a:lnTo>
                    <a:pt x="891" y="544"/>
                  </a:lnTo>
                  <a:lnTo>
                    <a:pt x="887" y="544"/>
                  </a:lnTo>
                  <a:lnTo>
                    <a:pt x="887" y="544"/>
                  </a:lnTo>
                  <a:lnTo>
                    <a:pt x="882" y="544"/>
                  </a:lnTo>
                  <a:lnTo>
                    <a:pt x="882" y="549"/>
                  </a:lnTo>
                  <a:lnTo>
                    <a:pt x="878" y="549"/>
                  </a:lnTo>
                  <a:lnTo>
                    <a:pt x="878" y="553"/>
                  </a:lnTo>
                  <a:lnTo>
                    <a:pt x="864" y="562"/>
                  </a:lnTo>
                  <a:lnTo>
                    <a:pt x="855" y="562"/>
                  </a:lnTo>
                  <a:lnTo>
                    <a:pt x="855" y="562"/>
                  </a:lnTo>
                  <a:lnTo>
                    <a:pt x="850" y="562"/>
                  </a:lnTo>
                  <a:lnTo>
                    <a:pt x="846" y="558"/>
                  </a:lnTo>
                  <a:lnTo>
                    <a:pt x="841" y="558"/>
                  </a:lnTo>
                  <a:lnTo>
                    <a:pt x="841" y="553"/>
                  </a:lnTo>
                  <a:lnTo>
                    <a:pt x="841" y="549"/>
                  </a:lnTo>
                  <a:lnTo>
                    <a:pt x="836" y="549"/>
                  </a:lnTo>
                  <a:lnTo>
                    <a:pt x="836" y="544"/>
                  </a:lnTo>
                  <a:lnTo>
                    <a:pt x="836" y="544"/>
                  </a:lnTo>
                  <a:lnTo>
                    <a:pt x="832" y="535"/>
                  </a:lnTo>
                  <a:lnTo>
                    <a:pt x="832" y="526"/>
                  </a:lnTo>
                  <a:lnTo>
                    <a:pt x="827" y="526"/>
                  </a:lnTo>
                  <a:lnTo>
                    <a:pt x="823" y="521"/>
                  </a:lnTo>
                  <a:lnTo>
                    <a:pt x="823" y="517"/>
                  </a:lnTo>
                  <a:lnTo>
                    <a:pt x="818" y="517"/>
                  </a:lnTo>
                  <a:lnTo>
                    <a:pt x="818" y="512"/>
                  </a:lnTo>
                  <a:lnTo>
                    <a:pt x="814" y="512"/>
                  </a:lnTo>
                  <a:lnTo>
                    <a:pt x="814" y="508"/>
                  </a:lnTo>
                  <a:lnTo>
                    <a:pt x="804" y="503"/>
                  </a:lnTo>
                  <a:lnTo>
                    <a:pt x="800" y="498"/>
                  </a:lnTo>
                  <a:lnTo>
                    <a:pt x="795" y="498"/>
                  </a:lnTo>
                  <a:lnTo>
                    <a:pt x="791" y="498"/>
                  </a:lnTo>
                  <a:lnTo>
                    <a:pt x="791" y="498"/>
                  </a:lnTo>
                  <a:lnTo>
                    <a:pt x="786" y="498"/>
                  </a:lnTo>
                  <a:lnTo>
                    <a:pt x="782" y="498"/>
                  </a:lnTo>
                  <a:lnTo>
                    <a:pt x="777" y="503"/>
                  </a:lnTo>
                  <a:lnTo>
                    <a:pt x="768" y="503"/>
                  </a:lnTo>
                  <a:lnTo>
                    <a:pt x="768" y="503"/>
                  </a:lnTo>
                  <a:lnTo>
                    <a:pt x="763" y="503"/>
                  </a:lnTo>
                  <a:lnTo>
                    <a:pt x="759" y="503"/>
                  </a:lnTo>
                  <a:lnTo>
                    <a:pt x="750" y="498"/>
                  </a:lnTo>
                  <a:lnTo>
                    <a:pt x="745" y="498"/>
                  </a:lnTo>
                  <a:lnTo>
                    <a:pt x="731" y="498"/>
                  </a:lnTo>
                  <a:lnTo>
                    <a:pt x="722" y="498"/>
                  </a:lnTo>
                  <a:lnTo>
                    <a:pt x="718" y="498"/>
                  </a:lnTo>
                  <a:lnTo>
                    <a:pt x="708" y="498"/>
                  </a:lnTo>
                  <a:lnTo>
                    <a:pt x="708" y="494"/>
                  </a:lnTo>
                  <a:lnTo>
                    <a:pt x="699" y="494"/>
                  </a:lnTo>
                  <a:lnTo>
                    <a:pt x="695" y="489"/>
                  </a:lnTo>
                  <a:lnTo>
                    <a:pt x="681" y="485"/>
                  </a:lnTo>
                  <a:lnTo>
                    <a:pt x="681" y="485"/>
                  </a:lnTo>
                  <a:lnTo>
                    <a:pt x="676" y="485"/>
                  </a:lnTo>
                  <a:lnTo>
                    <a:pt x="672" y="485"/>
                  </a:lnTo>
                  <a:lnTo>
                    <a:pt x="658" y="476"/>
                  </a:lnTo>
                  <a:lnTo>
                    <a:pt x="654" y="476"/>
                  </a:lnTo>
                  <a:lnTo>
                    <a:pt x="649" y="476"/>
                  </a:lnTo>
                  <a:lnTo>
                    <a:pt x="649" y="476"/>
                  </a:lnTo>
                  <a:lnTo>
                    <a:pt x="640" y="476"/>
                  </a:lnTo>
                  <a:lnTo>
                    <a:pt x="635" y="471"/>
                  </a:lnTo>
                  <a:lnTo>
                    <a:pt x="635" y="471"/>
                  </a:lnTo>
                  <a:lnTo>
                    <a:pt x="631" y="466"/>
                  </a:lnTo>
                  <a:lnTo>
                    <a:pt x="626" y="466"/>
                  </a:lnTo>
                  <a:lnTo>
                    <a:pt x="622" y="462"/>
                  </a:lnTo>
                  <a:lnTo>
                    <a:pt x="617" y="462"/>
                  </a:lnTo>
                  <a:lnTo>
                    <a:pt x="617" y="462"/>
                  </a:lnTo>
                  <a:lnTo>
                    <a:pt x="603" y="466"/>
                  </a:lnTo>
                  <a:lnTo>
                    <a:pt x="599" y="466"/>
                  </a:lnTo>
                  <a:lnTo>
                    <a:pt x="594" y="471"/>
                  </a:lnTo>
                  <a:lnTo>
                    <a:pt x="590" y="476"/>
                  </a:lnTo>
                  <a:lnTo>
                    <a:pt x="585" y="476"/>
                  </a:lnTo>
                  <a:lnTo>
                    <a:pt x="576" y="476"/>
                  </a:lnTo>
                  <a:lnTo>
                    <a:pt x="553" y="498"/>
                  </a:lnTo>
                  <a:lnTo>
                    <a:pt x="548" y="498"/>
                  </a:lnTo>
                  <a:lnTo>
                    <a:pt x="548" y="498"/>
                  </a:lnTo>
                  <a:lnTo>
                    <a:pt x="548" y="503"/>
                  </a:lnTo>
                  <a:lnTo>
                    <a:pt x="548" y="508"/>
                  </a:lnTo>
                  <a:lnTo>
                    <a:pt x="544" y="512"/>
                  </a:lnTo>
                  <a:lnTo>
                    <a:pt x="544" y="517"/>
                  </a:lnTo>
                  <a:lnTo>
                    <a:pt x="544" y="521"/>
                  </a:lnTo>
                  <a:lnTo>
                    <a:pt x="539" y="521"/>
                  </a:lnTo>
                  <a:lnTo>
                    <a:pt x="539" y="521"/>
                  </a:lnTo>
                  <a:lnTo>
                    <a:pt x="539" y="530"/>
                  </a:lnTo>
                  <a:lnTo>
                    <a:pt x="539" y="535"/>
                  </a:lnTo>
                  <a:lnTo>
                    <a:pt x="544" y="540"/>
                  </a:lnTo>
                  <a:lnTo>
                    <a:pt x="544" y="544"/>
                  </a:lnTo>
                  <a:lnTo>
                    <a:pt x="544" y="544"/>
                  </a:lnTo>
                  <a:lnTo>
                    <a:pt x="548" y="544"/>
                  </a:lnTo>
                  <a:lnTo>
                    <a:pt x="548" y="549"/>
                  </a:lnTo>
                  <a:lnTo>
                    <a:pt x="548" y="553"/>
                  </a:lnTo>
                  <a:lnTo>
                    <a:pt x="548" y="562"/>
                  </a:lnTo>
                  <a:lnTo>
                    <a:pt x="553" y="562"/>
                  </a:lnTo>
                  <a:lnTo>
                    <a:pt x="553" y="567"/>
                  </a:lnTo>
                  <a:lnTo>
                    <a:pt x="558" y="572"/>
                  </a:lnTo>
                  <a:lnTo>
                    <a:pt x="558" y="576"/>
                  </a:lnTo>
                  <a:lnTo>
                    <a:pt x="562" y="585"/>
                  </a:lnTo>
                  <a:lnTo>
                    <a:pt x="562" y="585"/>
                  </a:lnTo>
                  <a:lnTo>
                    <a:pt x="567" y="590"/>
                  </a:lnTo>
                  <a:lnTo>
                    <a:pt x="567" y="594"/>
                  </a:lnTo>
                  <a:lnTo>
                    <a:pt x="571" y="599"/>
                  </a:lnTo>
                  <a:lnTo>
                    <a:pt x="571" y="604"/>
                  </a:lnTo>
                  <a:lnTo>
                    <a:pt x="567" y="608"/>
                  </a:lnTo>
                  <a:lnTo>
                    <a:pt x="567" y="608"/>
                  </a:lnTo>
                  <a:lnTo>
                    <a:pt x="562" y="608"/>
                  </a:lnTo>
                  <a:lnTo>
                    <a:pt x="558" y="608"/>
                  </a:lnTo>
                  <a:lnTo>
                    <a:pt x="553" y="608"/>
                  </a:lnTo>
                  <a:lnTo>
                    <a:pt x="548" y="608"/>
                  </a:lnTo>
                  <a:lnTo>
                    <a:pt x="548" y="608"/>
                  </a:lnTo>
                  <a:lnTo>
                    <a:pt x="548" y="604"/>
                  </a:lnTo>
                  <a:lnTo>
                    <a:pt x="535" y="594"/>
                  </a:lnTo>
                  <a:lnTo>
                    <a:pt x="530" y="594"/>
                  </a:lnTo>
                  <a:lnTo>
                    <a:pt x="526" y="594"/>
                  </a:lnTo>
                  <a:lnTo>
                    <a:pt x="526" y="590"/>
                  </a:lnTo>
                  <a:lnTo>
                    <a:pt x="526" y="590"/>
                  </a:lnTo>
                  <a:lnTo>
                    <a:pt x="521" y="585"/>
                  </a:lnTo>
                  <a:lnTo>
                    <a:pt x="516" y="585"/>
                  </a:lnTo>
                  <a:lnTo>
                    <a:pt x="512" y="585"/>
                  </a:lnTo>
                  <a:lnTo>
                    <a:pt x="507" y="585"/>
                  </a:lnTo>
                  <a:lnTo>
                    <a:pt x="507" y="581"/>
                  </a:lnTo>
                  <a:lnTo>
                    <a:pt x="503" y="576"/>
                  </a:lnTo>
                  <a:lnTo>
                    <a:pt x="498" y="576"/>
                  </a:lnTo>
                  <a:lnTo>
                    <a:pt x="494" y="576"/>
                  </a:lnTo>
                  <a:lnTo>
                    <a:pt x="489" y="572"/>
                  </a:lnTo>
                  <a:lnTo>
                    <a:pt x="484" y="572"/>
                  </a:lnTo>
                  <a:lnTo>
                    <a:pt x="475" y="567"/>
                  </a:lnTo>
                  <a:lnTo>
                    <a:pt x="471" y="567"/>
                  </a:lnTo>
                  <a:lnTo>
                    <a:pt x="462" y="567"/>
                  </a:lnTo>
                  <a:lnTo>
                    <a:pt x="462" y="562"/>
                  </a:lnTo>
                  <a:lnTo>
                    <a:pt x="452" y="562"/>
                  </a:lnTo>
                  <a:lnTo>
                    <a:pt x="439" y="553"/>
                  </a:lnTo>
                  <a:lnTo>
                    <a:pt x="439" y="553"/>
                  </a:lnTo>
                  <a:lnTo>
                    <a:pt x="434" y="553"/>
                  </a:lnTo>
                  <a:lnTo>
                    <a:pt x="434" y="549"/>
                  </a:lnTo>
                  <a:lnTo>
                    <a:pt x="430" y="549"/>
                  </a:lnTo>
                  <a:lnTo>
                    <a:pt x="425" y="549"/>
                  </a:lnTo>
                  <a:lnTo>
                    <a:pt x="420" y="544"/>
                  </a:lnTo>
                  <a:lnTo>
                    <a:pt x="416" y="544"/>
                  </a:lnTo>
                  <a:lnTo>
                    <a:pt x="416" y="544"/>
                  </a:lnTo>
                  <a:lnTo>
                    <a:pt x="411" y="544"/>
                  </a:lnTo>
                  <a:lnTo>
                    <a:pt x="407" y="544"/>
                  </a:lnTo>
                  <a:lnTo>
                    <a:pt x="402" y="544"/>
                  </a:lnTo>
                  <a:lnTo>
                    <a:pt x="398" y="540"/>
                  </a:lnTo>
                  <a:lnTo>
                    <a:pt x="388" y="540"/>
                  </a:lnTo>
                  <a:lnTo>
                    <a:pt x="384" y="535"/>
                  </a:lnTo>
                  <a:lnTo>
                    <a:pt x="375" y="530"/>
                  </a:lnTo>
                  <a:lnTo>
                    <a:pt x="370" y="530"/>
                  </a:lnTo>
                  <a:lnTo>
                    <a:pt x="356" y="530"/>
                  </a:lnTo>
                  <a:lnTo>
                    <a:pt x="338" y="526"/>
                  </a:lnTo>
                  <a:lnTo>
                    <a:pt x="329" y="526"/>
                  </a:lnTo>
                  <a:lnTo>
                    <a:pt x="329" y="521"/>
                  </a:lnTo>
                  <a:lnTo>
                    <a:pt x="315" y="521"/>
                  </a:lnTo>
                  <a:lnTo>
                    <a:pt x="311" y="521"/>
                  </a:lnTo>
                  <a:lnTo>
                    <a:pt x="306" y="521"/>
                  </a:lnTo>
                  <a:lnTo>
                    <a:pt x="297" y="517"/>
                  </a:lnTo>
                  <a:lnTo>
                    <a:pt x="292" y="517"/>
                  </a:lnTo>
                  <a:lnTo>
                    <a:pt x="288" y="512"/>
                  </a:lnTo>
                  <a:lnTo>
                    <a:pt x="279" y="512"/>
                  </a:lnTo>
                  <a:lnTo>
                    <a:pt x="274" y="508"/>
                  </a:lnTo>
                  <a:lnTo>
                    <a:pt x="270" y="508"/>
                  </a:lnTo>
                  <a:lnTo>
                    <a:pt x="265" y="508"/>
                  </a:lnTo>
                  <a:lnTo>
                    <a:pt x="260" y="503"/>
                  </a:lnTo>
                  <a:lnTo>
                    <a:pt x="256" y="503"/>
                  </a:lnTo>
                  <a:lnTo>
                    <a:pt x="247" y="503"/>
                  </a:lnTo>
                  <a:lnTo>
                    <a:pt x="242" y="503"/>
                  </a:lnTo>
                  <a:lnTo>
                    <a:pt x="228" y="498"/>
                  </a:lnTo>
                  <a:lnTo>
                    <a:pt x="219" y="498"/>
                  </a:lnTo>
                  <a:lnTo>
                    <a:pt x="219" y="498"/>
                  </a:lnTo>
                  <a:lnTo>
                    <a:pt x="215" y="498"/>
                  </a:lnTo>
                  <a:lnTo>
                    <a:pt x="210" y="503"/>
                  </a:lnTo>
                  <a:lnTo>
                    <a:pt x="206" y="503"/>
                  </a:lnTo>
                  <a:lnTo>
                    <a:pt x="201" y="503"/>
                  </a:lnTo>
                  <a:lnTo>
                    <a:pt x="192" y="503"/>
                  </a:lnTo>
                  <a:lnTo>
                    <a:pt x="183" y="503"/>
                  </a:lnTo>
                  <a:lnTo>
                    <a:pt x="178" y="503"/>
                  </a:lnTo>
                  <a:lnTo>
                    <a:pt x="169" y="508"/>
                  </a:lnTo>
                  <a:lnTo>
                    <a:pt x="160" y="508"/>
                  </a:lnTo>
                  <a:lnTo>
                    <a:pt x="155" y="512"/>
                  </a:lnTo>
                  <a:lnTo>
                    <a:pt x="151" y="512"/>
                  </a:lnTo>
                  <a:lnTo>
                    <a:pt x="146" y="512"/>
                  </a:lnTo>
                  <a:lnTo>
                    <a:pt x="132" y="517"/>
                  </a:lnTo>
                  <a:lnTo>
                    <a:pt x="128" y="517"/>
                  </a:lnTo>
                  <a:lnTo>
                    <a:pt x="123" y="521"/>
                  </a:lnTo>
                  <a:lnTo>
                    <a:pt x="119" y="521"/>
                  </a:lnTo>
                  <a:lnTo>
                    <a:pt x="110" y="521"/>
                  </a:lnTo>
                  <a:lnTo>
                    <a:pt x="105" y="521"/>
                  </a:lnTo>
                  <a:lnTo>
                    <a:pt x="100" y="526"/>
                  </a:lnTo>
                  <a:lnTo>
                    <a:pt x="91" y="526"/>
                  </a:lnTo>
                  <a:lnTo>
                    <a:pt x="91" y="526"/>
                  </a:lnTo>
                  <a:lnTo>
                    <a:pt x="91" y="530"/>
                  </a:lnTo>
                  <a:lnTo>
                    <a:pt x="87" y="530"/>
                  </a:lnTo>
                  <a:lnTo>
                    <a:pt x="82" y="530"/>
                  </a:lnTo>
                  <a:lnTo>
                    <a:pt x="78" y="530"/>
                  </a:lnTo>
                  <a:lnTo>
                    <a:pt x="78" y="535"/>
                  </a:lnTo>
                  <a:lnTo>
                    <a:pt x="68" y="535"/>
                  </a:lnTo>
                  <a:lnTo>
                    <a:pt x="64" y="535"/>
                  </a:lnTo>
                  <a:lnTo>
                    <a:pt x="64" y="540"/>
                  </a:lnTo>
                  <a:lnTo>
                    <a:pt x="59" y="540"/>
                  </a:lnTo>
                  <a:lnTo>
                    <a:pt x="55" y="540"/>
                  </a:lnTo>
                  <a:lnTo>
                    <a:pt x="46" y="544"/>
                  </a:lnTo>
                  <a:lnTo>
                    <a:pt x="46" y="544"/>
                  </a:lnTo>
                  <a:lnTo>
                    <a:pt x="41" y="544"/>
                  </a:lnTo>
                  <a:lnTo>
                    <a:pt x="36" y="549"/>
                  </a:lnTo>
                  <a:lnTo>
                    <a:pt x="32" y="549"/>
                  </a:lnTo>
                  <a:lnTo>
                    <a:pt x="27" y="553"/>
                  </a:lnTo>
                  <a:lnTo>
                    <a:pt x="23" y="553"/>
                  </a:lnTo>
                  <a:lnTo>
                    <a:pt x="23" y="558"/>
                  </a:lnTo>
                  <a:lnTo>
                    <a:pt x="18" y="562"/>
                  </a:lnTo>
                  <a:lnTo>
                    <a:pt x="9" y="567"/>
                  </a:lnTo>
                  <a:lnTo>
                    <a:pt x="4" y="567"/>
                  </a:lnTo>
                  <a:lnTo>
                    <a:pt x="4" y="562"/>
                  </a:lnTo>
                  <a:lnTo>
                    <a:pt x="4" y="558"/>
                  </a:lnTo>
                  <a:lnTo>
                    <a:pt x="4" y="553"/>
                  </a:lnTo>
                  <a:lnTo>
                    <a:pt x="4" y="549"/>
                  </a:lnTo>
                  <a:lnTo>
                    <a:pt x="4" y="540"/>
                  </a:lnTo>
                  <a:lnTo>
                    <a:pt x="9" y="530"/>
                  </a:lnTo>
                  <a:lnTo>
                    <a:pt x="9" y="521"/>
                  </a:lnTo>
                  <a:lnTo>
                    <a:pt x="14" y="521"/>
                  </a:lnTo>
                  <a:lnTo>
                    <a:pt x="14" y="517"/>
                  </a:lnTo>
                  <a:lnTo>
                    <a:pt x="14" y="512"/>
                  </a:lnTo>
                  <a:lnTo>
                    <a:pt x="14" y="508"/>
                  </a:lnTo>
                  <a:lnTo>
                    <a:pt x="14" y="503"/>
                  </a:lnTo>
                  <a:lnTo>
                    <a:pt x="18" y="503"/>
                  </a:lnTo>
                  <a:lnTo>
                    <a:pt x="18" y="498"/>
                  </a:lnTo>
                  <a:lnTo>
                    <a:pt x="18" y="498"/>
                  </a:lnTo>
                  <a:lnTo>
                    <a:pt x="23" y="494"/>
                  </a:lnTo>
                  <a:lnTo>
                    <a:pt x="23" y="485"/>
                  </a:lnTo>
                  <a:lnTo>
                    <a:pt x="18" y="480"/>
                  </a:lnTo>
                  <a:lnTo>
                    <a:pt x="18" y="476"/>
                  </a:lnTo>
                  <a:lnTo>
                    <a:pt x="18" y="476"/>
                  </a:lnTo>
                  <a:lnTo>
                    <a:pt x="18" y="471"/>
                  </a:lnTo>
                  <a:lnTo>
                    <a:pt x="23" y="462"/>
                  </a:lnTo>
                  <a:lnTo>
                    <a:pt x="23" y="457"/>
                  </a:lnTo>
                  <a:lnTo>
                    <a:pt x="23" y="457"/>
                  </a:lnTo>
                  <a:lnTo>
                    <a:pt x="23" y="457"/>
                  </a:lnTo>
                  <a:lnTo>
                    <a:pt x="23" y="453"/>
                  </a:lnTo>
                  <a:lnTo>
                    <a:pt x="18" y="448"/>
                  </a:lnTo>
                  <a:lnTo>
                    <a:pt x="14" y="444"/>
                  </a:lnTo>
                  <a:lnTo>
                    <a:pt x="14" y="439"/>
                  </a:lnTo>
                  <a:lnTo>
                    <a:pt x="9" y="434"/>
                  </a:lnTo>
                  <a:lnTo>
                    <a:pt x="9" y="434"/>
                  </a:lnTo>
                  <a:lnTo>
                    <a:pt x="9" y="425"/>
                  </a:lnTo>
                  <a:lnTo>
                    <a:pt x="4" y="421"/>
                  </a:lnTo>
                  <a:lnTo>
                    <a:pt x="0" y="412"/>
                  </a:lnTo>
                  <a:lnTo>
                    <a:pt x="0" y="407"/>
                  </a:lnTo>
                  <a:lnTo>
                    <a:pt x="4" y="398"/>
                  </a:lnTo>
                  <a:lnTo>
                    <a:pt x="9" y="384"/>
                  </a:lnTo>
                  <a:lnTo>
                    <a:pt x="18" y="375"/>
                  </a:lnTo>
                  <a:lnTo>
                    <a:pt x="23" y="370"/>
                  </a:lnTo>
                  <a:lnTo>
                    <a:pt x="27" y="361"/>
                  </a:lnTo>
                  <a:lnTo>
                    <a:pt x="46" y="361"/>
                  </a:lnTo>
                  <a:lnTo>
                    <a:pt x="46" y="361"/>
                  </a:lnTo>
                  <a:lnTo>
                    <a:pt x="55" y="361"/>
                  </a:lnTo>
                  <a:lnTo>
                    <a:pt x="68" y="357"/>
                  </a:lnTo>
                  <a:lnTo>
                    <a:pt x="82" y="357"/>
                  </a:lnTo>
                  <a:lnTo>
                    <a:pt x="87" y="357"/>
                  </a:lnTo>
                  <a:lnTo>
                    <a:pt x="91" y="352"/>
                  </a:lnTo>
                  <a:lnTo>
                    <a:pt x="114" y="348"/>
                  </a:lnTo>
                  <a:lnTo>
                    <a:pt x="119" y="348"/>
                  </a:lnTo>
                  <a:lnTo>
                    <a:pt x="132" y="343"/>
                  </a:lnTo>
                  <a:lnTo>
                    <a:pt x="137" y="338"/>
                  </a:lnTo>
                  <a:lnTo>
                    <a:pt x="142" y="334"/>
                  </a:lnTo>
                  <a:lnTo>
                    <a:pt x="151" y="334"/>
                  </a:lnTo>
                  <a:lnTo>
                    <a:pt x="151" y="329"/>
                  </a:lnTo>
                  <a:lnTo>
                    <a:pt x="155" y="329"/>
                  </a:lnTo>
                  <a:lnTo>
                    <a:pt x="155" y="329"/>
                  </a:lnTo>
                  <a:lnTo>
                    <a:pt x="155" y="325"/>
                  </a:lnTo>
                  <a:lnTo>
                    <a:pt x="160" y="325"/>
                  </a:lnTo>
                  <a:lnTo>
                    <a:pt x="160" y="325"/>
                  </a:lnTo>
                  <a:lnTo>
                    <a:pt x="164" y="325"/>
                  </a:lnTo>
                  <a:lnTo>
                    <a:pt x="169" y="325"/>
                  </a:lnTo>
                  <a:lnTo>
                    <a:pt x="169" y="320"/>
                  </a:lnTo>
                  <a:lnTo>
                    <a:pt x="174" y="320"/>
                  </a:lnTo>
                  <a:lnTo>
                    <a:pt x="178" y="316"/>
                  </a:lnTo>
                  <a:lnTo>
                    <a:pt x="178" y="311"/>
                  </a:lnTo>
                  <a:lnTo>
                    <a:pt x="183" y="306"/>
                  </a:lnTo>
                  <a:lnTo>
                    <a:pt x="187" y="306"/>
                  </a:lnTo>
                  <a:lnTo>
                    <a:pt x="192" y="302"/>
                  </a:lnTo>
                  <a:lnTo>
                    <a:pt x="192" y="302"/>
                  </a:lnTo>
                  <a:lnTo>
                    <a:pt x="196" y="297"/>
                  </a:lnTo>
                  <a:lnTo>
                    <a:pt x="196" y="293"/>
                  </a:lnTo>
                  <a:lnTo>
                    <a:pt x="196" y="293"/>
                  </a:lnTo>
                  <a:lnTo>
                    <a:pt x="196" y="288"/>
                  </a:lnTo>
                  <a:lnTo>
                    <a:pt x="201" y="288"/>
                  </a:lnTo>
                  <a:lnTo>
                    <a:pt x="201" y="284"/>
                  </a:lnTo>
                  <a:lnTo>
                    <a:pt x="206" y="284"/>
                  </a:lnTo>
                  <a:lnTo>
                    <a:pt x="206" y="279"/>
                  </a:lnTo>
                  <a:lnTo>
                    <a:pt x="210" y="279"/>
                  </a:lnTo>
                  <a:lnTo>
                    <a:pt x="215" y="274"/>
                  </a:lnTo>
                  <a:lnTo>
                    <a:pt x="215" y="270"/>
                  </a:lnTo>
                  <a:lnTo>
                    <a:pt x="219" y="270"/>
                  </a:lnTo>
                  <a:lnTo>
                    <a:pt x="219" y="265"/>
                  </a:lnTo>
                  <a:lnTo>
                    <a:pt x="219" y="261"/>
                  </a:lnTo>
                  <a:lnTo>
                    <a:pt x="224" y="256"/>
                  </a:lnTo>
                  <a:lnTo>
                    <a:pt x="238" y="233"/>
                  </a:lnTo>
                  <a:lnTo>
                    <a:pt x="238" y="224"/>
                  </a:lnTo>
                  <a:lnTo>
                    <a:pt x="238" y="215"/>
                  </a:lnTo>
                  <a:lnTo>
                    <a:pt x="238" y="210"/>
                  </a:lnTo>
                  <a:lnTo>
                    <a:pt x="238" y="206"/>
                  </a:lnTo>
                  <a:lnTo>
                    <a:pt x="242" y="192"/>
                  </a:lnTo>
                  <a:lnTo>
                    <a:pt x="242" y="183"/>
                  </a:lnTo>
                  <a:lnTo>
                    <a:pt x="242" y="169"/>
                  </a:lnTo>
                  <a:lnTo>
                    <a:pt x="242" y="160"/>
                  </a:lnTo>
                  <a:lnTo>
                    <a:pt x="242" y="146"/>
                  </a:lnTo>
                  <a:lnTo>
                    <a:pt x="242" y="142"/>
                  </a:lnTo>
                  <a:lnTo>
                    <a:pt x="242" y="128"/>
                  </a:lnTo>
                  <a:lnTo>
                    <a:pt x="242" y="110"/>
                  </a:lnTo>
                  <a:lnTo>
                    <a:pt x="242" y="73"/>
                  </a:lnTo>
                  <a:lnTo>
                    <a:pt x="242" y="59"/>
                  </a:lnTo>
                  <a:lnTo>
                    <a:pt x="242" y="59"/>
                  </a:lnTo>
                  <a:lnTo>
                    <a:pt x="242" y="50"/>
                  </a:lnTo>
                  <a:lnTo>
                    <a:pt x="242" y="46"/>
                  </a:lnTo>
                  <a:lnTo>
                    <a:pt x="242" y="41"/>
                  </a:lnTo>
                  <a:lnTo>
                    <a:pt x="247" y="37"/>
                  </a:lnTo>
                  <a:lnTo>
                    <a:pt x="251" y="37"/>
                  </a:lnTo>
                  <a:lnTo>
                    <a:pt x="256" y="32"/>
                  </a:lnTo>
                  <a:lnTo>
                    <a:pt x="265" y="27"/>
                  </a:lnTo>
                  <a:lnTo>
                    <a:pt x="270" y="23"/>
                  </a:lnTo>
                  <a:lnTo>
                    <a:pt x="260" y="18"/>
                  </a:lnTo>
                  <a:lnTo>
                    <a:pt x="265" y="14"/>
                  </a:lnTo>
                  <a:lnTo>
                    <a:pt x="265" y="14"/>
                  </a:lnTo>
                  <a:lnTo>
                    <a:pt x="270" y="14"/>
                  </a:lnTo>
                  <a:lnTo>
                    <a:pt x="274" y="14"/>
                  </a:lnTo>
                  <a:lnTo>
                    <a:pt x="274" y="9"/>
                  </a:lnTo>
                  <a:lnTo>
                    <a:pt x="279" y="9"/>
                  </a:lnTo>
                  <a:lnTo>
                    <a:pt x="283" y="9"/>
                  </a:lnTo>
                  <a:lnTo>
                    <a:pt x="288" y="9"/>
                  </a:lnTo>
                  <a:lnTo>
                    <a:pt x="288" y="9"/>
                  </a:lnTo>
                  <a:lnTo>
                    <a:pt x="292" y="14"/>
                  </a:lnTo>
                  <a:lnTo>
                    <a:pt x="292" y="18"/>
                  </a:lnTo>
                  <a:lnTo>
                    <a:pt x="292" y="18"/>
                  </a:lnTo>
                  <a:lnTo>
                    <a:pt x="297" y="23"/>
                  </a:lnTo>
                  <a:lnTo>
                    <a:pt x="302" y="18"/>
                  </a:lnTo>
                  <a:lnTo>
                    <a:pt x="306" y="18"/>
                  </a:lnTo>
                  <a:lnTo>
                    <a:pt x="306" y="18"/>
                  </a:lnTo>
                  <a:lnTo>
                    <a:pt x="311" y="18"/>
                  </a:lnTo>
                  <a:lnTo>
                    <a:pt x="315" y="23"/>
                  </a:lnTo>
                  <a:lnTo>
                    <a:pt x="320" y="23"/>
                  </a:lnTo>
                  <a:lnTo>
                    <a:pt x="320" y="27"/>
                  </a:lnTo>
                  <a:lnTo>
                    <a:pt x="329" y="27"/>
                  </a:lnTo>
                  <a:lnTo>
                    <a:pt x="329" y="32"/>
                  </a:lnTo>
                  <a:lnTo>
                    <a:pt x="334" y="32"/>
                  </a:lnTo>
                  <a:lnTo>
                    <a:pt x="343" y="27"/>
                  </a:lnTo>
                  <a:lnTo>
                    <a:pt x="352" y="23"/>
                  </a:lnTo>
                  <a:lnTo>
                    <a:pt x="352" y="18"/>
                  </a:lnTo>
                  <a:lnTo>
                    <a:pt x="356" y="18"/>
                  </a:lnTo>
                  <a:lnTo>
                    <a:pt x="356" y="14"/>
                  </a:lnTo>
                  <a:lnTo>
                    <a:pt x="361" y="14"/>
                  </a:lnTo>
                  <a:lnTo>
                    <a:pt x="361" y="9"/>
                  </a:lnTo>
                  <a:lnTo>
                    <a:pt x="366" y="9"/>
                  </a:lnTo>
                  <a:lnTo>
                    <a:pt x="366" y="5"/>
                  </a:lnTo>
                  <a:lnTo>
                    <a:pt x="370" y="5"/>
                  </a:lnTo>
                  <a:close/>
                </a:path>
              </a:pathLst>
            </a:custGeom>
            <a:solidFill>
              <a:sysClr val="window" lastClr="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Nasarawa</a:t>
              </a:r>
            </a:p>
          </p:txBody>
        </p:sp>
        <p:sp>
          <p:nvSpPr>
            <p:cNvPr id="150" name="Freeform 69">
              <a:extLst>
                <a:ext uri="{FF2B5EF4-FFF2-40B4-BE49-F238E27FC236}">
                  <a16:creationId xmlns:a16="http://schemas.microsoft.com/office/drawing/2014/main" id="{6915419B-5021-4E45-8865-7F0D69C22119}"/>
                </a:ext>
              </a:extLst>
            </p:cNvPr>
            <p:cNvSpPr>
              <a:spLocks/>
            </p:cNvSpPr>
            <p:nvPr>
              <p:custDataLst>
                <p:tags r:id="rId62"/>
              </p:custDataLst>
            </p:nvPr>
          </p:nvSpPr>
          <p:spPr bwMode="auto">
            <a:xfrm>
              <a:off x="439535" y="1781608"/>
              <a:ext cx="1268424" cy="1203003"/>
            </a:xfrm>
            <a:custGeom>
              <a:avLst/>
              <a:gdLst/>
              <a:ahLst/>
              <a:cxnLst>
                <a:cxn ang="0">
                  <a:pos x="910" y="110"/>
                </a:cxn>
                <a:cxn ang="0">
                  <a:pos x="969" y="151"/>
                </a:cxn>
                <a:cxn ang="0">
                  <a:pos x="964" y="229"/>
                </a:cxn>
                <a:cxn ang="0">
                  <a:pos x="969" y="307"/>
                </a:cxn>
                <a:cxn ang="0">
                  <a:pos x="978" y="371"/>
                </a:cxn>
                <a:cxn ang="0">
                  <a:pos x="1033" y="339"/>
                </a:cxn>
                <a:cxn ang="0">
                  <a:pos x="1092" y="293"/>
                </a:cxn>
                <a:cxn ang="0">
                  <a:pos x="1152" y="307"/>
                </a:cxn>
                <a:cxn ang="0">
                  <a:pos x="1225" y="275"/>
                </a:cxn>
                <a:cxn ang="0">
                  <a:pos x="1266" y="316"/>
                </a:cxn>
                <a:cxn ang="0">
                  <a:pos x="1303" y="380"/>
                </a:cxn>
                <a:cxn ang="0">
                  <a:pos x="1284" y="439"/>
                </a:cxn>
                <a:cxn ang="0">
                  <a:pos x="1280" y="489"/>
                </a:cxn>
                <a:cxn ang="0">
                  <a:pos x="1371" y="503"/>
                </a:cxn>
                <a:cxn ang="0">
                  <a:pos x="1412" y="581"/>
                </a:cxn>
                <a:cxn ang="0">
                  <a:pos x="1408" y="617"/>
                </a:cxn>
                <a:cxn ang="0">
                  <a:pos x="1431" y="659"/>
                </a:cxn>
                <a:cxn ang="0">
                  <a:pos x="1385" y="713"/>
                </a:cxn>
                <a:cxn ang="0">
                  <a:pos x="1403" y="773"/>
                </a:cxn>
                <a:cxn ang="0">
                  <a:pos x="1303" y="809"/>
                </a:cxn>
                <a:cxn ang="0">
                  <a:pos x="1216" y="1148"/>
                </a:cxn>
                <a:cxn ang="0">
                  <a:pos x="1170" y="1171"/>
                </a:cxn>
                <a:cxn ang="0">
                  <a:pos x="1111" y="1120"/>
                </a:cxn>
                <a:cxn ang="0">
                  <a:pos x="1079" y="1052"/>
                </a:cxn>
                <a:cxn ang="0">
                  <a:pos x="1019" y="997"/>
                </a:cxn>
                <a:cxn ang="0">
                  <a:pos x="951" y="988"/>
                </a:cxn>
                <a:cxn ang="0">
                  <a:pos x="823" y="979"/>
                </a:cxn>
                <a:cxn ang="0">
                  <a:pos x="736" y="919"/>
                </a:cxn>
                <a:cxn ang="0">
                  <a:pos x="617" y="878"/>
                </a:cxn>
                <a:cxn ang="0">
                  <a:pos x="567" y="832"/>
                </a:cxn>
                <a:cxn ang="0">
                  <a:pos x="471" y="837"/>
                </a:cxn>
                <a:cxn ang="0">
                  <a:pos x="416" y="777"/>
                </a:cxn>
                <a:cxn ang="0">
                  <a:pos x="334" y="709"/>
                </a:cxn>
                <a:cxn ang="0">
                  <a:pos x="247" y="617"/>
                </a:cxn>
                <a:cxn ang="0">
                  <a:pos x="201" y="567"/>
                </a:cxn>
                <a:cxn ang="0">
                  <a:pos x="137" y="553"/>
                </a:cxn>
                <a:cxn ang="0">
                  <a:pos x="123" y="526"/>
                </a:cxn>
                <a:cxn ang="0">
                  <a:pos x="87" y="503"/>
                </a:cxn>
                <a:cxn ang="0">
                  <a:pos x="23" y="471"/>
                </a:cxn>
                <a:cxn ang="0">
                  <a:pos x="0" y="403"/>
                </a:cxn>
                <a:cxn ang="0">
                  <a:pos x="73" y="352"/>
                </a:cxn>
                <a:cxn ang="0">
                  <a:pos x="96" y="238"/>
                </a:cxn>
                <a:cxn ang="0">
                  <a:pos x="64" y="128"/>
                </a:cxn>
                <a:cxn ang="0">
                  <a:pos x="91" y="110"/>
                </a:cxn>
                <a:cxn ang="0">
                  <a:pos x="174" y="137"/>
                </a:cxn>
                <a:cxn ang="0">
                  <a:pos x="260" y="133"/>
                </a:cxn>
                <a:cxn ang="0">
                  <a:pos x="306" y="174"/>
                </a:cxn>
                <a:cxn ang="0">
                  <a:pos x="388" y="188"/>
                </a:cxn>
                <a:cxn ang="0">
                  <a:pos x="430" y="243"/>
                </a:cxn>
                <a:cxn ang="0">
                  <a:pos x="384" y="288"/>
                </a:cxn>
                <a:cxn ang="0">
                  <a:pos x="343" y="371"/>
                </a:cxn>
                <a:cxn ang="0">
                  <a:pos x="370" y="444"/>
                </a:cxn>
                <a:cxn ang="0">
                  <a:pos x="425" y="412"/>
                </a:cxn>
                <a:cxn ang="0">
                  <a:pos x="507" y="403"/>
                </a:cxn>
                <a:cxn ang="0">
                  <a:pos x="480" y="334"/>
                </a:cxn>
                <a:cxn ang="0">
                  <a:pos x="494" y="238"/>
                </a:cxn>
                <a:cxn ang="0">
                  <a:pos x="580" y="220"/>
                </a:cxn>
                <a:cxn ang="0">
                  <a:pos x="558" y="174"/>
                </a:cxn>
                <a:cxn ang="0">
                  <a:pos x="512" y="101"/>
                </a:cxn>
                <a:cxn ang="0">
                  <a:pos x="443" y="51"/>
                </a:cxn>
                <a:cxn ang="0">
                  <a:pos x="494" y="14"/>
                </a:cxn>
                <a:cxn ang="0">
                  <a:pos x="667" y="14"/>
                </a:cxn>
                <a:cxn ang="0">
                  <a:pos x="708" y="128"/>
                </a:cxn>
              </a:cxnLst>
              <a:rect l="0" t="0" r="r" b="b"/>
              <a:pathLst>
                <a:path w="1454" h="1189">
                  <a:moveTo>
                    <a:pt x="804" y="142"/>
                  </a:moveTo>
                  <a:lnTo>
                    <a:pt x="809" y="142"/>
                  </a:lnTo>
                  <a:lnTo>
                    <a:pt x="818" y="142"/>
                  </a:lnTo>
                  <a:lnTo>
                    <a:pt x="823" y="142"/>
                  </a:lnTo>
                  <a:lnTo>
                    <a:pt x="832" y="142"/>
                  </a:lnTo>
                  <a:lnTo>
                    <a:pt x="850" y="137"/>
                  </a:lnTo>
                  <a:lnTo>
                    <a:pt x="868" y="128"/>
                  </a:lnTo>
                  <a:lnTo>
                    <a:pt x="873" y="128"/>
                  </a:lnTo>
                  <a:lnTo>
                    <a:pt x="878" y="128"/>
                  </a:lnTo>
                  <a:lnTo>
                    <a:pt x="882" y="128"/>
                  </a:lnTo>
                  <a:lnTo>
                    <a:pt x="887" y="128"/>
                  </a:lnTo>
                  <a:lnTo>
                    <a:pt x="887" y="124"/>
                  </a:lnTo>
                  <a:lnTo>
                    <a:pt x="891" y="124"/>
                  </a:lnTo>
                  <a:lnTo>
                    <a:pt x="896" y="119"/>
                  </a:lnTo>
                  <a:lnTo>
                    <a:pt x="900" y="119"/>
                  </a:lnTo>
                  <a:lnTo>
                    <a:pt x="900" y="115"/>
                  </a:lnTo>
                  <a:lnTo>
                    <a:pt x="905" y="115"/>
                  </a:lnTo>
                  <a:lnTo>
                    <a:pt x="910" y="110"/>
                  </a:lnTo>
                  <a:lnTo>
                    <a:pt x="910" y="110"/>
                  </a:lnTo>
                  <a:lnTo>
                    <a:pt x="914" y="105"/>
                  </a:lnTo>
                  <a:lnTo>
                    <a:pt x="923" y="101"/>
                  </a:lnTo>
                  <a:lnTo>
                    <a:pt x="923" y="96"/>
                  </a:lnTo>
                  <a:lnTo>
                    <a:pt x="928" y="96"/>
                  </a:lnTo>
                  <a:lnTo>
                    <a:pt x="932" y="96"/>
                  </a:lnTo>
                  <a:lnTo>
                    <a:pt x="932" y="96"/>
                  </a:lnTo>
                  <a:lnTo>
                    <a:pt x="932" y="101"/>
                  </a:lnTo>
                  <a:lnTo>
                    <a:pt x="937" y="101"/>
                  </a:lnTo>
                  <a:lnTo>
                    <a:pt x="937" y="105"/>
                  </a:lnTo>
                  <a:lnTo>
                    <a:pt x="946" y="115"/>
                  </a:lnTo>
                  <a:lnTo>
                    <a:pt x="951" y="119"/>
                  </a:lnTo>
                  <a:lnTo>
                    <a:pt x="951" y="124"/>
                  </a:lnTo>
                  <a:lnTo>
                    <a:pt x="951" y="128"/>
                  </a:lnTo>
                  <a:lnTo>
                    <a:pt x="955" y="128"/>
                  </a:lnTo>
                  <a:lnTo>
                    <a:pt x="955" y="133"/>
                  </a:lnTo>
                  <a:lnTo>
                    <a:pt x="960" y="137"/>
                  </a:lnTo>
                  <a:lnTo>
                    <a:pt x="960" y="142"/>
                  </a:lnTo>
                  <a:lnTo>
                    <a:pt x="964" y="142"/>
                  </a:lnTo>
                  <a:lnTo>
                    <a:pt x="969" y="151"/>
                  </a:lnTo>
                  <a:lnTo>
                    <a:pt x="974" y="151"/>
                  </a:lnTo>
                  <a:lnTo>
                    <a:pt x="974" y="156"/>
                  </a:lnTo>
                  <a:lnTo>
                    <a:pt x="974" y="160"/>
                  </a:lnTo>
                  <a:lnTo>
                    <a:pt x="978" y="160"/>
                  </a:lnTo>
                  <a:lnTo>
                    <a:pt x="978" y="169"/>
                  </a:lnTo>
                  <a:lnTo>
                    <a:pt x="983" y="174"/>
                  </a:lnTo>
                  <a:lnTo>
                    <a:pt x="983" y="174"/>
                  </a:lnTo>
                  <a:lnTo>
                    <a:pt x="983" y="179"/>
                  </a:lnTo>
                  <a:lnTo>
                    <a:pt x="987" y="188"/>
                  </a:lnTo>
                  <a:lnTo>
                    <a:pt x="983" y="188"/>
                  </a:lnTo>
                  <a:lnTo>
                    <a:pt x="974" y="197"/>
                  </a:lnTo>
                  <a:lnTo>
                    <a:pt x="974" y="197"/>
                  </a:lnTo>
                  <a:lnTo>
                    <a:pt x="974" y="201"/>
                  </a:lnTo>
                  <a:lnTo>
                    <a:pt x="969" y="215"/>
                  </a:lnTo>
                  <a:lnTo>
                    <a:pt x="969" y="220"/>
                  </a:lnTo>
                  <a:lnTo>
                    <a:pt x="969" y="220"/>
                  </a:lnTo>
                  <a:lnTo>
                    <a:pt x="964" y="220"/>
                  </a:lnTo>
                  <a:lnTo>
                    <a:pt x="964" y="224"/>
                  </a:lnTo>
                  <a:lnTo>
                    <a:pt x="964" y="229"/>
                  </a:lnTo>
                  <a:lnTo>
                    <a:pt x="964" y="233"/>
                  </a:lnTo>
                  <a:lnTo>
                    <a:pt x="964" y="238"/>
                  </a:lnTo>
                  <a:lnTo>
                    <a:pt x="960" y="238"/>
                  </a:lnTo>
                  <a:lnTo>
                    <a:pt x="960" y="243"/>
                  </a:lnTo>
                  <a:lnTo>
                    <a:pt x="960" y="247"/>
                  </a:lnTo>
                  <a:lnTo>
                    <a:pt x="960" y="252"/>
                  </a:lnTo>
                  <a:lnTo>
                    <a:pt x="964" y="252"/>
                  </a:lnTo>
                  <a:lnTo>
                    <a:pt x="964" y="256"/>
                  </a:lnTo>
                  <a:lnTo>
                    <a:pt x="969" y="261"/>
                  </a:lnTo>
                  <a:lnTo>
                    <a:pt x="969" y="261"/>
                  </a:lnTo>
                  <a:lnTo>
                    <a:pt x="974" y="261"/>
                  </a:lnTo>
                  <a:lnTo>
                    <a:pt x="974" y="265"/>
                  </a:lnTo>
                  <a:lnTo>
                    <a:pt x="974" y="275"/>
                  </a:lnTo>
                  <a:lnTo>
                    <a:pt x="969" y="279"/>
                  </a:lnTo>
                  <a:lnTo>
                    <a:pt x="969" y="284"/>
                  </a:lnTo>
                  <a:lnTo>
                    <a:pt x="974" y="293"/>
                  </a:lnTo>
                  <a:lnTo>
                    <a:pt x="974" y="302"/>
                  </a:lnTo>
                  <a:lnTo>
                    <a:pt x="969" y="302"/>
                  </a:lnTo>
                  <a:lnTo>
                    <a:pt x="969" y="307"/>
                  </a:lnTo>
                  <a:lnTo>
                    <a:pt x="960" y="316"/>
                  </a:lnTo>
                  <a:lnTo>
                    <a:pt x="960" y="320"/>
                  </a:lnTo>
                  <a:lnTo>
                    <a:pt x="955" y="325"/>
                  </a:lnTo>
                  <a:lnTo>
                    <a:pt x="955" y="329"/>
                  </a:lnTo>
                  <a:lnTo>
                    <a:pt x="955" y="329"/>
                  </a:lnTo>
                  <a:lnTo>
                    <a:pt x="955" y="334"/>
                  </a:lnTo>
                  <a:lnTo>
                    <a:pt x="955" y="339"/>
                  </a:lnTo>
                  <a:lnTo>
                    <a:pt x="955" y="343"/>
                  </a:lnTo>
                  <a:lnTo>
                    <a:pt x="960" y="343"/>
                  </a:lnTo>
                  <a:lnTo>
                    <a:pt x="964" y="348"/>
                  </a:lnTo>
                  <a:lnTo>
                    <a:pt x="969" y="348"/>
                  </a:lnTo>
                  <a:lnTo>
                    <a:pt x="974" y="348"/>
                  </a:lnTo>
                  <a:lnTo>
                    <a:pt x="974" y="348"/>
                  </a:lnTo>
                  <a:lnTo>
                    <a:pt x="974" y="348"/>
                  </a:lnTo>
                  <a:lnTo>
                    <a:pt x="974" y="352"/>
                  </a:lnTo>
                  <a:lnTo>
                    <a:pt x="974" y="357"/>
                  </a:lnTo>
                  <a:lnTo>
                    <a:pt x="974" y="361"/>
                  </a:lnTo>
                  <a:lnTo>
                    <a:pt x="978" y="371"/>
                  </a:lnTo>
                  <a:lnTo>
                    <a:pt x="978" y="371"/>
                  </a:lnTo>
                  <a:lnTo>
                    <a:pt x="983" y="371"/>
                  </a:lnTo>
                  <a:lnTo>
                    <a:pt x="987" y="371"/>
                  </a:lnTo>
                  <a:lnTo>
                    <a:pt x="992" y="375"/>
                  </a:lnTo>
                  <a:lnTo>
                    <a:pt x="996" y="375"/>
                  </a:lnTo>
                  <a:lnTo>
                    <a:pt x="1001" y="375"/>
                  </a:lnTo>
                  <a:lnTo>
                    <a:pt x="1001" y="371"/>
                  </a:lnTo>
                  <a:lnTo>
                    <a:pt x="1006" y="371"/>
                  </a:lnTo>
                  <a:lnTo>
                    <a:pt x="1010" y="371"/>
                  </a:lnTo>
                  <a:lnTo>
                    <a:pt x="1010" y="366"/>
                  </a:lnTo>
                  <a:lnTo>
                    <a:pt x="1015" y="366"/>
                  </a:lnTo>
                  <a:lnTo>
                    <a:pt x="1019" y="357"/>
                  </a:lnTo>
                  <a:lnTo>
                    <a:pt x="1019" y="357"/>
                  </a:lnTo>
                  <a:lnTo>
                    <a:pt x="1019" y="352"/>
                  </a:lnTo>
                  <a:lnTo>
                    <a:pt x="1019" y="348"/>
                  </a:lnTo>
                  <a:lnTo>
                    <a:pt x="1024" y="348"/>
                  </a:lnTo>
                  <a:lnTo>
                    <a:pt x="1024" y="348"/>
                  </a:lnTo>
                  <a:lnTo>
                    <a:pt x="1028" y="343"/>
                  </a:lnTo>
                  <a:lnTo>
                    <a:pt x="1028" y="339"/>
                  </a:lnTo>
                  <a:lnTo>
                    <a:pt x="1033" y="339"/>
                  </a:lnTo>
                  <a:lnTo>
                    <a:pt x="1038" y="334"/>
                  </a:lnTo>
                  <a:lnTo>
                    <a:pt x="1042" y="334"/>
                  </a:lnTo>
                  <a:lnTo>
                    <a:pt x="1042" y="329"/>
                  </a:lnTo>
                  <a:lnTo>
                    <a:pt x="1042" y="329"/>
                  </a:lnTo>
                  <a:lnTo>
                    <a:pt x="1042" y="329"/>
                  </a:lnTo>
                  <a:lnTo>
                    <a:pt x="1047" y="329"/>
                  </a:lnTo>
                  <a:lnTo>
                    <a:pt x="1047" y="325"/>
                  </a:lnTo>
                  <a:lnTo>
                    <a:pt x="1051" y="325"/>
                  </a:lnTo>
                  <a:lnTo>
                    <a:pt x="1056" y="325"/>
                  </a:lnTo>
                  <a:lnTo>
                    <a:pt x="1056" y="320"/>
                  </a:lnTo>
                  <a:lnTo>
                    <a:pt x="1060" y="316"/>
                  </a:lnTo>
                  <a:lnTo>
                    <a:pt x="1060" y="316"/>
                  </a:lnTo>
                  <a:lnTo>
                    <a:pt x="1074" y="307"/>
                  </a:lnTo>
                  <a:lnTo>
                    <a:pt x="1074" y="302"/>
                  </a:lnTo>
                  <a:lnTo>
                    <a:pt x="1079" y="302"/>
                  </a:lnTo>
                  <a:lnTo>
                    <a:pt x="1083" y="297"/>
                  </a:lnTo>
                  <a:lnTo>
                    <a:pt x="1083" y="297"/>
                  </a:lnTo>
                  <a:lnTo>
                    <a:pt x="1083" y="293"/>
                  </a:lnTo>
                  <a:lnTo>
                    <a:pt x="1092" y="293"/>
                  </a:lnTo>
                  <a:lnTo>
                    <a:pt x="1092" y="288"/>
                  </a:lnTo>
                  <a:lnTo>
                    <a:pt x="1097" y="288"/>
                  </a:lnTo>
                  <a:lnTo>
                    <a:pt x="1102" y="288"/>
                  </a:lnTo>
                  <a:lnTo>
                    <a:pt x="1102" y="284"/>
                  </a:lnTo>
                  <a:lnTo>
                    <a:pt x="1106" y="284"/>
                  </a:lnTo>
                  <a:lnTo>
                    <a:pt x="1106" y="284"/>
                  </a:lnTo>
                  <a:lnTo>
                    <a:pt x="1111" y="288"/>
                  </a:lnTo>
                  <a:lnTo>
                    <a:pt x="1115" y="288"/>
                  </a:lnTo>
                  <a:lnTo>
                    <a:pt x="1115" y="293"/>
                  </a:lnTo>
                  <a:lnTo>
                    <a:pt x="1120" y="293"/>
                  </a:lnTo>
                  <a:lnTo>
                    <a:pt x="1120" y="302"/>
                  </a:lnTo>
                  <a:lnTo>
                    <a:pt x="1124" y="307"/>
                  </a:lnTo>
                  <a:lnTo>
                    <a:pt x="1124" y="307"/>
                  </a:lnTo>
                  <a:lnTo>
                    <a:pt x="1129" y="311"/>
                  </a:lnTo>
                  <a:lnTo>
                    <a:pt x="1129" y="311"/>
                  </a:lnTo>
                  <a:lnTo>
                    <a:pt x="1134" y="307"/>
                  </a:lnTo>
                  <a:lnTo>
                    <a:pt x="1138" y="307"/>
                  </a:lnTo>
                  <a:lnTo>
                    <a:pt x="1143" y="307"/>
                  </a:lnTo>
                  <a:lnTo>
                    <a:pt x="1152" y="307"/>
                  </a:lnTo>
                  <a:lnTo>
                    <a:pt x="1152" y="307"/>
                  </a:lnTo>
                  <a:lnTo>
                    <a:pt x="1152" y="302"/>
                  </a:lnTo>
                  <a:lnTo>
                    <a:pt x="1161" y="302"/>
                  </a:lnTo>
                  <a:lnTo>
                    <a:pt x="1170" y="302"/>
                  </a:lnTo>
                  <a:lnTo>
                    <a:pt x="1170" y="297"/>
                  </a:lnTo>
                  <a:lnTo>
                    <a:pt x="1184" y="297"/>
                  </a:lnTo>
                  <a:lnTo>
                    <a:pt x="1198" y="297"/>
                  </a:lnTo>
                  <a:lnTo>
                    <a:pt x="1198" y="293"/>
                  </a:lnTo>
                  <a:lnTo>
                    <a:pt x="1198" y="288"/>
                  </a:lnTo>
                  <a:lnTo>
                    <a:pt x="1193" y="284"/>
                  </a:lnTo>
                  <a:lnTo>
                    <a:pt x="1193" y="284"/>
                  </a:lnTo>
                  <a:lnTo>
                    <a:pt x="1193" y="279"/>
                  </a:lnTo>
                  <a:lnTo>
                    <a:pt x="1193" y="275"/>
                  </a:lnTo>
                  <a:lnTo>
                    <a:pt x="1198" y="275"/>
                  </a:lnTo>
                  <a:lnTo>
                    <a:pt x="1202" y="270"/>
                  </a:lnTo>
                  <a:lnTo>
                    <a:pt x="1207" y="270"/>
                  </a:lnTo>
                  <a:lnTo>
                    <a:pt x="1211" y="270"/>
                  </a:lnTo>
                  <a:lnTo>
                    <a:pt x="1216" y="270"/>
                  </a:lnTo>
                  <a:lnTo>
                    <a:pt x="1225" y="275"/>
                  </a:lnTo>
                  <a:lnTo>
                    <a:pt x="1234" y="275"/>
                  </a:lnTo>
                  <a:lnTo>
                    <a:pt x="1239" y="279"/>
                  </a:lnTo>
                  <a:lnTo>
                    <a:pt x="1239" y="284"/>
                  </a:lnTo>
                  <a:lnTo>
                    <a:pt x="1239" y="284"/>
                  </a:lnTo>
                  <a:lnTo>
                    <a:pt x="1239" y="284"/>
                  </a:lnTo>
                  <a:lnTo>
                    <a:pt x="1243" y="288"/>
                  </a:lnTo>
                  <a:lnTo>
                    <a:pt x="1243" y="293"/>
                  </a:lnTo>
                  <a:lnTo>
                    <a:pt x="1239" y="297"/>
                  </a:lnTo>
                  <a:lnTo>
                    <a:pt x="1239" y="302"/>
                  </a:lnTo>
                  <a:lnTo>
                    <a:pt x="1239" y="307"/>
                  </a:lnTo>
                  <a:lnTo>
                    <a:pt x="1239" y="307"/>
                  </a:lnTo>
                  <a:lnTo>
                    <a:pt x="1239" y="307"/>
                  </a:lnTo>
                  <a:lnTo>
                    <a:pt x="1239" y="311"/>
                  </a:lnTo>
                  <a:lnTo>
                    <a:pt x="1239" y="316"/>
                  </a:lnTo>
                  <a:lnTo>
                    <a:pt x="1243" y="316"/>
                  </a:lnTo>
                  <a:lnTo>
                    <a:pt x="1248" y="316"/>
                  </a:lnTo>
                  <a:lnTo>
                    <a:pt x="1262" y="316"/>
                  </a:lnTo>
                  <a:lnTo>
                    <a:pt x="1262" y="316"/>
                  </a:lnTo>
                  <a:lnTo>
                    <a:pt x="1266" y="316"/>
                  </a:lnTo>
                  <a:lnTo>
                    <a:pt x="1271" y="316"/>
                  </a:lnTo>
                  <a:lnTo>
                    <a:pt x="1271" y="320"/>
                  </a:lnTo>
                  <a:lnTo>
                    <a:pt x="1275" y="325"/>
                  </a:lnTo>
                  <a:lnTo>
                    <a:pt x="1280" y="329"/>
                  </a:lnTo>
                  <a:lnTo>
                    <a:pt x="1280" y="339"/>
                  </a:lnTo>
                  <a:lnTo>
                    <a:pt x="1280" y="343"/>
                  </a:lnTo>
                  <a:lnTo>
                    <a:pt x="1280" y="348"/>
                  </a:lnTo>
                  <a:lnTo>
                    <a:pt x="1280" y="348"/>
                  </a:lnTo>
                  <a:lnTo>
                    <a:pt x="1275" y="352"/>
                  </a:lnTo>
                  <a:lnTo>
                    <a:pt x="1275" y="357"/>
                  </a:lnTo>
                  <a:lnTo>
                    <a:pt x="1275" y="361"/>
                  </a:lnTo>
                  <a:lnTo>
                    <a:pt x="1271" y="371"/>
                  </a:lnTo>
                  <a:lnTo>
                    <a:pt x="1271" y="371"/>
                  </a:lnTo>
                  <a:lnTo>
                    <a:pt x="1275" y="375"/>
                  </a:lnTo>
                  <a:lnTo>
                    <a:pt x="1280" y="380"/>
                  </a:lnTo>
                  <a:lnTo>
                    <a:pt x="1284" y="380"/>
                  </a:lnTo>
                  <a:lnTo>
                    <a:pt x="1289" y="380"/>
                  </a:lnTo>
                  <a:lnTo>
                    <a:pt x="1298" y="380"/>
                  </a:lnTo>
                  <a:lnTo>
                    <a:pt x="1303" y="380"/>
                  </a:lnTo>
                  <a:lnTo>
                    <a:pt x="1303" y="380"/>
                  </a:lnTo>
                  <a:lnTo>
                    <a:pt x="1307" y="384"/>
                  </a:lnTo>
                  <a:lnTo>
                    <a:pt x="1312" y="389"/>
                  </a:lnTo>
                  <a:lnTo>
                    <a:pt x="1316" y="393"/>
                  </a:lnTo>
                  <a:lnTo>
                    <a:pt x="1316" y="393"/>
                  </a:lnTo>
                  <a:lnTo>
                    <a:pt x="1321" y="393"/>
                  </a:lnTo>
                  <a:lnTo>
                    <a:pt x="1321" y="398"/>
                  </a:lnTo>
                  <a:lnTo>
                    <a:pt x="1321" y="403"/>
                  </a:lnTo>
                  <a:lnTo>
                    <a:pt x="1316" y="407"/>
                  </a:lnTo>
                  <a:lnTo>
                    <a:pt x="1316" y="412"/>
                  </a:lnTo>
                  <a:lnTo>
                    <a:pt x="1316" y="416"/>
                  </a:lnTo>
                  <a:lnTo>
                    <a:pt x="1307" y="416"/>
                  </a:lnTo>
                  <a:lnTo>
                    <a:pt x="1307" y="421"/>
                  </a:lnTo>
                  <a:lnTo>
                    <a:pt x="1303" y="421"/>
                  </a:lnTo>
                  <a:lnTo>
                    <a:pt x="1303" y="425"/>
                  </a:lnTo>
                  <a:lnTo>
                    <a:pt x="1298" y="425"/>
                  </a:lnTo>
                  <a:lnTo>
                    <a:pt x="1289" y="435"/>
                  </a:lnTo>
                  <a:lnTo>
                    <a:pt x="1289" y="439"/>
                  </a:lnTo>
                  <a:lnTo>
                    <a:pt x="1284" y="439"/>
                  </a:lnTo>
                  <a:lnTo>
                    <a:pt x="1280" y="439"/>
                  </a:lnTo>
                  <a:lnTo>
                    <a:pt x="1280" y="444"/>
                  </a:lnTo>
                  <a:lnTo>
                    <a:pt x="1280" y="444"/>
                  </a:lnTo>
                  <a:lnTo>
                    <a:pt x="1280" y="448"/>
                  </a:lnTo>
                  <a:lnTo>
                    <a:pt x="1275" y="448"/>
                  </a:lnTo>
                  <a:lnTo>
                    <a:pt x="1275" y="453"/>
                  </a:lnTo>
                  <a:lnTo>
                    <a:pt x="1271" y="457"/>
                  </a:lnTo>
                  <a:lnTo>
                    <a:pt x="1266" y="457"/>
                  </a:lnTo>
                  <a:lnTo>
                    <a:pt x="1266" y="457"/>
                  </a:lnTo>
                  <a:lnTo>
                    <a:pt x="1262" y="457"/>
                  </a:lnTo>
                  <a:lnTo>
                    <a:pt x="1262" y="462"/>
                  </a:lnTo>
                  <a:lnTo>
                    <a:pt x="1262" y="467"/>
                  </a:lnTo>
                  <a:lnTo>
                    <a:pt x="1262" y="467"/>
                  </a:lnTo>
                  <a:lnTo>
                    <a:pt x="1262" y="471"/>
                  </a:lnTo>
                  <a:lnTo>
                    <a:pt x="1262" y="480"/>
                  </a:lnTo>
                  <a:lnTo>
                    <a:pt x="1266" y="480"/>
                  </a:lnTo>
                  <a:lnTo>
                    <a:pt x="1266" y="480"/>
                  </a:lnTo>
                  <a:lnTo>
                    <a:pt x="1271" y="480"/>
                  </a:lnTo>
                  <a:lnTo>
                    <a:pt x="1280" y="489"/>
                  </a:lnTo>
                  <a:lnTo>
                    <a:pt x="1284" y="494"/>
                  </a:lnTo>
                  <a:lnTo>
                    <a:pt x="1289" y="499"/>
                  </a:lnTo>
                  <a:lnTo>
                    <a:pt x="1294" y="499"/>
                  </a:lnTo>
                  <a:lnTo>
                    <a:pt x="1298" y="499"/>
                  </a:lnTo>
                  <a:lnTo>
                    <a:pt x="1303" y="499"/>
                  </a:lnTo>
                  <a:lnTo>
                    <a:pt x="1303" y="499"/>
                  </a:lnTo>
                  <a:lnTo>
                    <a:pt x="1307" y="499"/>
                  </a:lnTo>
                  <a:lnTo>
                    <a:pt x="1312" y="499"/>
                  </a:lnTo>
                  <a:lnTo>
                    <a:pt x="1321" y="503"/>
                  </a:lnTo>
                  <a:lnTo>
                    <a:pt x="1326" y="503"/>
                  </a:lnTo>
                  <a:lnTo>
                    <a:pt x="1326" y="503"/>
                  </a:lnTo>
                  <a:lnTo>
                    <a:pt x="1330" y="503"/>
                  </a:lnTo>
                  <a:lnTo>
                    <a:pt x="1339" y="503"/>
                  </a:lnTo>
                  <a:lnTo>
                    <a:pt x="1344" y="508"/>
                  </a:lnTo>
                  <a:lnTo>
                    <a:pt x="1348" y="508"/>
                  </a:lnTo>
                  <a:lnTo>
                    <a:pt x="1358" y="508"/>
                  </a:lnTo>
                  <a:lnTo>
                    <a:pt x="1367" y="503"/>
                  </a:lnTo>
                  <a:lnTo>
                    <a:pt x="1371" y="503"/>
                  </a:lnTo>
                  <a:lnTo>
                    <a:pt x="1371" y="503"/>
                  </a:lnTo>
                  <a:lnTo>
                    <a:pt x="1380" y="503"/>
                  </a:lnTo>
                  <a:lnTo>
                    <a:pt x="1390" y="503"/>
                  </a:lnTo>
                  <a:lnTo>
                    <a:pt x="1394" y="503"/>
                  </a:lnTo>
                  <a:lnTo>
                    <a:pt x="1399" y="503"/>
                  </a:lnTo>
                  <a:lnTo>
                    <a:pt x="1403" y="503"/>
                  </a:lnTo>
                  <a:lnTo>
                    <a:pt x="1408" y="508"/>
                  </a:lnTo>
                  <a:lnTo>
                    <a:pt x="1408" y="512"/>
                  </a:lnTo>
                  <a:lnTo>
                    <a:pt x="1412" y="512"/>
                  </a:lnTo>
                  <a:lnTo>
                    <a:pt x="1412" y="517"/>
                  </a:lnTo>
                  <a:lnTo>
                    <a:pt x="1412" y="521"/>
                  </a:lnTo>
                  <a:lnTo>
                    <a:pt x="1412" y="526"/>
                  </a:lnTo>
                  <a:lnTo>
                    <a:pt x="1408" y="535"/>
                  </a:lnTo>
                  <a:lnTo>
                    <a:pt x="1408" y="540"/>
                  </a:lnTo>
                  <a:lnTo>
                    <a:pt x="1408" y="544"/>
                  </a:lnTo>
                  <a:lnTo>
                    <a:pt x="1412" y="549"/>
                  </a:lnTo>
                  <a:lnTo>
                    <a:pt x="1412" y="558"/>
                  </a:lnTo>
                  <a:lnTo>
                    <a:pt x="1412" y="563"/>
                  </a:lnTo>
                  <a:lnTo>
                    <a:pt x="1412" y="572"/>
                  </a:lnTo>
                  <a:lnTo>
                    <a:pt x="1412" y="581"/>
                  </a:lnTo>
                  <a:lnTo>
                    <a:pt x="1412" y="585"/>
                  </a:lnTo>
                  <a:lnTo>
                    <a:pt x="1412" y="590"/>
                  </a:lnTo>
                  <a:lnTo>
                    <a:pt x="1408" y="590"/>
                  </a:lnTo>
                  <a:lnTo>
                    <a:pt x="1403" y="595"/>
                  </a:lnTo>
                  <a:lnTo>
                    <a:pt x="1399" y="595"/>
                  </a:lnTo>
                  <a:lnTo>
                    <a:pt x="1394" y="599"/>
                  </a:lnTo>
                  <a:lnTo>
                    <a:pt x="1390" y="599"/>
                  </a:lnTo>
                  <a:lnTo>
                    <a:pt x="1390" y="604"/>
                  </a:lnTo>
                  <a:lnTo>
                    <a:pt x="1385" y="604"/>
                  </a:lnTo>
                  <a:lnTo>
                    <a:pt x="1385" y="608"/>
                  </a:lnTo>
                  <a:lnTo>
                    <a:pt x="1380" y="608"/>
                  </a:lnTo>
                  <a:lnTo>
                    <a:pt x="1380" y="613"/>
                  </a:lnTo>
                  <a:lnTo>
                    <a:pt x="1385" y="613"/>
                  </a:lnTo>
                  <a:lnTo>
                    <a:pt x="1390" y="617"/>
                  </a:lnTo>
                  <a:lnTo>
                    <a:pt x="1390" y="617"/>
                  </a:lnTo>
                  <a:lnTo>
                    <a:pt x="1394" y="617"/>
                  </a:lnTo>
                  <a:lnTo>
                    <a:pt x="1399" y="617"/>
                  </a:lnTo>
                  <a:lnTo>
                    <a:pt x="1403" y="617"/>
                  </a:lnTo>
                  <a:lnTo>
                    <a:pt x="1408" y="617"/>
                  </a:lnTo>
                  <a:lnTo>
                    <a:pt x="1408" y="622"/>
                  </a:lnTo>
                  <a:lnTo>
                    <a:pt x="1412" y="622"/>
                  </a:lnTo>
                  <a:lnTo>
                    <a:pt x="1412" y="627"/>
                  </a:lnTo>
                  <a:lnTo>
                    <a:pt x="1408" y="627"/>
                  </a:lnTo>
                  <a:lnTo>
                    <a:pt x="1408" y="631"/>
                  </a:lnTo>
                  <a:lnTo>
                    <a:pt x="1403" y="636"/>
                  </a:lnTo>
                  <a:lnTo>
                    <a:pt x="1403" y="636"/>
                  </a:lnTo>
                  <a:lnTo>
                    <a:pt x="1403" y="640"/>
                  </a:lnTo>
                  <a:lnTo>
                    <a:pt x="1408" y="645"/>
                  </a:lnTo>
                  <a:lnTo>
                    <a:pt x="1412" y="645"/>
                  </a:lnTo>
                  <a:lnTo>
                    <a:pt x="1412" y="645"/>
                  </a:lnTo>
                  <a:lnTo>
                    <a:pt x="1412" y="649"/>
                  </a:lnTo>
                  <a:lnTo>
                    <a:pt x="1417" y="649"/>
                  </a:lnTo>
                  <a:lnTo>
                    <a:pt x="1417" y="654"/>
                  </a:lnTo>
                  <a:lnTo>
                    <a:pt x="1422" y="654"/>
                  </a:lnTo>
                  <a:lnTo>
                    <a:pt x="1426" y="654"/>
                  </a:lnTo>
                  <a:lnTo>
                    <a:pt x="1426" y="659"/>
                  </a:lnTo>
                  <a:lnTo>
                    <a:pt x="1431" y="659"/>
                  </a:lnTo>
                  <a:lnTo>
                    <a:pt x="1431" y="659"/>
                  </a:lnTo>
                  <a:lnTo>
                    <a:pt x="1426" y="663"/>
                  </a:lnTo>
                  <a:lnTo>
                    <a:pt x="1422" y="663"/>
                  </a:lnTo>
                  <a:lnTo>
                    <a:pt x="1422" y="668"/>
                  </a:lnTo>
                  <a:lnTo>
                    <a:pt x="1417" y="668"/>
                  </a:lnTo>
                  <a:lnTo>
                    <a:pt x="1417" y="672"/>
                  </a:lnTo>
                  <a:lnTo>
                    <a:pt x="1412" y="677"/>
                  </a:lnTo>
                  <a:lnTo>
                    <a:pt x="1412" y="677"/>
                  </a:lnTo>
                  <a:lnTo>
                    <a:pt x="1412" y="681"/>
                  </a:lnTo>
                  <a:lnTo>
                    <a:pt x="1412" y="686"/>
                  </a:lnTo>
                  <a:lnTo>
                    <a:pt x="1408" y="691"/>
                  </a:lnTo>
                  <a:lnTo>
                    <a:pt x="1403" y="695"/>
                  </a:lnTo>
                  <a:lnTo>
                    <a:pt x="1403" y="700"/>
                  </a:lnTo>
                  <a:lnTo>
                    <a:pt x="1399" y="700"/>
                  </a:lnTo>
                  <a:lnTo>
                    <a:pt x="1394" y="700"/>
                  </a:lnTo>
                  <a:lnTo>
                    <a:pt x="1390" y="704"/>
                  </a:lnTo>
                  <a:lnTo>
                    <a:pt x="1390" y="704"/>
                  </a:lnTo>
                  <a:lnTo>
                    <a:pt x="1390" y="709"/>
                  </a:lnTo>
                  <a:lnTo>
                    <a:pt x="1385" y="709"/>
                  </a:lnTo>
                  <a:lnTo>
                    <a:pt x="1385" y="713"/>
                  </a:lnTo>
                  <a:lnTo>
                    <a:pt x="1380" y="718"/>
                  </a:lnTo>
                  <a:lnTo>
                    <a:pt x="1380" y="723"/>
                  </a:lnTo>
                  <a:lnTo>
                    <a:pt x="1380" y="727"/>
                  </a:lnTo>
                  <a:lnTo>
                    <a:pt x="1380" y="732"/>
                  </a:lnTo>
                  <a:lnTo>
                    <a:pt x="1385" y="736"/>
                  </a:lnTo>
                  <a:lnTo>
                    <a:pt x="1385" y="741"/>
                  </a:lnTo>
                  <a:lnTo>
                    <a:pt x="1390" y="745"/>
                  </a:lnTo>
                  <a:lnTo>
                    <a:pt x="1390" y="745"/>
                  </a:lnTo>
                  <a:lnTo>
                    <a:pt x="1399" y="741"/>
                  </a:lnTo>
                  <a:lnTo>
                    <a:pt x="1403" y="741"/>
                  </a:lnTo>
                  <a:lnTo>
                    <a:pt x="1408" y="745"/>
                  </a:lnTo>
                  <a:lnTo>
                    <a:pt x="1408" y="745"/>
                  </a:lnTo>
                  <a:lnTo>
                    <a:pt x="1408" y="750"/>
                  </a:lnTo>
                  <a:lnTo>
                    <a:pt x="1399" y="759"/>
                  </a:lnTo>
                  <a:lnTo>
                    <a:pt x="1399" y="764"/>
                  </a:lnTo>
                  <a:lnTo>
                    <a:pt x="1394" y="764"/>
                  </a:lnTo>
                  <a:lnTo>
                    <a:pt x="1394" y="768"/>
                  </a:lnTo>
                  <a:lnTo>
                    <a:pt x="1399" y="768"/>
                  </a:lnTo>
                  <a:lnTo>
                    <a:pt x="1403" y="773"/>
                  </a:lnTo>
                  <a:lnTo>
                    <a:pt x="1408" y="773"/>
                  </a:lnTo>
                  <a:lnTo>
                    <a:pt x="1412" y="773"/>
                  </a:lnTo>
                  <a:lnTo>
                    <a:pt x="1417" y="768"/>
                  </a:lnTo>
                  <a:lnTo>
                    <a:pt x="1426" y="768"/>
                  </a:lnTo>
                  <a:lnTo>
                    <a:pt x="1431" y="768"/>
                  </a:lnTo>
                  <a:lnTo>
                    <a:pt x="1435" y="768"/>
                  </a:lnTo>
                  <a:lnTo>
                    <a:pt x="1435" y="768"/>
                  </a:lnTo>
                  <a:lnTo>
                    <a:pt x="1435" y="764"/>
                  </a:lnTo>
                  <a:lnTo>
                    <a:pt x="1440" y="764"/>
                  </a:lnTo>
                  <a:lnTo>
                    <a:pt x="1444" y="764"/>
                  </a:lnTo>
                  <a:lnTo>
                    <a:pt x="1454" y="764"/>
                  </a:lnTo>
                  <a:lnTo>
                    <a:pt x="1454" y="768"/>
                  </a:lnTo>
                  <a:lnTo>
                    <a:pt x="1449" y="768"/>
                  </a:lnTo>
                  <a:lnTo>
                    <a:pt x="1440" y="777"/>
                  </a:lnTo>
                  <a:lnTo>
                    <a:pt x="1376" y="860"/>
                  </a:lnTo>
                  <a:lnTo>
                    <a:pt x="1371" y="855"/>
                  </a:lnTo>
                  <a:lnTo>
                    <a:pt x="1353" y="841"/>
                  </a:lnTo>
                  <a:lnTo>
                    <a:pt x="1307" y="809"/>
                  </a:lnTo>
                  <a:lnTo>
                    <a:pt x="1303" y="809"/>
                  </a:lnTo>
                  <a:lnTo>
                    <a:pt x="1284" y="809"/>
                  </a:lnTo>
                  <a:lnTo>
                    <a:pt x="1252" y="805"/>
                  </a:lnTo>
                  <a:lnTo>
                    <a:pt x="1225" y="809"/>
                  </a:lnTo>
                  <a:lnTo>
                    <a:pt x="1225" y="832"/>
                  </a:lnTo>
                  <a:lnTo>
                    <a:pt x="1216" y="938"/>
                  </a:lnTo>
                  <a:lnTo>
                    <a:pt x="1216" y="1111"/>
                  </a:lnTo>
                  <a:lnTo>
                    <a:pt x="1239" y="1111"/>
                  </a:lnTo>
                  <a:lnTo>
                    <a:pt x="1239" y="1116"/>
                  </a:lnTo>
                  <a:lnTo>
                    <a:pt x="1239" y="1120"/>
                  </a:lnTo>
                  <a:lnTo>
                    <a:pt x="1239" y="1125"/>
                  </a:lnTo>
                  <a:lnTo>
                    <a:pt x="1234" y="1125"/>
                  </a:lnTo>
                  <a:lnTo>
                    <a:pt x="1234" y="1130"/>
                  </a:lnTo>
                  <a:lnTo>
                    <a:pt x="1230" y="1134"/>
                  </a:lnTo>
                  <a:lnTo>
                    <a:pt x="1230" y="1139"/>
                  </a:lnTo>
                  <a:lnTo>
                    <a:pt x="1225" y="1139"/>
                  </a:lnTo>
                  <a:lnTo>
                    <a:pt x="1220" y="1139"/>
                  </a:lnTo>
                  <a:lnTo>
                    <a:pt x="1220" y="1143"/>
                  </a:lnTo>
                  <a:lnTo>
                    <a:pt x="1216" y="1143"/>
                  </a:lnTo>
                  <a:lnTo>
                    <a:pt x="1216" y="1148"/>
                  </a:lnTo>
                  <a:lnTo>
                    <a:pt x="1216" y="1157"/>
                  </a:lnTo>
                  <a:lnTo>
                    <a:pt x="1216" y="1162"/>
                  </a:lnTo>
                  <a:lnTo>
                    <a:pt x="1211" y="1166"/>
                  </a:lnTo>
                  <a:lnTo>
                    <a:pt x="1207" y="1166"/>
                  </a:lnTo>
                  <a:lnTo>
                    <a:pt x="1207" y="1171"/>
                  </a:lnTo>
                  <a:lnTo>
                    <a:pt x="1202" y="1175"/>
                  </a:lnTo>
                  <a:lnTo>
                    <a:pt x="1202" y="1180"/>
                  </a:lnTo>
                  <a:lnTo>
                    <a:pt x="1198" y="1180"/>
                  </a:lnTo>
                  <a:lnTo>
                    <a:pt x="1198" y="1184"/>
                  </a:lnTo>
                  <a:lnTo>
                    <a:pt x="1193" y="1184"/>
                  </a:lnTo>
                  <a:lnTo>
                    <a:pt x="1193" y="1184"/>
                  </a:lnTo>
                  <a:lnTo>
                    <a:pt x="1188" y="1189"/>
                  </a:lnTo>
                  <a:lnTo>
                    <a:pt x="1184" y="1184"/>
                  </a:lnTo>
                  <a:lnTo>
                    <a:pt x="1179" y="1184"/>
                  </a:lnTo>
                  <a:lnTo>
                    <a:pt x="1175" y="1180"/>
                  </a:lnTo>
                  <a:lnTo>
                    <a:pt x="1170" y="1180"/>
                  </a:lnTo>
                  <a:lnTo>
                    <a:pt x="1170" y="1175"/>
                  </a:lnTo>
                  <a:lnTo>
                    <a:pt x="1170" y="1171"/>
                  </a:lnTo>
                  <a:lnTo>
                    <a:pt x="1170" y="1171"/>
                  </a:lnTo>
                  <a:lnTo>
                    <a:pt x="1170" y="1166"/>
                  </a:lnTo>
                  <a:lnTo>
                    <a:pt x="1166" y="1162"/>
                  </a:lnTo>
                  <a:lnTo>
                    <a:pt x="1161" y="1162"/>
                  </a:lnTo>
                  <a:lnTo>
                    <a:pt x="1156" y="1157"/>
                  </a:lnTo>
                  <a:lnTo>
                    <a:pt x="1152" y="1152"/>
                  </a:lnTo>
                  <a:lnTo>
                    <a:pt x="1152" y="1148"/>
                  </a:lnTo>
                  <a:lnTo>
                    <a:pt x="1152" y="1148"/>
                  </a:lnTo>
                  <a:lnTo>
                    <a:pt x="1147" y="1143"/>
                  </a:lnTo>
                  <a:lnTo>
                    <a:pt x="1143" y="1143"/>
                  </a:lnTo>
                  <a:lnTo>
                    <a:pt x="1143" y="1139"/>
                  </a:lnTo>
                  <a:lnTo>
                    <a:pt x="1138" y="1139"/>
                  </a:lnTo>
                  <a:lnTo>
                    <a:pt x="1134" y="1139"/>
                  </a:lnTo>
                  <a:lnTo>
                    <a:pt x="1134" y="1139"/>
                  </a:lnTo>
                  <a:lnTo>
                    <a:pt x="1129" y="1134"/>
                  </a:lnTo>
                  <a:lnTo>
                    <a:pt x="1124" y="1134"/>
                  </a:lnTo>
                  <a:lnTo>
                    <a:pt x="1124" y="1130"/>
                  </a:lnTo>
                  <a:lnTo>
                    <a:pt x="1120" y="1130"/>
                  </a:lnTo>
                  <a:lnTo>
                    <a:pt x="1120" y="1125"/>
                  </a:lnTo>
                  <a:lnTo>
                    <a:pt x="1111" y="1120"/>
                  </a:lnTo>
                  <a:lnTo>
                    <a:pt x="1111" y="1116"/>
                  </a:lnTo>
                  <a:lnTo>
                    <a:pt x="1106" y="1116"/>
                  </a:lnTo>
                  <a:lnTo>
                    <a:pt x="1106" y="1116"/>
                  </a:lnTo>
                  <a:lnTo>
                    <a:pt x="1106" y="1116"/>
                  </a:lnTo>
                  <a:lnTo>
                    <a:pt x="1102" y="1111"/>
                  </a:lnTo>
                  <a:lnTo>
                    <a:pt x="1097" y="1107"/>
                  </a:lnTo>
                  <a:lnTo>
                    <a:pt x="1092" y="1107"/>
                  </a:lnTo>
                  <a:lnTo>
                    <a:pt x="1092" y="1102"/>
                  </a:lnTo>
                  <a:lnTo>
                    <a:pt x="1088" y="1098"/>
                  </a:lnTo>
                  <a:lnTo>
                    <a:pt x="1088" y="1098"/>
                  </a:lnTo>
                  <a:lnTo>
                    <a:pt x="1083" y="1084"/>
                  </a:lnTo>
                  <a:lnTo>
                    <a:pt x="1083" y="1079"/>
                  </a:lnTo>
                  <a:lnTo>
                    <a:pt x="1083" y="1075"/>
                  </a:lnTo>
                  <a:lnTo>
                    <a:pt x="1083" y="1075"/>
                  </a:lnTo>
                  <a:lnTo>
                    <a:pt x="1083" y="1066"/>
                  </a:lnTo>
                  <a:lnTo>
                    <a:pt x="1079" y="1066"/>
                  </a:lnTo>
                  <a:lnTo>
                    <a:pt x="1079" y="1061"/>
                  </a:lnTo>
                  <a:lnTo>
                    <a:pt x="1079" y="1052"/>
                  </a:lnTo>
                  <a:lnTo>
                    <a:pt x="1079" y="1052"/>
                  </a:lnTo>
                  <a:lnTo>
                    <a:pt x="1074" y="1047"/>
                  </a:lnTo>
                  <a:lnTo>
                    <a:pt x="1070" y="1043"/>
                  </a:lnTo>
                  <a:lnTo>
                    <a:pt x="1070" y="1038"/>
                  </a:lnTo>
                  <a:lnTo>
                    <a:pt x="1065" y="1034"/>
                  </a:lnTo>
                  <a:lnTo>
                    <a:pt x="1065" y="1029"/>
                  </a:lnTo>
                  <a:lnTo>
                    <a:pt x="1065" y="1029"/>
                  </a:lnTo>
                  <a:lnTo>
                    <a:pt x="1060" y="1024"/>
                  </a:lnTo>
                  <a:lnTo>
                    <a:pt x="1060" y="1020"/>
                  </a:lnTo>
                  <a:lnTo>
                    <a:pt x="1060" y="1015"/>
                  </a:lnTo>
                  <a:lnTo>
                    <a:pt x="1056" y="1011"/>
                  </a:lnTo>
                  <a:lnTo>
                    <a:pt x="1051" y="1011"/>
                  </a:lnTo>
                  <a:lnTo>
                    <a:pt x="1047" y="1006"/>
                  </a:lnTo>
                  <a:lnTo>
                    <a:pt x="1047" y="1006"/>
                  </a:lnTo>
                  <a:lnTo>
                    <a:pt x="1042" y="1006"/>
                  </a:lnTo>
                  <a:lnTo>
                    <a:pt x="1042" y="1002"/>
                  </a:lnTo>
                  <a:lnTo>
                    <a:pt x="1038" y="1002"/>
                  </a:lnTo>
                  <a:lnTo>
                    <a:pt x="1028" y="997"/>
                  </a:lnTo>
                  <a:lnTo>
                    <a:pt x="1024" y="997"/>
                  </a:lnTo>
                  <a:lnTo>
                    <a:pt x="1019" y="997"/>
                  </a:lnTo>
                  <a:lnTo>
                    <a:pt x="1019" y="992"/>
                  </a:lnTo>
                  <a:lnTo>
                    <a:pt x="1015" y="992"/>
                  </a:lnTo>
                  <a:lnTo>
                    <a:pt x="1010" y="997"/>
                  </a:lnTo>
                  <a:lnTo>
                    <a:pt x="996" y="1002"/>
                  </a:lnTo>
                  <a:lnTo>
                    <a:pt x="996" y="997"/>
                  </a:lnTo>
                  <a:lnTo>
                    <a:pt x="996" y="1002"/>
                  </a:lnTo>
                  <a:lnTo>
                    <a:pt x="992" y="1002"/>
                  </a:lnTo>
                  <a:lnTo>
                    <a:pt x="987" y="1002"/>
                  </a:lnTo>
                  <a:lnTo>
                    <a:pt x="983" y="1002"/>
                  </a:lnTo>
                  <a:lnTo>
                    <a:pt x="974" y="997"/>
                  </a:lnTo>
                  <a:lnTo>
                    <a:pt x="974" y="997"/>
                  </a:lnTo>
                  <a:lnTo>
                    <a:pt x="974" y="992"/>
                  </a:lnTo>
                  <a:lnTo>
                    <a:pt x="969" y="992"/>
                  </a:lnTo>
                  <a:lnTo>
                    <a:pt x="964" y="992"/>
                  </a:lnTo>
                  <a:lnTo>
                    <a:pt x="964" y="988"/>
                  </a:lnTo>
                  <a:lnTo>
                    <a:pt x="960" y="988"/>
                  </a:lnTo>
                  <a:lnTo>
                    <a:pt x="960" y="988"/>
                  </a:lnTo>
                  <a:lnTo>
                    <a:pt x="955" y="988"/>
                  </a:lnTo>
                  <a:lnTo>
                    <a:pt x="951" y="988"/>
                  </a:lnTo>
                  <a:lnTo>
                    <a:pt x="946" y="983"/>
                  </a:lnTo>
                  <a:lnTo>
                    <a:pt x="942" y="983"/>
                  </a:lnTo>
                  <a:lnTo>
                    <a:pt x="932" y="988"/>
                  </a:lnTo>
                  <a:lnTo>
                    <a:pt x="928" y="988"/>
                  </a:lnTo>
                  <a:lnTo>
                    <a:pt x="923" y="988"/>
                  </a:lnTo>
                  <a:lnTo>
                    <a:pt x="914" y="988"/>
                  </a:lnTo>
                  <a:lnTo>
                    <a:pt x="905" y="992"/>
                  </a:lnTo>
                  <a:lnTo>
                    <a:pt x="900" y="992"/>
                  </a:lnTo>
                  <a:lnTo>
                    <a:pt x="891" y="988"/>
                  </a:lnTo>
                  <a:lnTo>
                    <a:pt x="878" y="988"/>
                  </a:lnTo>
                  <a:lnTo>
                    <a:pt x="873" y="992"/>
                  </a:lnTo>
                  <a:lnTo>
                    <a:pt x="850" y="992"/>
                  </a:lnTo>
                  <a:lnTo>
                    <a:pt x="846" y="988"/>
                  </a:lnTo>
                  <a:lnTo>
                    <a:pt x="841" y="988"/>
                  </a:lnTo>
                  <a:lnTo>
                    <a:pt x="832" y="988"/>
                  </a:lnTo>
                  <a:lnTo>
                    <a:pt x="827" y="988"/>
                  </a:lnTo>
                  <a:lnTo>
                    <a:pt x="827" y="983"/>
                  </a:lnTo>
                  <a:lnTo>
                    <a:pt x="823" y="983"/>
                  </a:lnTo>
                  <a:lnTo>
                    <a:pt x="823" y="979"/>
                  </a:lnTo>
                  <a:lnTo>
                    <a:pt x="823" y="974"/>
                  </a:lnTo>
                  <a:lnTo>
                    <a:pt x="823" y="970"/>
                  </a:lnTo>
                  <a:lnTo>
                    <a:pt x="818" y="970"/>
                  </a:lnTo>
                  <a:lnTo>
                    <a:pt x="818" y="965"/>
                  </a:lnTo>
                  <a:lnTo>
                    <a:pt x="814" y="965"/>
                  </a:lnTo>
                  <a:lnTo>
                    <a:pt x="804" y="960"/>
                  </a:lnTo>
                  <a:lnTo>
                    <a:pt x="804" y="960"/>
                  </a:lnTo>
                  <a:lnTo>
                    <a:pt x="800" y="956"/>
                  </a:lnTo>
                  <a:lnTo>
                    <a:pt x="795" y="956"/>
                  </a:lnTo>
                  <a:lnTo>
                    <a:pt x="786" y="956"/>
                  </a:lnTo>
                  <a:lnTo>
                    <a:pt x="777" y="951"/>
                  </a:lnTo>
                  <a:lnTo>
                    <a:pt x="777" y="951"/>
                  </a:lnTo>
                  <a:lnTo>
                    <a:pt x="772" y="947"/>
                  </a:lnTo>
                  <a:lnTo>
                    <a:pt x="768" y="947"/>
                  </a:lnTo>
                  <a:lnTo>
                    <a:pt x="768" y="942"/>
                  </a:lnTo>
                  <a:lnTo>
                    <a:pt x="763" y="942"/>
                  </a:lnTo>
                  <a:lnTo>
                    <a:pt x="759" y="942"/>
                  </a:lnTo>
                  <a:lnTo>
                    <a:pt x="754" y="933"/>
                  </a:lnTo>
                  <a:lnTo>
                    <a:pt x="736" y="919"/>
                  </a:lnTo>
                  <a:lnTo>
                    <a:pt x="731" y="919"/>
                  </a:lnTo>
                  <a:lnTo>
                    <a:pt x="727" y="915"/>
                  </a:lnTo>
                  <a:lnTo>
                    <a:pt x="722" y="915"/>
                  </a:lnTo>
                  <a:lnTo>
                    <a:pt x="718" y="910"/>
                  </a:lnTo>
                  <a:lnTo>
                    <a:pt x="713" y="910"/>
                  </a:lnTo>
                  <a:lnTo>
                    <a:pt x="713" y="910"/>
                  </a:lnTo>
                  <a:lnTo>
                    <a:pt x="708" y="906"/>
                  </a:lnTo>
                  <a:lnTo>
                    <a:pt x="704" y="906"/>
                  </a:lnTo>
                  <a:lnTo>
                    <a:pt x="690" y="896"/>
                  </a:lnTo>
                  <a:lnTo>
                    <a:pt x="676" y="896"/>
                  </a:lnTo>
                  <a:lnTo>
                    <a:pt x="667" y="892"/>
                  </a:lnTo>
                  <a:lnTo>
                    <a:pt x="658" y="892"/>
                  </a:lnTo>
                  <a:lnTo>
                    <a:pt x="644" y="887"/>
                  </a:lnTo>
                  <a:lnTo>
                    <a:pt x="631" y="887"/>
                  </a:lnTo>
                  <a:lnTo>
                    <a:pt x="626" y="887"/>
                  </a:lnTo>
                  <a:lnTo>
                    <a:pt x="622" y="887"/>
                  </a:lnTo>
                  <a:lnTo>
                    <a:pt x="622" y="883"/>
                  </a:lnTo>
                  <a:lnTo>
                    <a:pt x="622" y="883"/>
                  </a:lnTo>
                  <a:lnTo>
                    <a:pt x="617" y="878"/>
                  </a:lnTo>
                  <a:lnTo>
                    <a:pt x="612" y="878"/>
                  </a:lnTo>
                  <a:lnTo>
                    <a:pt x="608" y="874"/>
                  </a:lnTo>
                  <a:lnTo>
                    <a:pt x="603" y="869"/>
                  </a:lnTo>
                  <a:lnTo>
                    <a:pt x="603" y="864"/>
                  </a:lnTo>
                  <a:lnTo>
                    <a:pt x="603" y="860"/>
                  </a:lnTo>
                  <a:lnTo>
                    <a:pt x="603" y="855"/>
                  </a:lnTo>
                  <a:lnTo>
                    <a:pt x="599" y="855"/>
                  </a:lnTo>
                  <a:lnTo>
                    <a:pt x="599" y="855"/>
                  </a:lnTo>
                  <a:lnTo>
                    <a:pt x="594" y="855"/>
                  </a:lnTo>
                  <a:lnTo>
                    <a:pt x="590" y="851"/>
                  </a:lnTo>
                  <a:lnTo>
                    <a:pt x="585" y="846"/>
                  </a:lnTo>
                  <a:lnTo>
                    <a:pt x="580" y="846"/>
                  </a:lnTo>
                  <a:lnTo>
                    <a:pt x="580" y="841"/>
                  </a:lnTo>
                  <a:lnTo>
                    <a:pt x="580" y="841"/>
                  </a:lnTo>
                  <a:lnTo>
                    <a:pt x="576" y="841"/>
                  </a:lnTo>
                  <a:lnTo>
                    <a:pt x="576" y="837"/>
                  </a:lnTo>
                  <a:lnTo>
                    <a:pt x="571" y="832"/>
                  </a:lnTo>
                  <a:lnTo>
                    <a:pt x="567" y="832"/>
                  </a:lnTo>
                  <a:lnTo>
                    <a:pt x="567" y="832"/>
                  </a:lnTo>
                  <a:lnTo>
                    <a:pt x="562" y="828"/>
                  </a:lnTo>
                  <a:lnTo>
                    <a:pt x="558" y="828"/>
                  </a:lnTo>
                  <a:lnTo>
                    <a:pt x="558" y="823"/>
                  </a:lnTo>
                  <a:lnTo>
                    <a:pt x="558" y="823"/>
                  </a:lnTo>
                  <a:lnTo>
                    <a:pt x="553" y="819"/>
                  </a:lnTo>
                  <a:lnTo>
                    <a:pt x="548" y="819"/>
                  </a:lnTo>
                  <a:lnTo>
                    <a:pt x="544" y="814"/>
                  </a:lnTo>
                  <a:lnTo>
                    <a:pt x="539" y="814"/>
                  </a:lnTo>
                  <a:lnTo>
                    <a:pt x="535" y="814"/>
                  </a:lnTo>
                  <a:lnTo>
                    <a:pt x="521" y="814"/>
                  </a:lnTo>
                  <a:lnTo>
                    <a:pt x="516" y="814"/>
                  </a:lnTo>
                  <a:lnTo>
                    <a:pt x="516" y="819"/>
                  </a:lnTo>
                  <a:lnTo>
                    <a:pt x="512" y="819"/>
                  </a:lnTo>
                  <a:lnTo>
                    <a:pt x="512" y="823"/>
                  </a:lnTo>
                  <a:lnTo>
                    <a:pt x="507" y="823"/>
                  </a:lnTo>
                  <a:lnTo>
                    <a:pt x="503" y="823"/>
                  </a:lnTo>
                  <a:lnTo>
                    <a:pt x="498" y="828"/>
                  </a:lnTo>
                  <a:lnTo>
                    <a:pt x="494" y="828"/>
                  </a:lnTo>
                  <a:lnTo>
                    <a:pt x="471" y="837"/>
                  </a:lnTo>
                  <a:lnTo>
                    <a:pt x="466" y="837"/>
                  </a:lnTo>
                  <a:lnTo>
                    <a:pt x="462" y="837"/>
                  </a:lnTo>
                  <a:lnTo>
                    <a:pt x="457" y="837"/>
                  </a:lnTo>
                  <a:lnTo>
                    <a:pt x="452" y="832"/>
                  </a:lnTo>
                  <a:lnTo>
                    <a:pt x="448" y="832"/>
                  </a:lnTo>
                  <a:lnTo>
                    <a:pt x="448" y="828"/>
                  </a:lnTo>
                  <a:lnTo>
                    <a:pt x="448" y="828"/>
                  </a:lnTo>
                  <a:lnTo>
                    <a:pt x="448" y="823"/>
                  </a:lnTo>
                  <a:lnTo>
                    <a:pt x="448" y="819"/>
                  </a:lnTo>
                  <a:lnTo>
                    <a:pt x="448" y="814"/>
                  </a:lnTo>
                  <a:lnTo>
                    <a:pt x="443" y="800"/>
                  </a:lnTo>
                  <a:lnTo>
                    <a:pt x="443" y="796"/>
                  </a:lnTo>
                  <a:lnTo>
                    <a:pt x="443" y="791"/>
                  </a:lnTo>
                  <a:lnTo>
                    <a:pt x="443" y="787"/>
                  </a:lnTo>
                  <a:lnTo>
                    <a:pt x="439" y="787"/>
                  </a:lnTo>
                  <a:lnTo>
                    <a:pt x="434" y="787"/>
                  </a:lnTo>
                  <a:lnTo>
                    <a:pt x="430" y="782"/>
                  </a:lnTo>
                  <a:lnTo>
                    <a:pt x="425" y="782"/>
                  </a:lnTo>
                  <a:lnTo>
                    <a:pt x="416" y="777"/>
                  </a:lnTo>
                  <a:lnTo>
                    <a:pt x="411" y="777"/>
                  </a:lnTo>
                  <a:lnTo>
                    <a:pt x="407" y="777"/>
                  </a:lnTo>
                  <a:lnTo>
                    <a:pt x="407" y="773"/>
                  </a:lnTo>
                  <a:lnTo>
                    <a:pt x="402" y="773"/>
                  </a:lnTo>
                  <a:lnTo>
                    <a:pt x="402" y="773"/>
                  </a:lnTo>
                  <a:lnTo>
                    <a:pt x="398" y="768"/>
                  </a:lnTo>
                  <a:lnTo>
                    <a:pt x="393" y="768"/>
                  </a:lnTo>
                  <a:lnTo>
                    <a:pt x="388" y="768"/>
                  </a:lnTo>
                  <a:lnTo>
                    <a:pt x="379" y="759"/>
                  </a:lnTo>
                  <a:lnTo>
                    <a:pt x="375" y="755"/>
                  </a:lnTo>
                  <a:lnTo>
                    <a:pt x="370" y="750"/>
                  </a:lnTo>
                  <a:lnTo>
                    <a:pt x="361" y="741"/>
                  </a:lnTo>
                  <a:lnTo>
                    <a:pt x="356" y="736"/>
                  </a:lnTo>
                  <a:lnTo>
                    <a:pt x="352" y="727"/>
                  </a:lnTo>
                  <a:lnTo>
                    <a:pt x="347" y="723"/>
                  </a:lnTo>
                  <a:lnTo>
                    <a:pt x="343" y="723"/>
                  </a:lnTo>
                  <a:lnTo>
                    <a:pt x="338" y="723"/>
                  </a:lnTo>
                  <a:lnTo>
                    <a:pt x="338" y="718"/>
                  </a:lnTo>
                  <a:lnTo>
                    <a:pt x="334" y="709"/>
                  </a:lnTo>
                  <a:lnTo>
                    <a:pt x="329" y="709"/>
                  </a:lnTo>
                  <a:lnTo>
                    <a:pt x="329" y="704"/>
                  </a:lnTo>
                  <a:lnTo>
                    <a:pt x="324" y="700"/>
                  </a:lnTo>
                  <a:lnTo>
                    <a:pt x="315" y="700"/>
                  </a:lnTo>
                  <a:lnTo>
                    <a:pt x="306" y="681"/>
                  </a:lnTo>
                  <a:lnTo>
                    <a:pt x="302" y="681"/>
                  </a:lnTo>
                  <a:lnTo>
                    <a:pt x="302" y="677"/>
                  </a:lnTo>
                  <a:lnTo>
                    <a:pt x="292" y="672"/>
                  </a:lnTo>
                  <a:lnTo>
                    <a:pt x="292" y="668"/>
                  </a:lnTo>
                  <a:lnTo>
                    <a:pt x="288" y="663"/>
                  </a:lnTo>
                  <a:lnTo>
                    <a:pt x="283" y="659"/>
                  </a:lnTo>
                  <a:lnTo>
                    <a:pt x="274" y="649"/>
                  </a:lnTo>
                  <a:lnTo>
                    <a:pt x="274" y="649"/>
                  </a:lnTo>
                  <a:lnTo>
                    <a:pt x="274" y="645"/>
                  </a:lnTo>
                  <a:lnTo>
                    <a:pt x="270" y="640"/>
                  </a:lnTo>
                  <a:lnTo>
                    <a:pt x="260" y="636"/>
                  </a:lnTo>
                  <a:lnTo>
                    <a:pt x="251" y="622"/>
                  </a:lnTo>
                  <a:lnTo>
                    <a:pt x="251" y="617"/>
                  </a:lnTo>
                  <a:lnTo>
                    <a:pt x="247" y="617"/>
                  </a:lnTo>
                  <a:lnTo>
                    <a:pt x="247" y="613"/>
                  </a:lnTo>
                  <a:lnTo>
                    <a:pt x="238" y="613"/>
                  </a:lnTo>
                  <a:lnTo>
                    <a:pt x="238" y="608"/>
                  </a:lnTo>
                  <a:lnTo>
                    <a:pt x="233" y="604"/>
                  </a:lnTo>
                  <a:lnTo>
                    <a:pt x="228" y="599"/>
                  </a:lnTo>
                  <a:lnTo>
                    <a:pt x="228" y="595"/>
                  </a:lnTo>
                  <a:lnTo>
                    <a:pt x="228" y="590"/>
                  </a:lnTo>
                  <a:lnTo>
                    <a:pt x="224" y="590"/>
                  </a:lnTo>
                  <a:lnTo>
                    <a:pt x="224" y="590"/>
                  </a:lnTo>
                  <a:lnTo>
                    <a:pt x="224" y="585"/>
                  </a:lnTo>
                  <a:lnTo>
                    <a:pt x="219" y="576"/>
                  </a:lnTo>
                  <a:lnTo>
                    <a:pt x="215" y="572"/>
                  </a:lnTo>
                  <a:lnTo>
                    <a:pt x="206" y="572"/>
                  </a:lnTo>
                  <a:lnTo>
                    <a:pt x="206" y="572"/>
                  </a:lnTo>
                  <a:lnTo>
                    <a:pt x="206" y="567"/>
                  </a:lnTo>
                  <a:lnTo>
                    <a:pt x="206" y="567"/>
                  </a:lnTo>
                  <a:lnTo>
                    <a:pt x="206" y="563"/>
                  </a:lnTo>
                  <a:lnTo>
                    <a:pt x="201" y="563"/>
                  </a:lnTo>
                  <a:lnTo>
                    <a:pt x="201" y="567"/>
                  </a:lnTo>
                  <a:lnTo>
                    <a:pt x="196" y="567"/>
                  </a:lnTo>
                  <a:lnTo>
                    <a:pt x="192" y="567"/>
                  </a:lnTo>
                  <a:lnTo>
                    <a:pt x="192" y="572"/>
                  </a:lnTo>
                  <a:lnTo>
                    <a:pt x="192" y="576"/>
                  </a:lnTo>
                  <a:lnTo>
                    <a:pt x="187" y="576"/>
                  </a:lnTo>
                  <a:lnTo>
                    <a:pt x="183" y="572"/>
                  </a:lnTo>
                  <a:lnTo>
                    <a:pt x="178" y="572"/>
                  </a:lnTo>
                  <a:lnTo>
                    <a:pt x="174" y="572"/>
                  </a:lnTo>
                  <a:lnTo>
                    <a:pt x="169" y="572"/>
                  </a:lnTo>
                  <a:lnTo>
                    <a:pt x="164" y="567"/>
                  </a:lnTo>
                  <a:lnTo>
                    <a:pt x="164" y="563"/>
                  </a:lnTo>
                  <a:lnTo>
                    <a:pt x="164" y="558"/>
                  </a:lnTo>
                  <a:lnTo>
                    <a:pt x="164" y="558"/>
                  </a:lnTo>
                  <a:lnTo>
                    <a:pt x="160" y="558"/>
                  </a:lnTo>
                  <a:lnTo>
                    <a:pt x="155" y="558"/>
                  </a:lnTo>
                  <a:lnTo>
                    <a:pt x="146" y="558"/>
                  </a:lnTo>
                  <a:lnTo>
                    <a:pt x="142" y="558"/>
                  </a:lnTo>
                  <a:lnTo>
                    <a:pt x="142" y="553"/>
                  </a:lnTo>
                  <a:lnTo>
                    <a:pt x="137" y="553"/>
                  </a:lnTo>
                  <a:lnTo>
                    <a:pt x="137" y="549"/>
                  </a:lnTo>
                  <a:lnTo>
                    <a:pt x="132" y="549"/>
                  </a:lnTo>
                  <a:lnTo>
                    <a:pt x="137" y="549"/>
                  </a:lnTo>
                  <a:lnTo>
                    <a:pt x="137" y="544"/>
                  </a:lnTo>
                  <a:lnTo>
                    <a:pt x="142" y="549"/>
                  </a:lnTo>
                  <a:lnTo>
                    <a:pt x="146" y="549"/>
                  </a:lnTo>
                  <a:lnTo>
                    <a:pt x="151" y="544"/>
                  </a:lnTo>
                  <a:lnTo>
                    <a:pt x="151" y="540"/>
                  </a:lnTo>
                  <a:lnTo>
                    <a:pt x="146" y="540"/>
                  </a:lnTo>
                  <a:lnTo>
                    <a:pt x="142" y="535"/>
                  </a:lnTo>
                  <a:lnTo>
                    <a:pt x="142" y="535"/>
                  </a:lnTo>
                  <a:lnTo>
                    <a:pt x="137" y="535"/>
                  </a:lnTo>
                  <a:lnTo>
                    <a:pt x="137" y="531"/>
                  </a:lnTo>
                  <a:lnTo>
                    <a:pt x="137" y="526"/>
                  </a:lnTo>
                  <a:lnTo>
                    <a:pt x="142" y="526"/>
                  </a:lnTo>
                  <a:lnTo>
                    <a:pt x="137" y="526"/>
                  </a:lnTo>
                  <a:lnTo>
                    <a:pt x="132" y="521"/>
                  </a:lnTo>
                  <a:lnTo>
                    <a:pt x="128" y="526"/>
                  </a:lnTo>
                  <a:lnTo>
                    <a:pt x="123" y="526"/>
                  </a:lnTo>
                  <a:lnTo>
                    <a:pt x="119" y="526"/>
                  </a:lnTo>
                  <a:lnTo>
                    <a:pt x="114" y="521"/>
                  </a:lnTo>
                  <a:lnTo>
                    <a:pt x="114" y="517"/>
                  </a:lnTo>
                  <a:lnTo>
                    <a:pt x="119" y="512"/>
                  </a:lnTo>
                  <a:lnTo>
                    <a:pt x="119" y="508"/>
                  </a:lnTo>
                  <a:lnTo>
                    <a:pt x="123" y="503"/>
                  </a:lnTo>
                  <a:lnTo>
                    <a:pt x="119" y="503"/>
                  </a:lnTo>
                  <a:lnTo>
                    <a:pt x="119" y="503"/>
                  </a:lnTo>
                  <a:lnTo>
                    <a:pt x="114" y="499"/>
                  </a:lnTo>
                  <a:lnTo>
                    <a:pt x="110" y="489"/>
                  </a:lnTo>
                  <a:lnTo>
                    <a:pt x="105" y="485"/>
                  </a:lnTo>
                  <a:lnTo>
                    <a:pt x="100" y="480"/>
                  </a:lnTo>
                  <a:lnTo>
                    <a:pt x="100" y="485"/>
                  </a:lnTo>
                  <a:lnTo>
                    <a:pt x="96" y="485"/>
                  </a:lnTo>
                  <a:lnTo>
                    <a:pt x="96" y="489"/>
                  </a:lnTo>
                  <a:lnTo>
                    <a:pt x="96" y="494"/>
                  </a:lnTo>
                  <a:lnTo>
                    <a:pt x="96" y="499"/>
                  </a:lnTo>
                  <a:lnTo>
                    <a:pt x="91" y="503"/>
                  </a:lnTo>
                  <a:lnTo>
                    <a:pt x="87" y="503"/>
                  </a:lnTo>
                  <a:lnTo>
                    <a:pt x="87" y="503"/>
                  </a:lnTo>
                  <a:lnTo>
                    <a:pt x="82" y="503"/>
                  </a:lnTo>
                  <a:lnTo>
                    <a:pt x="78" y="503"/>
                  </a:lnTo>
                  <a:lnTo>
                    <a:pt x="73" y="503"/>
                  </a:lnTo>
                  <a:lnTo>
                    <a:pt x="73" y="499"/>
                  </a:lnTo>
                  <a:lnTo>
                    <a:pt x="73" y="494"/>
                  </a:lnTo>
                  <a:lnTo>
                    <a:pt x="68" y="489"/>
                  </a:lnTo>
                  <a:lnTo>
                    <a:pt x="64" y="485"/>
                  </a:lnTo>
                  <a:lnTo>
                    <a:pt x="55" y="485"/>
                  </a:lnTo>
                  <a:lnTo>
                    <a:pt x="36" y="485"/>
                  </a:lnTo>
                  <a:lnTo>
                    <a:pt x="32" y="485"/>
                  </a:lnTo>
                  <a:lnTo>
                    <a:pt x="27" y="485"/>
                  </a:lnTo>
                  <a:lnTo>
                    <a:pt x="23" y="480"/>
                  </a:lnTo>
                  <a:lnTo>
                    <a:pt x="18" y="480"/>
                  </a:lnTo>
                  <a:lnTo>
                    <a:pt x="18" y="476"/>
                  </a:lnTo>
                  <a:lnTo>
                    <a:pt x="18" y="476"/>
                  </a:lnTo>
                  <a:lnTo>
                    <a:pt x="18" y="476"/>
                  </a:lnTo>
                  <a:lnTo>
                    <a:pt x="18" y="476"/>
                  </a:lnTo>
                  <a:lnTo>
                    <a:pt x="23" y="471"/>
                  </a:lnTo>
                  <a:lnTo>
                    <a:pt x="23" y="471"/>
                  </a:lnTo>
                  <a:lnTo>
                    <a:pt x="23" y="471"/>
                  </a:lnTo>
                  <a:lnTo>
                    <a:pt x="27" y="471"/>
                  </a:lnTo>
                  <a:lnTo>
                    <a:pt x="32" y="467"/>
                  </a:lnTo>
                  <a:lnTo>
                    <a:pt x="32" y="462"/>
                  </a:lnTo>
                  <a:lnTo>
                    <a:pt x="36" y="453"/>
                  </a:lnTo>
                  <a:lnTo>
                    <a:pt x="36" y="453"/>
                  </a:lnTo>
                  <a:lnTo>
                    <a:pt x="36" y="448"/>
                  </a:lnTo>
                  <a:lnTo>
                    <a:pt x="36" y="444"/>
                  </a:lnTo>
                  <a:lnTo>
                    <a:pt x="36" y="439"/>
                  </a:lnTo>
                  <a:lnTo>
                    <a:pt x="36" y="439"/>
                  </a:lnTo>
                  <a:lnTo>
                    <a:pt x="27" y="439"/>
                  </a:lnTo>
                  <a:lnTo>
                    <a:pt x="23" y="439"/>
                  </a:lnTo>
                  <a:lnTo>
                    <a:pt x="18" y="430"/>
                  </a:lnTo>
                  <a:lnTo>
                    <a:pt x="14" y="425"/>
                  </a:lnTo>
                  <a:lnTo>
                    <a:pt x="4" y="416"/>
                  </a:lnTo>
                  <a:lnTo>
                    <a:pt x="4" y="412"/>
                  </a:lnTo>
                  <a:lnTo>
                    <a:pt x="0" y="403"/>
                  </a:lnTo>
                  <a:lnTo>
                    <a:pt x="0" y="403"/>
                  </a:lnTo>
                  <a:lnTo>
                    <a:pt x="9" y="384"/>
                  </a:lnTo>
                  <a:lnTo>
                    <a:pt x="14" y="375"/>
                  </a:lnTo>
                  <a:lnTo>
                    <a:pt x="18" y="366"/>
                  </a:lnTo>
                  <a:lnTo>
                    <a:pt x="18" y="366"/>
                  </a:lnTo>
                  <a:lnTo>
                    <a:pt x="18" y="361"/>
                  </a:lnTo>
                  <a:lnTo>
                    <a:pt x="18" y="357"/>
                  </a:lnTo>
                  <a:lnTo>
                    <a:pt x="18" y="352"/>
                  </a:lnTo>
                  <a:lnTo>
                    <a:pt x="18" y="352"/>
                  </a:lnTo>
                  <a:lnTo>
                    <a:pt x="23" y="348"/>
                  </a:lnTo>
                  <a:lnTo>
                    <a:pt x="23" y="343"/>
                  </a:lnTo>
                  <a:lnTo>
                    <a:pt x="32" y="343"/>
                  </a:lnTo>
                  <a:lnTo>
                    <a:pt x="41" y="334"/>
                  </a:lnTo>
                  <a:lnTo>
                    <a:pt x="41" y="339"/>
                  </a:lnTo>
                  <a:lnTo>
                    <a:pt x="50" y="343"/>
                  </a:lnTo>
                  <a:lnTo>
                    <a:pt x="55" y="343"/>
                  </a:lnTo>
                  <a:lnTo>
                    <a:pt x="64" y="348"/>
                  </a:lnTo>
                  <a:lnTo>
                    <a:pt x="68" y="352"/>
                  </a:lnTo>
                  <a:lnTo>
                    <a:pt x="73" y="352"/>
                  </a:lnTo>
                  <a:lnTo>
                    <a:pt x="73" y="352"/>
                  </a:lnTo>
                  <a:lnTo>
                    <a:pt x="78" y="357"/>
                  </a:lnTo>
                  <a:lnTo>
                    <a:pt x="82" y="343"/>
                  </a:lnTo>
                  <a:lnTo>
                    <a:pt x="82" y="334"/>
                  </a:lnTo>
                  <a:lnTo>
                    <a:pt x="82" y="329"/>
                  </a:lnTo>
                  <a:lnTo>
                    <a:pt x="82" y="325"/>
                  </a:lnTo>
                  <a:lnTo>
                    <a:pt x="87" y="320"/>
                  </a:lnTo>
                  <a:lnTo>
                    <a:pt x="87" y="311"/>
                  </a:lnTo>
                  <a:lnTo>
                    <a:pt x="91" y="307"/>
                  </a:lnTo>
                  <a:lnTo>
                    <a:pt x="96" y="293"/>
                  </a:lnTo>
                  <a:lnTo>
                    <a:pt x="100" y="288"/>
                  </a:lnTo>
                  <a:lnTo>
                    <a:pt x="100" y="284"/>
                  </a:lnTo>
                  <a:lnTo>
                    <a:pt x="100" y="279"/>
                  </a:lnTo>
                  <a:lnTo>
                    <a:pt x="100" y="275"/>
                  </a:lnTo>
                  <a:lnTo>
                    <a:pt x="100" y="261"/>
                  </a:lnTo>
                  <a:lnTo>
                    <a:pt x="100" y="256"/>
                  </a:lnTo>
                  <a:lnTo>
                    <a:pt x="100" y="256"/>
                  </a:lnTo>
                  <a:lnTo>
                    <a:pt x="100" y="247"/>
                  </a:lnTo>
                  <a:lnTo>
                    <a:pt x="100" y="243"/>
                  </a:lnTo>
                  <a:lnTo>
                    <a:pt x="96" y="238"/>
                  </a:lnTo>
                  <a:lnTo>
                    <a:pt x="87" y="233"/>
                  </a:lnTo>
                  <a:lnTo>
                    <a:pt x="82" y="229"/>
                  </a:lnTo>
                  <a:lnTo>
                    <a:pt x="78" y="224"/>
                  </a:lnTo>
                  <a:lnTo>
                    <a:pt x="73" y="215"/>
                  </a:lnTo>
                  <a:lnTo>
                    <a:pt x="73" y="211"/>
                  </a:lnTo>
                  <a:lnTo>
                    <a:pt x="68" y="206"/>
                  </a:lnTo>
                  <a:lnTo>
                    <a:pt x="68" y="201"/>
                  </a:lnTo>
                  <a:lnTo>
                    <a:pt x="64" y="201"/>
                  </a:lnTo>
                  <a:lnTo>
                    <a:pt x="64" y="197"/>
                  </a:lnTo>
                  <a:lnTo>
                    <a:pt x="64" y="192"/>
                  </a:lnTo>
                  <a:lnTo>
                    <a:pt x="64" y="183"/>
                  </a:lnTo>
                  <a:lnTo>
                    <a:pt x="68" y="174"/>
                  </a:lnTo>
                  <a:lnTo>
                    <a:pt x="73" y="169"/>
                  </a:lnTo>
                  <a:lnTo>
                    <a:pt x="73" y="160"/>
                  </a:lnTo>
                  <a:lnTo>
                    <a:pt x="73" y="156"/>
                  </a:lnTo>
                  <a:lnTo>
                    <a:pt x="68" y="151"/>
                  </a:lnTo>
                  <a:lnTo>
                    <a:pt x="68" y="147"/>
                  </a:lnTo>
                  <a:lnTo>
                    <a:pt x="68" y="133"/>
                  </a:lnTo>
                  <a:lnTo>
                    <a:pt x="64" y="128"/>
                  </a:lnTo>
                  <a:lnTo>
                    <a:pt x="59" y="124"/>
                  </a:lnTo>
                  <a:lnTo>
                    <a:pt x="55" y="124"/>
                  </a:lnTo>
                  <a:lnTo>
                    <a:pt x="50" y="124"/>
                  </a:lnTo>
                  <a:lnTo>
                    <a:pt x="50" y="119"/>
                  </a:lnTo>
                  <a:lnTo>
                    <a:pt x="50" y="119"/>
                  </a:lnTo>
                  <a:lnTo>
                    <a:pt x="55" y="115"/>
                  </a:lnTo>
                  <a:lnTo>
                    <a:pt x="55" y="110"/>
                  </a:lnTo>
                  <a:lnTo>
                    <a:pt x="55" y="105"/>
                  </a:lnTo>
                  <a:lnTo>
                    <a:pt x="55" y="101"/>
                  </a:lnTo>
                  <a:lnTo>
                    <a:pt x="50" y="96"/>
                  </a:lnTo>
                  <a:lnTo>
                    <a:pt x="55" y="96"/>
                  </a:lnTo>
                  <a:lnTo>
                    <a:pt x="64" y="92"/>
                  </a:lnTo>
                  <a:lnTo>
                    <a:pt x="68" y="96"/>
                  </a:lnTo>
                  <a:lnTo>
                    <a:pt x="73" y="101"/>
                  </a:lnTo>
                  <a:lnTo>
                    <a:pt x="78" y="105"/>
                  </a:lnTo>
                  <a:lnTo>
                    <a:pt x="82" y="105"/>
                  </a:lnTo>
                  <a:lnTo>
                    <a:pt x="82" y="110"/>
                  </a:lnTo>
                  <a:lnTo>
                    <a:pt x="87" y="110"/>
                  </a:lnTo>
                  <a:lnTo>
                    <a:pt x="91" y="110"/>
                  </a:lnTo>
                  <a:lnTo>
                    <a:pt x="91" y="110"/>
                  </a:lnTo>
                  <a:lnTo>
                    <a:pt x="96" y="110"/>
                  </a:lnTo>
                  <a:lnTo>
                    <a:pt x="96" y="110"/>
                  </a:lnTo>
                  <a:lnTo>
                    <a:pt x="96" y="115"/>
                  </a:lnTo>
                  <a:lnTo>
                    <a:pt x="100" y="115"/>
                  </a:lnTo>
                  <a:lnTo>
                    <a:pt x="105" y="115"/>
                  </a:lnTo>
                  <a:lnTo>
                    <a:pt x="105" y="119"/>
                  </a:lnTo>
                  <a:lnTo>
                    <a:pt x="110" y="119"/>
                  </a:lnTo>
                  <a:lnTo>
                    <a:pt x="114" y="119"/>
                  </a:lnTo>
                  <a:lnTo>
                    <a:pt x="114" y="124"/>
                  </a:lnTo>
                  <a:lnTo>
                    <a:pt x="119" y="124"/>
                  </a:lnTo>
                  <a:lnTo>
                    <a:pt x="119" y="128"/>
                  </a:lnTo>
                  <a:lnTo>
                    <a:pt x="119" y="128"/>
                  </a:lnTo>
                  <a:lnTo>
                    <a:pt x="128" y="128"/>
                  </a:lnTo>
                  <a:lnTo>
                    <a:pt x="132" y="133"/>
                  </a:lnTo>
                  <a:lnTo>
                    <a:pt x="142" y="137"/>
                  </a:lnTo>
                  <a:lnTo>
                    <a:pt x="160" y="137"/>
                  </a:lnTo>
                  <a:lnTo>
                    <a:pt x="164" y="137"/>
                  </a:lnTo>
                  <a:lnTo>
                    <a:pt x="174" y="137"/>
                  </a:lnTo>
                  <a:lnTo>
                    <a:pt x="178" y="137"/>
                  </a:lnTo>
                  <a:lnTo>
                    <a:pt x="187" y="137"/>
                  </a:lnTo>
                  <a:lnTo>
                    <a:pt x="196" y="137"/>
                  </a:lnTo>
                  <a:lnTo>
                    <a:pt x="201" y="137"/>
                  </a:lnTo>
                  <a:lnTo>
                    <a:pt x="206" y="133"/>
                  </a:lnTo>
                  <a:lnTo>
                    <a:pt x="206" y="128"/>
                  </a:lnTo>
                  <a:lnTo>
                    <a:pt x="210" y="128"/>
                  </a:lnTo>
                  <a:lnTo>
                    <a:pt x="215" y="128"/>
                  </a:lnTo>
                  <a:lnTo>
                    <a:pt x="224" y="128"/>
                  </a:lnTo>
                  <a:lnTo>
                    <a:pt x="228" y="128"/>
                  </a:lnTo>
                  <a:lnTo>
                    <a:pt x="228" y="128"/>
                  </a:lnTo>
                  <a:lnTo>
                    <a:pt x="233" y="128"/>
                  </a:lnTo>
                  <a:lnTo>
                    <a:pt x="233" y="128"/>
                  </a:lnTo>
                  <a:lnTo>
                    <a:pt x="238" y="128"/>
                  </a:lnTo>
                  <a:lnTo>
                    <a:pt x="242" y="133"/>
                  </a:lnTo>
                  <a:lnTo>
                    <a:pt x="247" y="133"/>
                  </a:lnTo>
                  <a:lnTo>
                    <a:pt x="251" y="133"/>
                  </a:lnTo>
                  <a:lnTo>
                    <a:pt x="256" y="133"/>
                  </a:lnTo>
                  <a:lnTo>
                    <a:pt x="260" y="133"/>
                  </a:lnTo>
                  <a:lnTo>
                    <a:pt x="260" y="137"/>
                  </a:lnTo>
                  <a:lnTo>
                    <a:pt x="265" y="137"/>
                  </a:lnTo>
                  <a:lnTo>
                    <a:pt x="270" y="142"/>
                  </a:lnTo>
                  <a:lnTo>
                    <a:pt x="270" y="147"/>
                  </a:lnTo>
                  <a:lnTo>
                    <a:pt x="274" y="151"/>
                  </a:lnTo>
                  <a:lnTo>
                    <a:pt x="274" y="151"/>
                  </a:lnTo>
                  <a:lnTo>
                    <a:pt x="274" y="151"/>
                  </a:lnTo>
                  <a:lnTo>
                    <a:pt x="279" y="151"/>
                  </a:lnTo>
                  <a:lnTo>
                    <a:pt x="279" y="156"/>
                  </a:lnTo>
                  <a:lnTo>
                    <a:pt x="283" y="156"/>
                  </a:lnTo>
                  <a:lnTo>
                    <a:pt x="283" y="160"/>
                  </a:lnTo>
                  <a:lnTo>
                    <a:pt x="288" y="165"/>
                  </a:lnTo>
                  <a:lnTo>
                    <a:pt x="292" y="165"/>
                  </a:lnTo>
                  <a:lnTo>
                    <a:pt x="292" y="169"/>
                  </a:lnTo>
                  <a:lnTo>
                    <a:pt x="292" y="169"/>
                  </a:lnTo>
                  <a:lnTo>
                    <a:pt x="297" y="174"/>
                  </a:lnTo>
                  <a:lnTo>
                    <a:pt x="297" y="174"/>
                  </a:lnTo>
                  <a:lnTo>
                    <a:pt x="302" y="174"/>
                  </a:lnTo>
                  <a:lnTo>
                    <a:pt x="306" y="174"/>
                  </a:lnTo>
                  <a:lnTo>
                    <a:pt x="311" y="179"/>
                  </a:lnTo>
                  <a:lnTo>
                    <a:pt x="315" y="183"/>
                  </a:lnTo>
                  <a:lnTo>
                    <a:pt x="315" y="183"/>
                  </a:lnTo>
                  <a:lnTo>
                    <a:pt x="320" y="188"/>
                  </a:lnTo>
                  <a:lnTo>
                    <a:pt x="334" y="188"/>
                  </a:lnTo>
                  <a:lnTo>
                    <a:pt x="338" y="188"/>
                  </a:lnTo>
                  <a:lnTo>
                    <a:pt x="338" y="188"/>
                  </a:lnTo>
                  <a:lnTo>
                    <a:pt x="343" y="188"/>
                  </a:lnTo>
                  <a:lnTo>
                    <a:pt x="343" y="192"/>
                  </a:lnTo>
                  <a:lnTo>
                    <a:pt x="352" y="197"/>
                  </a:lnTo>
                  <a:lnTo>
                    <a:pt x="356" y="197"/>
                  </a:lnTo>
                  <a:lnTo>
                    <a:pt x="361" y="197"/>
                  </a:lnTo>
                  <a:lnTo>
                    <a:pt x="361" y="197"/>
                  </a:lnTo>
                  <a:lnTo>
                    <a:pt x="366" y="197"/>
                  </a:lnTo>
                  <a:lnTo>
                    <a:pt x="370" y="197"/>
                  </a:lnTo>
                  <a:lnTo>
                    <a:pt x="375" y="197"/>
                  </a:lnTo>
                  <a:lnTo>
                    <a:pt x="379" y="192"/>
                  </a:lnTo>
                  <a:lnTo>
                    <a:pt x="384" y="192"/>
                  </a:lnTo>
                  <a:lnTo>
                    <a:pt x="388" y="188"/>
                  </a:lnTo>
                  <a:lnTo>
                    <a:pt x="393" y="183"/>
                  </a:lnTo>
                  <a:lnTo>
                    <a:pt x="398" y="183"/>
                  </a:lnTo>
                  <a:lnTo>
                    <a:pt x="398" y="179"/>
                  </a:lnTo>
                  <a:lnTo>
                    <a:pt x="402" y="179"/>
                  </a:lnTo>
                  <a:lnTo>
                    <a:pt x="402" y="174"/>
                  </a:lnTo>
                  <a:lnTo>
                    <a:pt x="407" y="174"/>
                  </a:lnTo>
                  <a:lnTo>
                    <a:pt x="411" y="174"/>
                  </a:lnTo>
                  <a:lnTo>
                    <a:pt x="420" y="174"/>
                  </a:lnTo>
                  <a:lnTo>
                    <a:pt x="425" y="174"/>
                  </a:lnTo>
                  <a:lnTo>
                    <a:pt x="425" y="174"/>
                  </a:lnTo>
                  <a:lnTo>
                    <a:pt x="425" y="174"/>
                  </a:lnTo>
                  <a:lnTo>
                    <a:pt x="430" y="174"/>
                  </a:lnTo>
                  <a:lnTo>
                    <a:pt x="430" y="179"/>
                  </a:lnTo>
                  <a:lnTo>
                    <a:pt x="430" y="188"/>
                  </a:lnTo>
                  <a:lnTo>
                    <a:pt x="434" y="192"/>
                  </a:lnTo>
                  <a:lnTo>
                    <a:pt x="434" y="197"/>
                  </a:lnTo>
                  <a:lnTo>
                    <a:pt x="430" y="220"/>
                  </a:lnTo>
                  <a:lnTo>
                    <a:pt x="430" y="238"/>
                  </a:lnTo>
                  <a:lnTo>
                    <a:pt x="430" y="243"/>
                  </a:lnTo>
                  <a:lnTo>
                    <a:pt x="425" y="247"/>
                  </a:lnTo>
                  <a:lnTo>
                    <a:pt x="425" y="252"/>
                  </a:lnTo>
                  <a:lnTo>
                    <a:pt x="425" y="256"/>
                  </a:lnTo>
                  <a:lnTo>
                    <a:pt x="425" y="256"/>
                  </a:lnTo>
                  <a:lnTo>
                    <a:pt x="420" y="261"/>
                  </a:lnTo>
                  <a:lnTo>
                    <a:pt x="420" y="261"/>
                  </a:lnTo>
                  <a:lnTo>
                    <a:pt x="416" y="261"/>
                  </a:lnTo>
                  <a:lnTo>
                    <a:pt x="411" y="270"/>
                  </a:lnTo>
                  <a:lnTo>
                    <a:pt x="407" y="270"/>
                  </a:lnTo>
                  <a:lnTo>
                    <a:pt x="407" y="275"/>
                  </a:lnTo>
                  <a:lnTo>
                    <a:pt x="402" y="275"/>
                  </a:lnTo>
                  <a:lnTo>
                    <a:pt x="402" y="275"/>
                  </a:lnTo>
                  <a:lnTo>
                    <a:pt x="402" y="279"/>
                  </a:lnTo>
                  <a:lnTo>
                    <a:pt x="398" y="279"/>
                  </a:lnTo>
                  <a:lnTo>
                    <a:pt x="393" y="284"/>
                  </a:lnTo>
                  <a:lnTo>
                    <a:pt x="388" y="284"/>
                  </a:lnTo>
                  <a:lnTo>
                    <a:pt x="388" y="284"/>
                  </a:lnTo>
                  <a:lnTo>
                    <a:pt x="384" y="284"/>
                  </a:lnTo>
                  <a:lnTo>
                    <a:pt x="384" y="288"/>
                  </a:lnTo>
                  <a:lnTo>
                    <a:pt x="379" y="288"/>
                  </a:lnTo>
                  <a:lnTo>
                    <a:pt x="375" y="297"/>
                  </a:lnTo>
                  <a:lnTo>
                    <a:pt x="370" y="297"/>
                  </a:lnTo>
                  <a:lnTo>
                    <a:pt x="366" y="297"/>
                  </a:lnTo>
                  <a:lnTo>
                    <a:pt x="366" y="302"/>
                  </a:lnTo>
                  <a:lnTo>
                    <a:pt x="361" y="302"/>
                  </a:lnTo>
                  <a:lnTo>
                    <a:pt x="361" y="307"/>
                  </a:lnTo>
                  <a:lnTo>
                    <a:pt x="356" y="311"/>
                  </a:lnTo>
                  <a:lnTo>
                    <a:pt x="356" y="316"/>
                  </a:lnTo>
                  <a:lnTo>
                    <a:pt x="352" y="316"/>
                  </a:lnTo>
                  <a:lnTo>
                    <a:pt x="352" y="320"/>
                  </a:lnTo>
                  <a:lnTo>
                    <a:pt x="347" y="320"/>
                  </a:lnTo>
                  <a:lnTo>
                    <a:pt x="347" y="325"/>
                  </a:lnTo>
                  <a:lnTo>
                    <a:pt x="347" y="329"/>
                  </a:lnTo>
                  <a:lnTo>
                    <a:pt x="347" y="329"/>
                  </a:lnTo>
                  <a:lnTo>
                    <a:pt x="343" y="348"/>
                  </a:lnTo>
                  <a:lnTo>
                    <a:pt x="343" y="348"/>
                  </a:lnTo>
                  <a:lnTo>
                    <a:pt x="343" y="361"/>
                  </a:lnTo>
                  <a:lnTo>
                    <a:pt x="343" y="371"/>
                  </a:lnTo>
                  <a:lnTo>
                    <a:pt x="343" y="371"/>
                  </a:lnTo>
                  <a:lnTo>
                    <a:pt x="343" y="375"/>
                  </a:lnTo>
                  <a:lnTo>
                    <a:pt x="347" y="380"/>
                  </a:lnTo>
                  <a:lnTo>
                    <a:pt x="347" y="389"/>
                  </a:lnTo>
                  <a:lnTo>
                    <a:pt x="347" y="393"/>
                  </a:lnTo>
                  <a:lnTo>
                    <a:pt x="352" y="393"/>
                  </a:lnTo>
                  <a:lnTo>
                    <a:pt x="352" y="393"/>
                  </a:lnTo>
                  <a:lnTo>
                    <a:pt x="356" y="398"/>
                  </a:lnTo>
                  <a:lnTo>
                    <a:pt x="361" y="403"/>
                  </a:lnTo>
                  <a:lnTo>
                    <a:pt x="361" y="407"/>
                  </a:lnTo>
                  <a:lnTo>
                    <a:pt x="366" y="412"/>
                  </a:lnTo>
                  <a:lnTo>
                    <a:pt x="370" y="416"/>
                  </a:lnTo>
                  <a:lnTo>
                    <a:pt x="375" y="421"/>
                  </a:lnTo>
                  <a:lnTo>
                    <a:pt x="375" y="425"/>
                  </a:lnTo>
                  <a:lnTo>
                    <a:pt x="375" y="430"/>
                  </a:lnTo>
                  <a:lnTo>
                    <a:pt x="375" y="435"/>
                  </a:lnTo>
                  <a:lnTo>
                    <a:pt x="375" y="439"/>
                  </a:lnTo>
                  <a:lnTo>
                    <a:pt x="370" y="439"/>
                  </a:lnTo>
                  <a:lnTo>
                    <a:pt x="370" y="444"/>
                  </a:lnTo>
                  <a:lnTo>
                    <a:pt x="370" y="448"/>
                  </a:lnTo>
                  <a:lnTo>
                    <a:pt x="375" y="453"/>
                  </a:lnTo>
                  <a:lnTo>
                    <a:pt x="384" y="457"/>
                  </a:lnTo>
                  <a:lnTo>
                    <a:pt x="388" y="457"/>
                  </a:lnTo>
                  <a:lnTo>
                    <a:pt x="393" y="457"/>
                  </a:lnTo>
                  <a:lnTo>
                    <a:pt x="398" y="457"/>
                  </a:lnTo>
                  <a:lnTo>
                    <a:pt x="402" y="457"/>
                  </a:lnTo>
                  <a:lnTo>
                    <a:pt x="411" y="457"/>
                  </a:lnTo>
                  <a:lnTo>
                    <a:pt x="411" y="457"/>
                  </a:lnTo>
                  <a:lnTo>
                    <a:pt x="416" y="453"/>
                  </a:lnTo>
                  <a:lnTo>
                    <a:pt x="420" y="453"/>
                  </a:lnTo>
                  <a:lnTo>
                    <a:pt x="420" y="448"/>
                  </a:lnTo>
                  <a:lnTo>
                    <a:pt x="420" y="439"/>
                  </a:lnTo>
                  <a:lnTo>
                    <a:pt x="420" y="430"/>
                  </a:lnTo>
                  <a:lnTo>
                    <a:pt x="420" y="421"/>
                  </a:lnTo>
                  <a:lnTo>
                    <a:pt x="420" y="416"/>
                  </a:lnTo>
                  <a:lnTo>
                    <a:pt x="420" y="416"/>
                  </a:lnTo>
                  <a:lnTo>
                    <a:pt x="425" y="416"/>
                  </a:lnTo>
                  <a:lnTo>
                    <a:pt x="425" y="412"/>
                  </a:lnTo>
                  <a:lnTo>
                    <a:pt x="425" y="407"/>
                  </a:lnTo>
                  <a:lnTo>
                    <a:pt x="425" y="407"/>
                  </a:lnTo>
                  <a:lnTo>
                    <a:pt x="425" y="403"/>
                  </a:lnTo>
                  <a:lnTo>
                    <a:pt x="430" y="403"/>
                  </a:lnTo>
                  <a:lnTo>
                    <a:pt x="434" y="403"/>
                  </a:lnTo>
                  <a:lnTo>
                    <a:pt x="439" y="403"/>
                  </a:lnTo>
                  <a:lnTo>
                    <a:pt x="443" y="403"/>
                  </a:lnTo>
                  <a:lnTo>
                    <a:pt x="457" y="407"/>
                  </a:lnTo>
                  <a:lnTo>
                    <a:pt x="466" y="412"/>
                  </a:lnTo>
                  <a:lnTo>
                    <a:pt x="471" y="412"/>
                  </a:lnTo>
                  <a:lnTo>
                    <a:pt x="475" y="412"/>
                  </a:lnTo>
                  <a:lnTo>
                    <a:pt x="480" y="412"/>
                  </a:lnTo>
                  <a:lnTo>
                    <a:pt x="484" y="412"/>
                  </a:lnTo>
                  <a:lnTo>
                    <a:pt x="489" y="412"/>
                  </a:lnTo>
                  <a:lnTo>
                    <a:pt x="494" y="412"/>
                  </a:lnTo>
                  <a:lnTo>
                    <a:pt x="494" y="412"/>
                  </a:lnTo>
                  <a:lnTo>
                    <a:pt x="498" y="407"/>
                  </a:lnTo>
                  <a:lnTo>
                    <a:pt x="503" y="403"/>
                  </a:lnTo>
                  <a:lnTo>
                    <a:pt x="507" y="403"/>
                  </a:lnTo>
                  <a:lnTo>
                    <a:pt x="512" y="398"/>
                  </a:lnTo>
                  <a:lnTo>
                    <a:pt x="512" y="393"/>
                  </a:lnTo>
                  <a:lnTo>
                    <a:pt x="512" y="393"/>
                  </a:lnTo>
                  <a:lnTo>
                    <a:pt x="512" y="389"/>
                  </a:lnTo>
                  <a:lnTo>
                    <a:pt x="512" y="384"/>
                  </a:lnTo>
                  <a:lnTo>
                    <a:pt x="512" y="380"/>
                  </a:lnTo>
                  <a:lnTo>
                    <a:pt x="512" y="375"/>
                  </a:lnTo>
                  <a:lnTo>
                    <a:pt x="512" y="371"/>
                  </a:lnTo>
                  <a:lnTo>
                    <a:pt x="512" y="371"/>
                  </a:lnTo>
                  <a:lnTo>
                    <a:pt x="507" y="366"/>
                  </a:lnTo>
                  <a:lnTo>
                    <a:pt x="503" y="361"/>
                  </a:lnTo>
                  <a:lnTo>
                    <a:pt x="503" y="348"/>
                  </a:lnTo>
                  <a:lnTo>
                    <a:pt x="498" y="348"/>
                  </a:lnTo>
                  <a:lnTo>
                    <a:pt x="498" y="348"/>
                  </a:lnTo>
                  <a:lnTo>
                    <a:pt x="498" y="343"/>
                  </a:lnTo>
                  <a:lnTo>
                    <a:pt x="494" y="343"/>
                  </a:lnTo>
                  <a:lnTo>
                    <a:pt x="494" y="339"/>
                  </a:lnTo>
                  <a:lnTo>
                    <a:pt x="489" y="339"/>
                  </a:lnTo>
                  <a:lnTo>
                    <a:pt x="480" y="334"/>
                  </a:lnTo>
                  <a:lnTo>
                    <a:pt x="480" y="329"/>
                  </a:lnTo>
                  <a:lnTo>
                    <a:pt x="480" y="329"/>
                  </a:lnTo>
                  <a:lnTo>
                    <a:pt x="480" y="325"/>
                  </a:lnTo>
                  <a:lnTo>
                    <a:pt x="480" y="320"/>
                  </a:lnTo>
                  <a:lnTo>
                    <a:pt x="480" y="307"/>
                  </a:lnTo>
                  <a:lnTo>
                    <a:pt x="480" y="293"/>
                  </a:lnTo>
                  <a:lnTo>
                    <a:pt x="480" y="284"/>
                  </a:lnTo>
                  <a:lnTo>
                    <a:pt x="480" y="275"/>
                  </a:lnTo>
                  <a:lnTo>
                    <a:pt x="475" y="270"/>
                  </a:lnTo>
                  <a:lnTo>
                    <a:pt x="471" y="261"/>
                  </a:lnTo>
                  <a:lnTo>
                    <a:pt x="471" y="243"/>
                  </a:lnTo>
                  <a:lnTo>
                    <a:pt x="471" y="238"/>
                  </a:lnTo>
                  <a:lnTo>
                    <a:pt x="471" y="233"/>
                  </a:lnTo>
                  <a:lnTo>
                    <a:pt x="471" y="233"/>
                  </a:lnTo>
                  <a:lnTo>
                    <a:pt x="471" y="229"/>
                  </a:lnTo>
                  <a:lnTo>
                    <a:pt x="475" y="229"/>
                  </a:lnTo>
                  <a:lnTo>
                    <a:pt x="480" y="233"/>
                  </a:lnTo>
                  <a:lnTo>
                    <a:pt x="489" y="233"/>
                  </a:lnTo>
                  <a:lnTo>
                    <a:pt x="494" y="238"/>
                  </a:lnTo>
                  <a:lnTo>
                    <a:pt x="494" y="238"/>
                  </a:lnTo>
                  <a:lnTo>
                    <a:pt x="498" y="238"/>
                  </a:lnTo>
                  <a:lnTo>
                    <a:pt x="503" y="238"/>
                  </a:lnTo>
                  <a:lnTo>
                    <a:pt x="512" y="238"/>
                  </a:lnTo>
                  <a:lnTo>
                    <a:pt x="512" y="238"/>
                  </a:lnTo>
                  <a:lnTo>
                    <a:pt x="521" y="238"/>
                  </a:lnTo>
                  <a:lnTo>
                    <a:pt x="526" y="238"/>
                  </a:lnTo>
                  <a:lnTo>
                    <a:pt x="535" y="238"/>
                  </a:lnTo>
                  <a:lnTo>
                    <a:pt x="535" y="233"/>
                  </a:lnTo>
                  <a:lnTo>
                    <a:pt x="539" y="233"/>
                  </a:lnTo>
                  <a:lnTo>
                    <a:pt x="544" y="229"/>
                  </a:lnTo>
                  <a:lnTo>
                    <a:pt x="548" y="229"/>
                  </a:lnTo>
                  <a:lnTo>
                    <a:pt x="553" y="224"/>
                  </a:lnTo>
                  <a:lnTo>
                    <a:pt x="558" y="224"/>
                  </a:lnTo>
                  <a:lnTo>
                    <a:pt x="558" y="224"/>
                  </a:lnTo>
                  <a:lnTo>
                    <a:pt x="562" y="220"/>
                  </a:lnTo>
                  <a:lnTo>
                    <a:pt x="571" y="220"/>
                  </a:lnTo>
                  <a:lnTo>
                    <a:pt x="576" y="220"/>
                  </a:lnTo>
                  <a:lnTo>
                    <a:pt x="580" y="220"/>
                  </a:lnTo>
                  <a:lnTo>
                    <a:pt x="580" y="215"/>
                  </a:lnTo>
                  <a:lnTo>
                    <a:pt x="585" y="215"/>
                  </a:lnTo>
                  <a:lnTo>
                    <a:pt x="590" y="211"/>
                  </a:lnTo>
                  <a:lnTo>
                    <a:pt x="590" y="206"/>
                  </a:lnTo>
                  <a:lnTo>
                    <a:pt x="590" y="201"/>
                  </a:lnTo>
                  <a:lnTo>
                    <a:pt x="590" y="197"/>
                  </a:lnTo>
                  <a:lnTo>
                    <a:pt x="585" y="197"/>
                  </a:lnTo>
                  <a:lnTo>
                    <a:pt x="580" y="197"/>
                  </a:lnTo>
                  <a:lnTo>
                    <a:pt x="580" y="192"/>
                  </a:lnTo>
                  <a:lnTo>
                    <a:pt x="580" y="192"/>
                  </a:lnTo>
                  <a:lnTo>
                    <a:pt x="571" y="192"/>
                  </a:lnTo>
                  <a:lnTo>
                    <a:pt x="571" y="188"/>
                  </a:lnTo>
                  <a:lnTo>
                    <a:pt x="567" y="188"/>
                  </a:lnTo>
                  <a:lnTo>
                    <a:pt x="562" y="188"/>
                  </a:lnTo>
                  <a:lnTo>
                    <a:pt x="558" y="183"/>
                  </a:lnTo>
                  <a:lnTo>
                    <a:pt x="558" y="179"/>
                  </a:lnTo>
                  <a:lnTo>
                    <a:pt x="558" y="174"/>
                  </a:lnTo>
                  <a:lnTo>
                    <a:pt x="558" y="174"/>
                  </a:lnTo>
                  <a:lnTo>
                    <a:pt x="558" y="174"/>
                  </a:lnTo>
                  <a:lnTo>
                    <a:pt x="562" y="174"/>
                  </a:lnTo>
                  <a:lnTo>
                    <a:pt x="567" y="165"/>
                  </a:lnTo>
                  <a:lnTo>
                    <a:pt x="567" y="160"/>
                  </a:lnTo>
                  <a:lnTo>
                    <a:pt x="571" y="156"/>
                  </a:lnTo>
                  <a:lnTo>
                    <a:pt x="571" y="151"/>
                  </a:lnTo>
                  <a:lnTo>
                    <a:pt x="571" y="142"/>
                  </a:lnTo>
                  <a:lnTo>
                    <a:pt x="567" y="133"/>
                  </a:lnTo>
                  <a:lnTo>
                    <a:pt x="562" y="119"/>
                  </a:lnTo>
                  <a:lnTo>
                    <a:pt x="562" y="115"/>
                  </a:lnTo>
                  <a:lnTo>
                    <a:pt x="558" y="110"/>
                  </a:lnTo>
                  <a:lnTo>
                    <a:pt x="558" y="110"/>
                  </a:lnTo>
                  <a:lnTo>
                    <a:pt x="558" y="110"/>
                  </a:lnTo>
                  <a:lnTo>
                    <a:pt x="553" y="110"/>
                  </a:lnTo>
                  <a:lnTo>
                    <a:pt x="553" y="105"/>
                  </a:lnTo>
                  <a:lnTo>
                    <a:pt x="548" y="105"/>
                  </a:lnTo>
                  <a:lnTo>
                    <a:pt x="535" y="101"/>
                  </a:lnTo>
                  <a:lnTo>
                    <a:pt x="526" y="101"/>
                  </a:lnTo>
                  <a:lnTo>
                    <a:pt x="516" y="101"/>
                  </a:lnTo>
                  <a:lnTo>
                    <a:pt x="512" y="101"/>
                  </a:lnTo>
                  <a:lnTo>
                    <a:pt x="512" y="96"/>
                  </a:lnTo>
                  <a:lnTo>
                    <a:pt x="512" y="96"/>
                  </a:lnTo>
                  <a:lnTo>
                    <a:pt x="507" y="92"/>
                  </a:lnTo>
                  <a:lnTo>
                    <a:pt x="503" y="87"/>
                  </a:lnTo>
                  <a:lnTo>
                    <a:pt x="498" y="87"/>
                  </a:lnTo>
                  <a:lnTo>
                    <a:pt x="494" y="87"/>
                  </a:lnTo>
                  <a:lnTo>
                    <a:pt x="494" y="83"/>
                  </a:lnTo>
                  <a:lnTo>
                    <a:pt x="489" y="83"/>
                  </a:lnTo>
                  <a:lnTo>
                    <a:pt x="484" y="78"/>
                  </a:lnTo>
                  <a:lnTo>
                    <a:pt x="480" y="78"/>
                  </a:lnTo>
                  <a:lnTo>
                    <a:pt x="471" y="69"/>
                  </a:lnTo>
                  <a:lnTo>
                    <a:pt x="471" y="69"/>
                  </a:lnTo>
                  <a:lnTo>
                    <a:pt x="466" y="64"/>
                  </a:lnTo>
                  <a:lnTo>
                    <a:pt x="462" y="64"/>
                  </a:lnTo>
                  <a:lnTo>
                    <a:pt x="452" y="60"/>
                  </a:lnTo>
                  <a:lnTo>
                    <a:pt x="448" y="60"/>
                  </a:lnTo>
                  <a:lnTo>
                    <a:pt x="448" y="55"/>
                  </a:lnTo>
                  <a:lnTo>
                    <a:pt x="448" y="55"/>
                  </a:lnTo>
                  <a:lnTo>
                    <a:pt x="443" y="51"/>
                  </a:lnTo>
                  <a:lnTo>
                    <a:pt x="443" y="46"/>
                  </a:lnTo>
                  <a:lnTo>
                    <a:pt x="443" y="41"/>
                  </a:lnTo>
                  <a:lnTo>
                    <a:pt x="443" y="41"/>
                  </a:lnTo>
                  <a:lnTo>
                    <a:pt x="448" y="37"/>
                  </a:lnTo>
                  <a:lnTo>
                    <a:pt x="448" y="37"/>
                  </a:lnTo>
                  <a:lnTo>
                    <a:pt x="457" y="32"/>
                  </a:lnTo>
                  <a:lnTo>
                    <a:pt x="462" y="28"/>
                  </a:lnTo>
                  <a:lnTo>
                    <a:pt x="466" y="28"/>
                  </a:lnTo>
                  <a:lnTo>
                    <a:pt x="471" y="28"/>
                  </a:lnTo>
                  <a:lnTo>
                    <a:pt x="471" y="23"/>
                  </a:lnTo>
                  <a:lnTo>
                    <a:pt x="471" y="23"/>
                  </a:lnTo>
                  <a:lnTo>
                    <a:pt x="471" y="19"/>
                  </a:lnTo>
                  <a:lnTo>
                    <a:pt x="475" y="19"/>
                  </a:lnTo>
                  <a:lnTo>
                    <a:pt x="480" y="19"/>
                  </a:lnTo>
                  <a:lnTo>
                    <a:pt x="484" y="19"/>
                  </a:lnTo>
                  <a:lnTo>
                    <a:pt x="489" y="19"/>
                  </a:lnTo>
                  <a:lnTo>
                    <a:pt x="494" y="19"/>
                  </a:lnTo>
                  <a:lnTo>
                    <a:pt x="494" y="19"/>
                  </a:lnTo>
                  <a:lnTo>
                    <a:pt x="494" y="14"/>
                  </a:lnTo>
                  <a:lnTo>
                    <a:pt x="507" y="14"/>
                  </a:lnTo>
                  <a:lnTo>
                    <a:pt x="535" y="9"/>
                  </a:lnTo>
                  <a:lnTo>
                    <a:pt x="544" y="5"/>
                  </a:lnTo>
                  <a:lnTo>
                    <a:pt x="558" y="5"/>
                  </a:lnTo>
                  <a:lnTo>
                    <a:pt x="562" y="0"/>
                  </a:lnTo>
                  <a:lnTo>
                    <a:pt x="576" y="0"/>
                  </a:lnTo>
                  <a:lnTo>
                    <a:pt x="594" y="0"/>
                  </a:lnTo>
                  <a:lnTo>
                    <a:pt x="608" y="0"/>
                  </a:lnTo>
                  <a:lnTo>
                    <a:pt x="617" y="0"/>
                  </a:lnTo>
                  <a:lnTo>
                    <a:pt x="622" y="0"/>
                  </a:lnTo>
                  <a:lnTo>
                    <a:pt x="626" y="0"/>
                  </a:lnTo>
                  <a:lnTo>
                    <a:pt x="640" y="0"/>
                  </a:lnTo>
                  <a:lnTo>
                    <a:pt x="644" y="0"/>
                  </a:lnTo>
                  <a:lnTo>
                    <a:pt x="644" y="0"/>
                  </a:lnTo>
                  <a:lnTo>
                    <a:pt x="649" y="5"/>
                  </a:lnTo>
                  <a:lnTo>
                    <a:pt x="654" y="5"/>
                  </a:lnTo>
                  <a:lnTo>
                    <a:pt x="663" y="9"/>
                  </a:lnTo>
                  <a:lnTo>
                    <a:pt x="663" y="14"/>
                  </a:lnTo>
                  <a:lnTo>
                    <a:pt x="667" y="14"/>
                  </a:lnTo>
                  <a:lnTo>
                    <a:pt x="667" y="19"/>
                  </a:lnTo>
                  <a:lnTo>
                    <a:pt x="667" y="19"/>
                  </a:lnTo>
                  <a:lnTo>
                    <a:pt x="672" y="28"/>
                  </a:lnTo>
                  <a:lnTo>
                    <a:pt x="672" y="32"/>
                  </a:lnTo>
                  <a:lnTo>
                    <a:pt x="672" y="37"/>
                  </a:lnTo>
                  <a:lnTo>
                    <a:pt x="676" y="41"/>
                  </a:lnTo>
                  <a:lnTo>
                    <a:pt x="676" y="41"/>
                  </a:lnTo>
                  <a:lnTo>
                    <a:pt x="676" y="51"/>
                  </a:lnTo>
                  <a:lnTo>
                    <a:pt x="681" y="55"/>
                  </a:lnTo>
                  <a:lnTo>
                    <a:pt x="681" y="64"/>
                  </a:lnTo>
                  <a:lnTo>
                    <a:pt x="686" y="69"/>
                  </a:lnTo>
                  <a:lnTo>
                    <a:pt x="686" y="83"/>
                  </a:lnTo>
                  <a:lnTo>
                    <a:pt x="690" y="96"/>
                  </a:lnTo>
                  <a:lnTo>
                    <a:pt x="690" y="101"/>
                  </a:lnTo>
                  <a:lnTo>
                    <a:pt x="690" y="105"/>
                  </a:lnTo>
                  <a:lnTo>
                    <a:pt x="695" y="110"/>
                  </a:lnTo>
                  <a:lnTo>
                    <a:pt x="695" y="115"/>
                  </a:lnTo>
                  <a:lnTo>
                    <a:pt x="704" y="124"/>
                  </a:lnTo>
                  <a:lnTo>
                    <a:pt x="708" y="128"/>
                  </a:lnTo>
                  <a:lnTo>
                    <a:pt x="713" y="128"/>
                  </a:lnTo>
                  <a:lnTo>
                    <a:pt x="718" y="128"/>
                  </a:lnTo>
                  <a:lnTo>
                    <a:pt x="722" y="128"/>
                  </a:lnTo>
                  <a:lnTo>
                    <a:pt x="722" y="133"/>
                  </a:lnTo>
                  <a:lnTo>
                    <a:pt x="731" y="133"/>
                  </a:lnTo>
                  <a:lnTo>
                    <a:pt x="731" y="137"/>
                  </a:lnTo>
                  <a:lnTo>
                    <a:pt x="731" y="137"/>
                  </a:lnTo>
                  <a:lnTo>
                    <a:pt x="736" y="137"/>
                  </a:lnTo>
                  <a:lnTo>
                    <a:pt x="745" y="142"/>
                  </a:lnTo>
                  <a:lnTo>
                    <a:pt x="750" y="142"/>
                  </a:lnTo>
                  <a:lnTo>
                    <a:pt x="759" y="142"/>
                  </a:lnTo>
                  <a:lnTo>
                    <a:pt x="772" y="142"/>
                  </a:lnTo>
                  <a:lnTo>
                    <a:pt x="791" y="142"/>
                  </a:lnTo>
                  <a:lnTo>
                    <a:pt x="804" y="142"/>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Niger</a:t>
              </a:r>
            </a:p>
          </p:txBody>
        </p:sp>
        <p:sp>
          <p:nvSpPr>
            <p:cNvPr id="151" name="Freeform 70">
              <a:extLst>
                <a:ext uri="{FF2B5EF4-FFF2-40B4-BE49-F238E27FC236}">
                  <a16:creationId xmlns:a16="http://schemas.microsoft.com/office/drawing/2014/main" id="{00C84915-F540-4D6D-8B23-25FD2022031E}"/>
                </a:ext>
              </a:extLst>
            </p:cNvPr>
            <p:cNvSpPr>
              <a:spLocks/>
            </p:cNvSpPr>
            <p:nvPr>
              <p:custDataLst>
                <p:tags r:id="rId63"/>
              </p:custDataLst>
            </p:nvPr>
          </p:nvSpPr>
          <p:spPr bwMode="auto">
            <a:xfrm>
              <a:off x="139752" y="3066296"/>
              <a:ext cx="630677" cy="643087"/>
            </a:xfrm>
            <a:custGeom>
              <a:avLst/>
              <a:gdLst/>
              <a:ahLst/>
              <a:cxnLst>
                <a:cxn ang="0">
                  <a:pos x="251" y="499"/>
                </a:cxn>
                <a:cxn ang="0">
                  <a:pos x="206" y="494"/>
                </a:cxn>
                <a:cxn ang="0">
                  <a:pos x="178" y="544"/>
                </a:cxn>
                <a:cxn ang="0">
                  <a:pos x="133" y="549"/>
                </a:cxn>
                <a:cxn ang="0">
                  <a:pos x="73" y="544"/>
                </a:cxn>
                <a:cxn ang="0">
                  <a:pos x="46" y="567"/>
                </a:cxn>
                <a:cxn ang="0">
                  <a:pos x="32" y="535"/>
                </a:cxn>
                <a:cxn ang="0">
                  <a:pos x="41" y="476"/>
                </a:cxn>
                <a:cxn ang="0">
                  <a:pos x="23" y="457"/>
                </a:cxn>
                <a:cxn ang="0">
                  <a:pos x="27" y="412"/>
                </a:cxn>
                <a:cxn ang="0">
                  <a:pos x="23" y="375"/>
                </a:cxn>
                <a:cxn ang="0">
                  <a:pos x="32" y="348"/>
                </a:cxn>
                <a:cxn ang="0">
                  <a:pos x="41" y="297"/>
                </a:cxn>
                <a:cxn ang="0">
                  <a:pos x="27" y="215"/>
                </a:cxn>
                <a:cxn ang="0">
                  <a:pos x="46" y="188"/>
                </a:cxn>
                <a:cxn ang="0">
                  <a:pos x="23" y="160"/>
                </a:cxn>
                <a:cxn ang="0">
                  <a:pos x="23" y="83"/>
                </a:cxn>
                <a:cxn ang="0">
                  <a:pos x="0" y="37"/>
                </a:cxn>
                <a:cxn ang="0">
                  <a:pos x="23" y="0"/>
                </a:cxn>
                <a:cxn ang="0">
                  <a:pos x="69" y="9"/>
                </a:cxn>
                <a:cxn ang="0">
                  <a:pos x="73" y="69"/>
                </a:cxn>
                <a:cxn ang="0">
                  <a:pos x="91" y="46"/>
                </a:cxn>
                <a:cxn ang="0">
                  <a:pos x="110" y="78"/>
                </a:cxn>
                <a:cxn ang="0">
                  <a:pos x="110" y="137"/>
                </a:cxn>
                <a:cxn ang="0">
                  <a:pos x="133" y="169"/>
                </a:cxn>
                <a:cxn ang="0">
                  <a:pos x="155" y="197"/>
                </a:cxn>
                <a:cxn ang="0">
                  <a:pos x="178" y="229"/>
                </a:cxn>
                <a:cxn ang="0">
                  <a:pos x="219" y="243"/>
                </a:cxn>
                <a:cxn ang="0">
                  <a:pos x="247" y="220"/>
                </a:cxn>
                <a:cxn ang="0">
                  <a:pos x="270" y="192"/>
                </a:cxn>
                <a:cxn ang="0">
                  <a:pos x="311" y="206"/>
                </a:cxn>
                <a:cxn ang="0">
                  <a:pos x="361" y="215"/>
                </a:cxn>
                <a:cxn ang="0">
                  <a:pos x="375" y="247"/>
                </a:cxn>
                <a:cxn ang="0">
                  <a:pos x="398" y="284"/>
                </a:cxn>
                <a:cxn ang="0">
                  <a:pos x="389" y="329"/>
                </a:cxn>
                <a:cxn ang="0">
                  <a:pos x="421" y="352"/>
                </a:cxn>
                <a:cxn ang="0">
                  <a:pos x="480" y="343"/>
                </a:cxn>
                <a:cxn ang="0">
                  <a:pos x="507" y="325"/>
                </a:cxn>
                <a:cxn ang="0">
                  <a:pos x="549" y="316"/>
                </a:cxn>
                <a:cxn ang="0">
                  <a:pos x="576" y="361"/>
                </a:cxn>
                <a:cxn ang="0">
                  <a:pos x="617" y="352"/>
                </a:cxn>
                <a:cxn ang="0">
                  <a:pos x="667" y="380"/>
                </a:cxn>
                <a:cxn ang="0">
                  <a:pos x="704" y="403"/>
                </a:cxn>
                <a:cxn ang="0">
                  <a:pos x="663" y="462"/>
                </a:cxn>
                <a:cxn ang="0">
                  <a:pos x="635" y="517"/>
                </a:cxn>
                <a:cxn ang="0">
                  <a:pos x="690" y="531"/>
                </a:cxn>
                <a:cxn ang="0">
                  <a:pos x="718" y="512"/>
                </a:cxn>
                <a:cxn ang="0">
                  <a:pos x="722" y="553"/>
                </a:cxn>
                <a:cxn ang="0">
                  <a:pos x="699" y="590"/>
                </a:cxn>
                <a:cxn ang="0">
                  <a:pos x="699" y="604"/>
                </a:cxn>
                <a:cxn ang="0">
                  <a:pos x="713" y="631"/>
                </a:cxn>
                <a:cxn ang="0">
                  <a:pos x="658" y="617"/>
                </a:cxn>
                <a:cxn ang="0">
                  <a:pos x="599" y="576"/>
                </a:cxn>
                <a:cxn ang="0">
                  <a:pos x="549" y="558"/>
                </a:cxn>
                <a:cxn ang="0">
                  <a:pos x="576" y="535"/>
                </a:cxn>
                <a:cxn ang="0">
                  <a:pos x="549" y="531"/>
                </a:cxn>
                <a:cxn ang="0">
                  <a:pos x="521" y="517"/>
                </a:cxn>
                <a:cxn ang="0">
                  <a:pos x="544" y="485"/>
                </a:cxn>
              </a:cxnLst>
              <a:rect l="0" t="0" r="r" b="b"/>
              <a:pathLst>
                <a:path w="722" h="636">
                  <a:moveTo>
                    <a:pt x="279" y="485"/>
                  </a:moveTo>
                  <a:lnTo>
                    <a:pt x="279" y="489"/>
                  </a:lnTo>
                  <a:lnTo>
                    <a:pt x="279" y="494"/>
                  </a:lnTo>
                  <a:lnTo>
                    <a:pt x="279" y="499"/>
                  </a:lnTo>
                  <a:lnTo>
                    <a:pt x="270" y="499"/>
                  </a:lnTo>
                  <a:lnTo>
                    <a:pt x="265" y="503"/>
                  </a:lnTo>
                  <a:lnTo>
                    <a:pt x="265" y="503"/>
                  </a:lnTo>
                  <a:lnTo>
                    <a:pt x="261" y="503"/>
                  </a:lnTo>
                  <a:lnTo>
                    <a:pt x="256" y="503"/>
                  </a:lnTo>
                  <a:lnTo>
                    <a:pt x="251" y="499"/>
                  </a:lnTo>
                  <a:lnTo>
                    <a:pt x="247" y="494"/>
                  </a:lnTo>
                  <a:lnTo>
                    <a:pt x="242" y="485"/>
                  </a:lnTo>
                  <a:lnTo>
                    <a:pt x="242" y="485"/>
                  </a:lnTo>
                  <a:lnTo>
                    <a:pt x="233" y="485"/>
                  </a:lnTo>
                  <a:lnTo>
                    <a:pt x="219" y="485"/>
                  </a:lnTo>
                  <a:lnTo>
                    <a:pt x="215" y="485"/>
                  </a:lnTo>
                  <a:lnTo>
                    <a:pt x="210" y="485"/>
                  </a:lnTo>
                  <a:lnTo>
                    <a:pt x="210" y="485"/>
                  </a:lnTo>
                  <a:lnTo>
                    <a:pt x="206" y="489"/>
                  </a:lnTo>
                  <a:lnTo>
                    <a:pt x="206" y="494"/>
                  </a:lnTo>
                  <a:lnTo>
                    <a:pt x="206" y="499"/>
                  </a:lnTo>
                  <a:lnTo>
                    <a:pt x="197" y="508"/>
                  </a:lnTo>
                  <a:lnTo>
                    <a:pt x="197" y="512"/>
                  </a:lnTo>
                  <a:lnTo>
                    <a:pt x="197" y="512"/>
                  </a:lnTo>
                  <a:lnTo>
                    <a:pt x="197" y="517"/>
                  </a:lnTo>
                  <a:lnTo>
                    <a:pt x="192" y="521"/>
                  </a:lnTo>
                  <a:lnTo>
                    <a:pt x="192" y="526"/>
                  </a:lnTo>
                  <a:lnTo>
                    <a:pt x="187" y="535"/>
                  </a:lnTo>
                  <a:lnTo>
                    <a:pt x="183" y="540"/>
                  </a:lnTo>
                  <a:lnTo>
                    <a:pt x="178" y="544"/>
                  </a:lnTo>
                  <a:lnTo>
                    <a:pt x="178" y="549"/>
                  </a:lnTo>
                  <a:lnTo>
                    <a:pt x="174" y="549"/>
                  </a:lnTo>
                  <a:lnTo>
                    <a:pt x="169" y="549"/>
                  </a:lnTo>
                  <a:lnTo>
                    <a:pt x="165" y="549"/>
                  </a:lnTo>
                  <a:lnTo>
                    <a:pt x="155" y="549"/>
                  </a:lnTo>
                  <a:lnTo>
                    <a:pt x="155" y="549"/>
                  </a:lnTo>
                  <a:lnTo>
                    <a:pt x="146" y="549"/>
                  </a:lnTo>
                  <a:lnTo>
                    <a:pt x="142" y="549"/>
                  </a:lnTo>
                  <a:lnTo>
                    <a:pt x="133" y="549"/>
                  </a:lnTo>
                  <a:lnTo>
                    <a:pt x="133" y="549"/>
                  </a:lnTo>
                  <a:lnTo>
                    <a:pt x="128" y="549"/>
                  </a:lnTo>
                  <a:lnTo>
                    <a:pt x="123" y="549"/>
                  </a:lnTo>
                  <a:lnTo>
                    <a:pt x="114" y="549"/>
                  </a:lnTo>
                  <a:lnTo>
                    <a:pt x="110" y="549"/>
                  </a:lnTo>
                  <a:lnTo>
                    <a:pt x="101" y="549"/>
                  </a:lnTo>
                  <a:lnTo>
                    <a:pt x="96" y="549"/>
                  </a:lnTo>
                  <a:lnTo>
                    <a:pt x="91" y="549"/>
                  </a:lnTo>
                  <a:lnTo>
                    <a:pt x="87" y="544"/>
                  </a:lnTo>
                  <a:lnTo>
                    <a:pt x="82" y="544"/>
                  </a:lnTo>
                  <a:lnTo>
                    <a:pt x="73" y="544"/>
                  </a:lnTo>
                  <a:lnTo>
                    <a:pt x="69" y="544"/>
                  </a:lnTo>
                  <a:lnTo>
                    <a:pt x="69" y="549"/>
                  </a:lnTo>
                  <a:lnTo>
                    <a:pt x="69" y="549"/>
                  </a:lnTo>
                  <a:lnTo>
                    <a:pt x="59" y="553"/>
                  </a:lnTo>
                  <a:lnTo>
                    <a:pt x="59" y="558"/>
                  </a:lnTo>
                  <a:lnTo>
                    <a:pt x="55" y="558"/>
                  </a:lnTo>
                  <a:lnTo>
                    <a:pt x="50" y="558"/>
                  </a:lnTo>
                  <a:lnTo>
                    <a:pt x="50" y="563"/>
                  </a:lnTo>
                  <a:lnTo>
                    <a:pt x="46" y="563"/>
                  </a:lnTo>
                  <a:lnTo>
                    <a:pt x="46" y="567"/>
                  </a:lnTo>
                  <a:lnTo>
                    <a:pt x="37" y="563"/>
                  </a:lnTo>
                  <a:lnTo>
                    <a:pt x="27" y="563"/>
                  </a:lnTo>
                  <a:lnTo>
                    <a:pt x="23" y="563"/>
                  </a:lnTo>
                  <a:lnTo>
                    <a:pt x="18" y="563"/>
                  </a:lnTo>
                  <a:lnTo>
                    <a:pt x="18" y="558"/>
                  </a:lnTo>
                  <a:lnTo>
                    <a:pt x="18" y="553"/>
                  </a:lnTo>
                  <a:lnTo>
                    <a:pt x="23" y="549"/>
                  </a:lnTo>
                  <a:lnTo>
                    <a:pt x="27" y="544"/>
                  </a:lnTo>
                  <a:lnTo>
                    <a:pt x="27" y="540"/>
                  </a:lnTo>
                  <a:lnTo>
                    <a:pt x="32" y="535"/>
                  </a:lnTo>
                  <a:lnTo>
                    <a:pt x="27" y="531"/>
                  </a:lnTo>
                  <a:lnTo>
                    <a:pt x="27" y="526"/>
                  </a:lnTo>
                  <a:lnTo>
                    <a:pt x="23" y="521"/>
                  </a:lnTo>
                  <a:lnTo>
                    <a:pt x="23" y="512"/>
                  </a:lnTo>
                  <a:lnTo>
                    <a:pt x="27" y="499"/>
                  </a:lnTo>
                  <a:lnTo>
                    <a:pt x="32" y="494"/>
                  </a:lnTo>
                  <a:lnTo>
                    <a:pt x="37" y="494"/>
                  </a:lnTo>
                  <a:lnTo>
                    <a:pt x="41" y="489"/>
                  </a:lnTo>
                  <a:lnTo>
                    <a:pt x="41" y="489"/>
                  </a:lnTo>
                  <a:lnTo>
                    <a:pt x="41" y="476"/>
                  </a:lnTo>
                  <a:lnTo>
                    <a:pt x="46" y="471"/>
                  </a:lnTo>
                  <a:lnTo>
                    <a:pt x="46" y="467"/>
                  </a:lnTo>
                  <a:lnTo>
                    <a:pt x="41" y="467"/>
                  </a:lnTo>
                  <a:lnTo>
                    <a:pt x="41" y="467"/>
                  </a:lnTo>
                  <a:lnTo>
                    <a:pt x="41" y="462"/>
                  </a:lnTo>
                  <a:lnTo>
                    <a:pt x="32" y="467"/>
                  </a:lnTo>
                  <a:lnTo>
                    <a:pt x="27" y="462"/>
                  </a:lnTo>
                  <a:lnTo>
                    <a:pt x="27" y="462"/>
                  </a:lnTo>
                  <a:lnTo>
                    <a:pt x="23" y="462"/>
                  </a:lnTo>
                  <a:lnTo>
                    <a:pt x="23" y="457"/>
                  </a:lnTo>
                  <a:lnTo>
                    <a:pt x="23" y="457"/>
                  </a:lnTo>
                  <a:lnTo>
                    <a:pt x="23" y="453"/>
                  </a:lnTo>
                  <a:lnTo>
                    <a:pt x="18" y="448"/>
                  </a:lnTo>
                  <a:lnTo>
                    <a:pt x="23" y="444"/>
                  </a:lnTo>
                  <a:lnTo>
                    <a:pt x="27" y="435"/>
                  </a:lnTo>
                  <a:lnTo>
                    <a:pt x="27" y="430"/>
                  </a:lnTo>
                  <a:lnTo>
                    <a:pt x="27" y="430"/>
                  </a:lnTo>
                  <a:lnTo>
                    <a:pt x="27" y="425"/>
                  </a:lnTo>
                  <a:lnTo>
                    <a:pt x="27" y="416"/>
                  </a:lnTo>
                  <a:lnTo>
                    <a:pt x="27" y="412"/>
                  </a:lnTo>
                  <a:lnTo>
                    <a:pt x="27" y="407"/>
                  </a:lnTo>
                  <a:lnTo>
                    <a:pt x="27" y="407"/>
                  </a:lnTo>
                  <a:lnTo>
                    <a:pt x="27" y="398"/>
                  </a:lnTo>
                  <a:lnTo>
                    <a:pt x="18" y="398"/>
                  </a:lnTo>
                  <a:lnTo>
                    <a:pt x="18" y="398"/>
                  </a:lnTo>
                  <a:lnTo>
                    <a:pt x="18" y="398"/>
                  </a:lnTo>
                  <a:lnTo>
                    <a:pt x="18" y="393"/>
                  </a:lnTo>
                  <a:lnTo>
                    <a:pt x="18" y="380"/>
                  </a:lnTo>
                  <a:lnTo>
                    <a:pt x="18" y="375"/>
                  </a:lnTo>
                  <a:lnTo>
                    <a:pt x="23" y="375"/>
                  </a:lnTo>
                  <a:lnTo>
                    <a:pt x="27" y="366"/>
                  </a:lnTo>
                  <a:lnTo>
                    <a:pt x="27" y="366"/>
                  </a:lnTo>
                  <a:lnTo>
                    <a:pt x="37" y="361"/>
                  </a:lnTo>
                  <a:lnTo>
                    <a:pt x="37" y="361"/>
                  </a:lnTo>
                  <a:lnTo>
                    <a:pt x="41" y="357"/>
                  </a:lnTo>
                  <a:lnTo>
                    <a:pt x="46" y="357"/>
                  </a:lnTo>
                  <a:lnTo>
                    <a:pt x="41" y="352"/>
                  </a:lnTo>
                  <a:lnTo>
                    <a:pt x="37" y="348"/>
                  </a:lnTo>
                  <a:lnTo>
                    <a:pt x="32" y="348"/>
                  </a:lnTo>
                  <a:lnTo>
                    <a:pt x="32" y="348"/>
                  </a:lnTo>
                  <a:lnTo>
                    <a:pt x="27" y="343"/>
                  </a:lnTo>
                  <a:lnTo>
                    <a:pt x="27" y="339"/>
                  </a:lnTo>
                  <a:lnTo>
                    <a:pt x="27" y="334"/>
                  </a:lnTo>
                  <a:lnTo>
                    <a:pt x="27" y="334"/>
                  </a:lnTo>
                  <a:lnTo>
                    <a:pt x="37" y="329"/>
                  </a:lnTo>
                  <a:lnTo>
                    <a:pt x="37" y="325"/>
                  </a:lnTo>
                  <a:lnTo>
                    <a:pt x="41" y="311"/>
                  </a:lnTo>
                  <a:lnTo>
                    <a:pt x="41" y="307"/>
                  </a:lnTo>
                  <a:lnTo>
                    <a:pt x="41" y="302"/>
                  </a:lnTo>
                  <a:lnTo>
                    <a:pt x="41" y="297"/>
                  </a:lnTo>
                  <a:lnTo>
                    <a:pt x="37" y="284"/>
                  </a:lnTo>
                  <a:lnTo>
                    <a:pt x="32" y="279"/>
                  </a:lnTo>
                  <a:lnTo>
                    <a:pt x="32" y="279"/>
                  </a:lnTo>
                  <a:lnTo>
                    <a:pt x="27" y="275"/>
                  </a:lnTo>
                  <a:lnTo>
                    <a:pt x="27" y="275"/>
                  </a:lnTo>
                  <a:lnTo>
                    <a:pt x="27" y="261"/>
                  </a:lnTo>
                  <a:lnTo>
                    <a:pt x="27" y="261"/>
                  </a:lnTo>
                  <a:lnTo>
                    <a:pt x="27" y="256"/>
                  </a:lnTo>
                  <a:lnTo>
                    <a:pt x="27" y="233"/>
                  </a:lnTo>
                  <a:lnTo>
                    <a:pt x="27" y="215"/>
                  </a:lnTo>
                  <a:lnTo>
                    <a:pt x="27" y="215"/>
                  </a:lnTo>
                  <a:lnTo>
                    <a:pt x="27" y="215"/>
                  </a:lnTo>
                  <a:lnTo>
                    <a:pt x="32" y="215"/>
                  </a:lnTo>
                  <a:lnTo>
                    <a:pt x="32" y="215"/>
                  </a:lnTo>
                  <a:lnTo>
                    <a:pt x="41" y="215"/>
                  </a:lnTo>
                  <a:lnTo>
                    <a:pt x="46" y="211"/>
                  </a:lnTo>
                  <a:lnTo>
                    <a:pt x="46" y="211"/>
                  </a:lnTo>
                  <a:lnTo>
                    <a:pt x="46" y="206"/>
                  </a:lnTo>
                  <a:lnTo>
                    <a:pt x="46" y="192"/>
                  </a:lnTo>
                  <a:lnTo>
                    <a:pt x="46" y="188"/>
                  </a:lnTo>
                  <a:lnTo>
                    <a:pt x="41" y="183"/>
                  </a:lnTo>
                  <a:lnTo>
                    <a:pt x="41" y="183"/>
                  </a:lnTo>
                  <a:lnTo>
                    <a:pt x="37" y="179"/>
                  </a:lnTo>
                  <a:lnTo>
                    <a:pt x="32" y="179"/>
                  </a:lnTo>
                  <a:lnTo>
                    <a:pt x="32" y="174"/>
                  </a:lnTo>
                  <a:lnTo>
                    <a:pt x="27" y="174"/>
                  </a:lnTo>
                  <a:lnTo>
                    <a:pt x="27" y="169"/>
                  </a:lnTo>
                  <a:lnTo>
                    <a:pt x="27" y="165"/>
                  </a:lnTo>
                  <a:lnTo>
                    <a:pt x="27" y="165"/>
                  </a:lnTo>
                  <a:lnTo>
                    <a:pt x="23" y="160"/>
                  </a:lnTo>
                  <a:lnTo>
                    <a:pt x="23" y="151"/>
                  </a:lnTo>
                  <a:lnTo>
                    <a:pt x="23" y="147"/>
                  </a:lnTo>
                  <a:lnTo>
                    <a:pt x="18" y="142"/>
                  </a:lnTo>
                  <a:lnTo>
                    <a:pt x="23" y="137"/>
                  </a:lnTo>
                  <a:lnTo>
                    <a:pt x="18" y="128"/>
                  </a:lnTo>
                  <a:lnTo>
                    <a:pt x="18" y="124"/>
                  </a:lnTo>
                  <a:lnTo>
                    <a:pt x="23" y="110"/>
                  </a:lnTo>
                  <a:lnTo>
                    <a:pt x="23" y="101"/>
                  </a:lnTo>
                  <a:lnTo>
                    <a:pt x="18" y="92"/>
                  </a:lnTo>
                  <a:lnTo>
                    <a:pt x="23" y="83"/>
                  </a:lnTo>
                  <a:lnTo>
                    <a:pt x="23" y="73"/>
                  </a:lnTo>
                  <a:lnTo>
                    <a:pt x="18" y="69"/>
                  </a:lnTo>
                  <a:lnTo>
                    <a:pt x="18" y="64"/>
                  </a:lnTo>
                  <a:lnTo>
                    <a:pt x="14" y="64"/>
                  </a:lnTo>
                  <a:lnTo>
                    <a:pt x="14" y="64"/>
                  </a:lnTo>
                  <a:lnTo>
                    <a:pt x="14" y="60"/>
                  </a:lnTo>
                  <a:lnTo>
                    <a:pt x="9" y="55"/>
                  </a:lnTo>
                  <a:lnTo>
                    <a:pt x="9" y="51"/>
                  </a:lnTo>
                  <a:lnTo>
                    <a:pt x="0" y="37"/>
                  </a:lnTo>
                  <a:lnTo>
                    <a:pt x="0" y="37"/>
                  </a:lnTo>
                  <a:lnTo>
                    <a:pt x="5" y="28"/>
                  </a:lnTo>
                  <a:lnTo>
                    <a:pt x="5" y="23"/>
                  </a:lnTo>
                  <a:lnTo>
                    <a:pt x="9" y="19"/>
                  </a:lnTo>
                  <a:lnTo>
                    <a:pt x="9" y="19"/>
                  </a:lnTo>
                  <a:lnTo>
                    <a:pt x="9" y="14"/>
                  </a:lnTo>
                  <a:lnTo>
                    <a:pt x="9" y="5"/>
                  </a:lnTo>
                  <a:lnTo>
                    <a:pt x="14" y="0"/>
                  </a:lnTo>
                  <a:lnTo>
                    <a:pt x="18" y="0"/>
                  </a:lnTo>
                  <a:lnTo>
                    <a:pt x="23" y="0"/>
                  </a:lnTo>
                  <a:lnTo>
                    <a:pt x="23" y="0"/>
                  </a:lnTo>
                  <a:lnTo>
                    <a:pt x="27" y="0"/>
                  </a:lnTo>
                  <a:lnTo>
                    <a:pt x="37" y="0"/>
                  </a:lnTo>
                  <a:lnTo>
                    <a:pt x="41" y="0"/>
                  </a:lnTo>
                  <a:lnTo>
                    <a:pt x="46" y="0"/>
                  </a:lnTo>
                  <a:lnTo>
                    <a:pt x="50" y="0"/>
                  </a:lnTo>
                  <a:lnTo>
                    <a:pt x="55" y="0"/>
                  </a:lnTo>
                  <a:lnTo>
                    <a:pt x="55" y="0"/>
                  </a:lnTo>
                  <a:lnTo>
                    <a:pt x="64" y="5"/>
                  </a:lnTo>
                  <a:lnTo>
                    <a:pt x="64" y="9"/>
                  </a:lnTo>
                  <a:lnTo>
                    <a:pt x="69" y="9"/>
                  </a:lnTo>
                  <a:lnTo>
                    <a:pt x="69" y="14"/>
                  </a:lnTo>
                  <a:lnTo>
                    <a:pt x="69" y="19"/>
                  </a:lnTo>
                  <a:lnTo>
                    <a:pt x="69" y="23"/>
                  </a:lnTo>
                  <a:lnTo>
                    <a:pt x="69" y="28"/>
                  </a:lnTo>
                  <a:lnTo>
                    <a:pt x="69" y="37"/>
                  </a:lnTo>
                  <a:lnTo>
                    <a:pt x="69" y="51"/>
                  </a:lnTo>
                  <a:lnTo>
                    <a:pt x="69" y="55"/>
                  </a:lnTo>
                  <a:lnTo>
                    <a:pt x="69" y="60"/>
                  </a:lnTo>
                  <a:lnTo>
                    <a:pt x="69" y="64"/>
                  </a:lnTo>
                  <a:lnTo>
                    <a:pt x="73" y="69"/>
                  </a:lnTo>
                  <a:lnTo>
                    <a:pt x="73" y="73"/>
                  </a:lnTo>
                  <a:lnTo>
                    <a:pt x="73" y="78"/>
                  </a:lnTo>
                  <a:lnTo>
                    <a:pt x="78" y="78"/>
                  </a:lnTo>
                  <a:lnTo>
                    <a:pt x="82" y="78"/>
                  </a:lnTo>
                  <a:lnTo>
                    <a:pt x="87" y="73"/>
                  </a:lnTo>
                  <a:lnTo>
                    <a:pt x="87" y="64"/>
                  </a:lnTo>
                  <a:lnTo>
                    <a:pt x="87" y="64"/>
                  </a:lnTo>
                  <a:lnTo>
                    <a:pt x="87" y="60"/>
                  </a:lnTo>
                  <a:lnTo>
                    <a:pt x="87" y="51"/>
                  </a:lnTo>
                  <a:lnTo>
                    <a:pt x="91" y="46"/>
                  </a:lnTo>
                  <a:lnTo>
                    <a:pt x="96" y="46"/>
                  </a:lnTo>
                  <a:lnTo>
                    <a:pt x="101" y="46"/>
                  </a:lnTo>
                  <a:lnTo>
                    <a:pt x="105" y="46"/>
                  </a:lnTo>
                  <a:lnTo>
                    <a:pt x="110" y="46"/>
                  </a:lnTo>
                  <a:lnTo>
                    <a:pt x="110" y="55"/>
                  </a:lnTo>
                  <a:lnTo>
                    <a:pt x="114" y="64"/>
                  </a:lnTo>
                  <a:lnTo>
                    <a:pt x="114" y="64"/>
                  </a:lnTo>
                  <a:lnTo>
                    <a:pt x="114" y="69"/>
                  </a:lnTo>
                  <a:lnTo>
                    <a:pt x="110" y="73"/>
                  </a:lnTo>
                  <a:lnTo>
                    <a:pt x="110" y="78"/>
                  </a:lnTo>
                  <a:lnTo>
                    <a:pt x="110" y="83"/>
                  </a:lnTo>
                  <a:lnTo>
                    <a:pt x="110" y="87"/>
                  </a:lnTo>
                  <a:lnTo>
                    <a:pt x="110" y="92"/>
                  </a:lnTo>
                  <a:lnTo>
                    <a:pt x="110" y="96"/>
                  </a:lnTo>
                  <a:lnTo>
                    <a:pt x="105" y="105"/>
                  </a:lnTo>
                  <a:lnTo>
                    <a:pt x="105" y="115"/>
                  </a:lnTo>
                  <a:lnTo>
                    <a:pt x="105" y="124"/>
                  </a:lnTo>
                  <a:lnTo>
                    <a:pt x="110" y="128"/>
                  </a:lnTo>
                  <a:lnTo>
                    <a:pt x="110" y="133"/>
                  </a:lnTo>
                  <a:lnTo>
                    <a:pt x="110" y="137"/>
                  </a:lnTo>
                  <a:lnTo>
                    <a:pt x="110" y="137"/>
                  </a:lnTo>
                  <a:lnTo>
                    <a:pt x="110" y="147"/>
                  </a:lnTo>
                  <a:lnTo>
                    <a:pt x="114" y="151"/>
                  </a:lnTo>
                  <a:lnTo>
                    <a:pt x="114" y="156"/>
                  </a:lnTo>
                  <a:lnTo>
                    <a:pt x="119" y="156"/>
                  </a:lnTo>
                  <a:lnTo>
                    <a:pt x="123" y="156"/>
                  </a:lnTo>
                  <a:lnTo>
                    <a:pt x="123" y="160"/>
                  </a:lnTo>
                  <a:lnTo>
                    <a:pt x="128" y="165"/>
                  </a:lnTo>
                  <a:lnTo>
                    <a:pt x="133" y="165"/>
                  </a:lnTo>
                  <a:lnTo>
                    <a:pt x="133" y="169"/>
                  </a:lnTo>
                  <a:lnTo>
                    <a:pt x="133" y="169"/>
                  </a:lnTo>
                  <a:lnTo>
                    <a:pt x="133" y="174"/>
                  </a:lnTo>
                  <a:lnTo>
                    <a:pt x="137" y="174"/>
                  </a:lnTo>
                  <a:lnTo>
                    <a:pt x="137" y="179"/>
                  </a:lnTo>
                  <a:lnTo>
                    <a:pt x="142" y="179"/>
                  </a:lnTo>
                  <a:lnTo>
                    <a:pt x="142" y="183"/>
                  </a:lnTo>
                  <a:lnTo>
                    <a:pt x="146" y="183"/>
                  </a:lnTo>
                  <a:lnTo>
                    <a:pt x="146" y="192"/>
                  </a:lnTo>
                  <a:lnTo>
                    <a:pt x="151" y="192"/>
                  </a:lnTo>
                  <a:lnTo>
                    <a:pt x="155" y="197"/>
                  </a:lnTo>
                  <a:lnTo>
                    <a:pt x="155" y="201"/>
                  </a:lnTo>
                  <a:lnTo>
                    <a:pt x="155" y="206"/>
                  </a:lnTo>
                  <a:lnTo>
                    <a:pt x="160" y="211"/>
                  </a:lnTo>
                  <a:lnTo>
                    <a:pt x="160" y="215"/>
                  </a:lnTo>
                  <a:lnTo>
                    <a:pt x="165" y="215"/>
                  </a:lnTo>
                  <a:lnTo>
                    <a:pt x="169" y="220"/>
                  </a:lnTo>
                  <a:lnTo>
                    <a:pt x="174" y="224"/>
                  </a:lnTo>
                  <a:lnTo>
                    <a:pt x="178" y="224"/>
                  </a:lnTo>
                  <a:lnTo>
                    <a:pt x="178" y="229"/>
                  </a:lnTo>
                  <a:lnTo>
                    <a:pt x="178" y="229"/>
                  </a:lnTo>
                  <a:lnTo>
                    <a:pt x="178" y="233"/>
                  </a:lnTo>
                  <a:lnTo>
                    <a:pt x="183" y="233"/>
                  </a:lnTo>
                  <a:lnTo>
                    <a:pt x="183" y="238"/>
                  </a:lnTo>
                  <a:lnTo>
                    <a:pt x="192" y="243"/>
                  </a:lnTo>
                  <a:lnTo>
                    <a:pt x="197" y="243"/>
                  </a:lnTo>
                  <a:lnTo>
                    <a:pt x="197" y="243"/>
                  </a:lnTo>
                  <a:lnTo>
                    <a:pt x="206" y="243"/>
                  </a:lnTo>
                  <a:lnTo>
                    <a:pt x="210" y="243"/>
                  </a:lnTo>
                  <a:lnTo>
                    <a:pt x="215" y="243"/>
                  </a:lnTo>
                  <a:lnTo>
                    <a:pt x="219" y="243"/>
                  </a:lnTo>
                  <a:lnTo>
                    <a:pt x="224" y="243"/>
                  </a:lnTo>
                  <a:lnTo>
                    <a:pt x="229" y="243"/>
                  </a:lnTo>
                  <a:lnTo>
                    <a:pt x="233" y="238"/>
                  </a:lnTo>
                  <a:lnTo>
                    <a:pt x="238" y="238"/>
                  </a:lnTo>
                  <a:lnTo>
                    <a:pt x="238" y="233"/>
                  </a:lnTo>
                  <a:lnTo>
                    <a:pt x="242" y="229"/>
                  </a:lnTo>
                  <a:lnTo>
                    <a:pt x="242" y="224"/>
                  </a:lnTo>
                  <a:lnTo>
                    <a:pt x="242" y="220"/>
                  </a:lnTo>
                  <a:lnTo>
                    <a:pt x="247" y="220"/>
                  </a:lnTo>
                  <a:lnTo>
                    <a:pt x="247" y="220"/>
                  </a:lnTo>
                  <a:lnTo>
                    <a:pt x="251" y="211"/>
                  </a:lnTo>
                  <a:lnTo>
                    <a:pt x="251" y="201"/>
                  </a:lnTo>
                  <a:lnTo>
                    <a:pt x="256" y="197"/>
                  </a:lnTo>
                  <a:lnTo>
                    <a:pt x="256" y="192"/>
                  </a:lnTo>
                  <a:lnTo>
                    <a:pt x="261" y="192"/>
                  </a:lnTo>
                  <a:lnTo>
                    <a:pt x="261" y="188"/>
                  </a:lnTo>
                  <a:lnTo>
                    <a:pt x="265" y="188"/>
                  </a:lnTo>
                  <a:lnTo>
                    <a:pt x="265" y="188"/>
                  </a:lnTo>
                  <a:lnTo>
                    <a:pt x="270" y="188"/>
                  </a:lnTo>
                  <a:lnTo>
                    <a:pt x="270" y="192"/>
                  </a:lnTo>
                  <a:lnTo>
                    <a:pt x="274" y="192"/>
                  </a:lnTo>
                  <a:lnTo>
                    <a:pt x="274" y="197"/>
                  </a:lnTo>
                  <a:lnTo>
                    <a:pt x="279" y="197"/>
                  </a:lnTo>
                  <a:lnTo>
                    <a:pt x="279" y="201"/>
                  </a:lnTo>
                  <a:lnTo>
                    <a:pt x="283" y="206"/>
                  </a:lnTo>
                  <a:lnTo>
                    <a:pt x="288" y="211"/>
                  </a:lnTo>
                  <a:lnTo>
                    <a:pt x="288" y="215"/>
                  </a:lnTo>
                  <a:lnTo>
                    <a:pt x="293" y="215"/>
                  </a:lnTo>
                  <a:lnTo>
                    <a:pt x="302" y="211"/>
                  </a:lnTo>
                  <a:lnTo>
                    <a:pt x="311" y="206"/>
                  </a:lnTo>
                  <a:lnTo>
                    <a:pt x="315" y="206"/>
                  </a:lnTo>
                  <a:lnTo>
                    <a:pt x="325" y="206"/>
                  </a:lnTo>
                  <a:lnTo>
                    <a:pt x="329" y="206"/>
                  </a:lnTo>
                  <a:lnTo>
                    <a:pt x="334" y="206"/>
                  </a:lnTo>
                  <a:lnTo>
                    <a:pt x="338" y="206"/>
                  </a:lnTo>
                  <a:lnTo>
                    <a:pt x="347" y="211"/>
                  </a:lnTo>
                  <a:lnTo>
                    <a:pt x="352" y="211"/>
                  </a:lnTo>
                  <a:lnTo>
                    <a:pt x="352" y="215"/>
                  </a:lnTo>
                  <a:lnTo>
                    <a:pt x="357" y="215"/>
                  </a:lnTo>
                  <a:lnTo>
                    <a:pt x="361" y="215"/>
                  </a:lnTo>
                  <a:lnTo>
                    <a:pt x="361" y="220"/>
                  </a:lnTo>
                  <a:lnTo>
                    <a:pt x="366" y="220"/>
                  </a:lnTo>
                  <a:lnTo>
                    <a:pt x="366" y="220"/>
                  </a:lnTo>
                  <a:lnTo>
                    <a:pt x="370" y="220"/>
                  </a:lnTo>
                  <a:lnTo>
                    <a:pt x="370" y="224"/>
                  </a:lnTo>
                  <a:lnTo>
                    <a:pt x="370" y="229"/>
                  </a:lnTo>
                  <a:lnTo>
                    <a:pt x="375" y="229"/>
                  </a:lnTo>
                  <a:lnTo>
                    <a:pt x="375" y="238"/>
                  </a:lnTo>
                  <a:lnTo>
                    <a:pt x="375" y="243"/>
                  </a:lnTo>
                  <a:lnTo>
                    <a:pt x="375" y="247"/>
                  </a:lnTo>
                  <a:lnTo>
                    <a:pt x="379" y="252"/>
                  </a:lnTo>
                  <a:lnTo>
                    <a:pt x="379" y="256"/>
                  </a:lnTo>
                  <a:lnTo>
                    <a:pt x="384" y="256"/>
                  </a:lnTo>
                  <a:lnTo>
                    <a:pt x="389" y="261"/>
                  </a:lnTo>
                  <a:lnTo>
                    <a:pt x="389" y="265"/>
                  </a:lnTo>
                  <a:lnTo>
                    <a:pt x="393" y="265"/>
                  </a:lnTo>
                  <a:lnTo>
                    <a:pt x="398" y="265"/>
                  </a:lnTo>
                  <a:lnTo>
                    <a:pt x="398" y="275"/>
                  </a:lnTo>
                  <a:lnTo>
                    <a:pt x="398" y="279"/>
                  </a:lnTo>
                  <a:lnTo>
                    <a:pt x="398" y="284"/>
                  </a:lnTo>
                  <a:lnTo>
                    <a:pt x="398" y="288"/>
                  </a:lnTo>
                  <a:lnTo>
                    <a:pt x="398" y="293"/>
                  </a:lnTo>
                  <a:lnTo>
                    <a:pt x="398" y="297"/>
                  </a:lnTo>
                  <a:lnTo>
                    <a:pt x="398" y="302"/>
                  </a:lnTo>
                  <a:lnTo>
                    <a:pt x="398" y="307"/>
                  </a:lnTo>
                  <a:lnTo>
                    <a:pt x="398" y="311"/>
                  </a:lnTo>
                  <a:lnTo>
                    <a:pt x="398" y="320"/>
                  </a:lnTo>
                  <a:lnTo>
                    <a:pt x="398" y="329"/>
                  </a:lnTo>
                  <a:lnTo>
                    <a:pt x="393" y="329"/>
                  </a:lnTo>
                  <a:lnTo>
                    <a:pt x="389" y="329"/>
                  </a:lnTo>
                  <a:lnTo>
                    <a:pt x="389" y="334"/>
                  </a:lnTo>
                  <a:lnTo>
                    <a:pt x="384" y="339"/>
                  </a:lnTo>
                  <a:lnTo>
                    <a:pt x="384" y="343"/>
                  </a:lnTo>
                  <a:lnTo>
                    <a:pt x="384" y="348"/>
                  </a:lnTo>
                  <a:lnTo>
                    <a:pt x="389" y="348"/>
                  </a:lnTo>
                  <a:lnTo>
                    <a:pt x="393" y="348"/>
                  </a:lnTo>
                  <a:lnTo>
                    <a:pt x="398" y="348"/>
                  </a:lnTo>
                  <a:lnTo>
                    <a:pt x="411" y="352"/>
                  </a:lnTo>
                  <a:lnTo>
                    <a:pt x="416" y="352"/>
                  </a:lnTo>
                  <a:lnTo>
                    <a:pt x="421" y="352"/>
                  </a:lnTo>
                  <a:lnTo>
                    <a:pt x="430" y="352"/>
                  </a:lnTo>
                  <a:lnTo>
                    <a:pt x="434" y="352"/>
                  </a:lnTo>
                  <a:lnTo>
                    <a:pt x="443" y="352"/>
                  </a:lnTo>
                  <a:lnTo>
                    <a:pt x="457" y="348"/>
                  </a:lnTo>
                  <a:lnTo>
                    <a:pt x="462" y="348"/>
                  </a:lnTo>
                  <a:lnTo>
                    <a:pt x="462" y="343"/>
                  </a:lnTo>
                  <a:lnTo>
                    <a:pt x="466" y="343"/>
                  </a:lnTo>
                  <a:lnTo>
                    <a:pt x="471" y="339"/>
                  </a:lnTo>
                  <a:lnTo>
                    <a:pt x="475" y="339"/>
                  </a:lnTo>
                  <a:lnTo>
                    <a:pt x="480" y="343"/>
                  </a:lnTo>
                  <a:lnTo>
                    <a:pt x="485" y="343"/>
                  </a:lnTo>
                  <a:lnTo>
                    <a:pt x="485" y="339"/>
                  </a:lnTo>
                  <a:lnTo>
                    <a:pt x="485" y="334"/>
                  </a:lnTo>
                  <a:lnTo>
                    <a:pt x="489" y="334"/>
                  </a:lnTo>
                  <a:lnTo>
                    <a:pt x="494" y="334"/>
                  </a:lnTo>
                  <a:lnTo>
                    <a:pt x="494" y="329"/>
                  </a:lnTo>
                  <a:lnTo>
                    <a:pt x="498" y="329"/>
                  </a:lnTo>
                  <a:lnTo>
                    <a:pt x="503" y="329"/>
                  </a:lnTo>
                  <a:lnTo>
                    <a:pt x="507" y="329"/>
                  </a:lnTo>
                  <a:lnTo>
                    <a:pt x="507" y="325"/>
                  </a:lnTo>
                  <a:lnTo>
                    <a:pt x="512" y="320"/>
                  </a:lnTo>
                  <a:lnTo>
                    <a:pt x="517" y="320"/>
                  </a:lnTo>
                  <a:lnTo>
                    <a:pt x="521" y="316"/>
                  </a:lnTo>
                  <a:lnTo>
                    <a:pt x="526" y="311"/>
                  </a:lnTo>
                  <a:lnTo>
                    <a:pt x="530" y="307"/>
                  </a:lnTo>
                  <a:lnTo>
                    <a:pt x="535" y="307"/>
                  </a:lnTo>
                  <a:lnTo>
                    <a:pt x="539" y="307"/>
                  </a:lnTo>
                  <a:lnTo>
                    <a:pt x="544" y="311"/>
                  </a:lnTo>
                  <a:lnTo>
                    <a:pt x="549" y="311"/>
                  </a:lnTo>
                  <a:lnTo>
                    <a:pt x="549" y="316"/>
                  </a:lnTo>
                  <a:lnTo>
                    <a:pt x="549" y="325"/>
                  </a:lnTo>
                  <a:lnTo>
                    <a:pt x="553" y="329"/>
                  </a:lnTo>
                  <a:lnTo>
                    <a:pt x="558" y="334"/>
                  </a:lnTo>
                  <a:lnTo>
                    <a:pt x="558" y="348"/>
                  </a:lnTo>
                  <a:lnTo>
                    <a:pt x="562" y="348"/>
                  </a:lnTo>
                  <a:lnTo>
                    <a:pt x="562" y="352"/>
                  </a:lnTo>
                  <a:lnTo>
                    <a:pt x="567" y="352"/>
                  </a:lnTo>
                  <a:lnTo>
                    <a:pt x="571" y="357"/>
                  </a:lnTo>
                  <a:lnTo>
                    <a:pt x="571" y="361"/>
                  </a:lnTo>
                  <a:lnTo>
                    <a:pt x="576" y="361"/>
                  </a:lnTo>
                  <a:lnTo>
                    <a:pt x="581" y="361"/>
                  </a:lnTo>
                  <a:lnTo>
                    <a:pt x="585" y="357"/>
                  </a:lnTo>
                  <a:lnTo>
                    <a:pt x="590" y="357"/>
                  </a:lnTo>
                  <a:lnTo>
                    <a:pt x="594" y="352"/>
                  </a:lnTo>
                  <a:lnTo>
                    <a:pt x="599" y="352"/>
                  </a:lnTo>
                  <a:lnTo>
                    <a:pt x="603" y="348"/>
                  </a:lnTo>
                  <a:lnTo>
                    <a:pt x="613" y="348"/>
                  </a:lnTo>
                  <a:lnTo>
                    <a:pt x="617" y="352"/>
                  </a:lnTo>
                  <a:lnTo>
                    <a:pt x="617" y="352"/>
                  </a:lnTo>
                  <a:lnTo>
                    <a:pt x="617" y="352"/>
                  </a:lnTo>
                  <a:lnTo>
                    <a:pt x="622" y="357"/>
                  </a:lnTo>
                  <a:lnTo>
                    <a:pt x="622" y="361"/>
                  </a:lnTo>
                  <a:lnTo>
                    <a:pt x="626" y="371"/>
                  </a:lnTo>
                  <a:lnTo>
                    <a:pt x="626" y="375"/>
                  </a:lnTo>
                  <a:lnTo>
                    <a:pt x="631" y="375"/>
                  </a:lnTo>
                  <a:lnTo>
                    <a:pt x="635" y="380"/>
                  </a:lnTo>
                  <a:lnTo>
                    <a:pt x="640" y="384"/>
                  </a:lnTo>
                  <a:lnTo>
                    <a:pt x="645" y="384"/>
                  </a:lnTo>
                  <a:lnTo>
                    <a:pt x="654" y="384"/>
                  </a:lnTo>
                  <a:lnTo>
                    <a:pt x="667" y="380"/>
                  </a:lnTo>
                  <a:lnTo>
                    <a:pt x="672" y="375"/>
                  </a:lnTo>
                  <a:lnTo>
                    <a:pt x="677" y="375"/>
                  </a:lnTo>
                  <a:lnTo>
                    <a:pt x="681" y="375"/>
                  </a:lnTo>
                  <a:lnTo>
                    <a:pt x="695" y="375"/>
                  </a:lnTo>
                  <a:lnTo>
                    <a:pt x="699" y="375"/>
                  </a:lnTo>
                  <a:lnTo>
                    <a:pt x="704" y="375"/>
                  </a:lnTo>
                  <a:lnTo>
                    <a:pt x="709" y="375"/>
                  </a:lnTo>
                  <a:lnTo>
                    <a:pt x="704" y="389"/>
                  </a:lnTo>
                  <a:lnTo>
                    <a:pt x="704" y="398"/>
                  </a:lnTo>
                  <a:lnTo>
                    <a:pt x="704" y="403"/>
                  </a:lnTo>
                  <a:lnTo>
                    <a:pt x="704" y="416"/>
                  </a:lnTo>
                  <a:lnTo>
                    <a:pt x="704" y="430"/>
                  </a:lnTo>
                  <a:lnTo>
                    <a:pt x="704" y="435"/>
                  </a:lnTo>
                  <a:lnTo>
                    <a:pt x="699" y="439"/>
                  </a:lnTo>
                  <a:lnTo>
                    <a:pt x="690" y="444"/>
                  </a:lnTo>
                  <a:lnTo>
                    <a:pt x="686" y="448"/>
                  </a:lnTo>
                  <a:lnTo>
                    <a:pt x="681" y="448"/>
                  </a:lnTo>
                  <a:lnTo>
                    <a:pt x="677" y="453"/>
                  </a:lnTo>
                  <a:lnTo>
                    <a:pt x="672" y="457"/>
                  </a:lnTo>
                  <a:lnTo>
                    <a:pt x="663" y="462"/>
                  </a:lnTo>
                  <a:lnTo>
                    <a:pt x="658" y="462"/>
                  </a:lnTo>
                  <a:lnTo>
                    <a:pt x="645" y="471"/>
                  </a:lnTo>
                  <a:lnTo>
                    <a:pt x="640" y="476"/>
                  </a:lnTo>
                  <a:lnTo>
                    <a:pt x="640" y="480"/>
                  </a:lnTo>
                  <a:lnTo>
                    <a:pt x="635" y="485"/>
                  </a:lnTo>
                  <a:lnTo>
                    <a:pt x="635" y="499"/>
                  </a:lnTo>
                  <a:lnTo>
                    <a:pt x="635" y="503"/>
                  </a:lnTo>
                  <a:lnTo>
                    <a:pt x="635" y="508"/>
                  </a:lnTo>
                  <a:lnTo>
                    <a:pt x="635" y="512"/>
                  </a:lnTo>
                  <a:lnTo>
                    <a:pt x="635" y="517"/>
                  </a:lnTo>
                  <a:lnTo>
                    <a:pt x="640" y="521"/>
                  </a:lnTo>
                  <a:lnTo>
                    <a:pt x="645" y="526"/>
                  </a:lnTo>
                  <a:lnTo>
                    <a:pt x="649" y="526"/>
                  </a:lnTo>
                  <a:lnTo>
                    <a:pt x="658" y="531"/>
                  </a:lnTo>
                  <a:lnTo>
                    <a:pt x="667" y="531"/>
                  </a:lnTo>
                  <a:lnTo>
                    <a:pt x="672" y="531"/>
                  </a:lnTo>
                  <a:lnTo>
                    <a:pt x="677" y="531"/>
                  </a:lnTo>
                  <a:lnTo>
                    <a:pt x="681" y="531"/>
                  </a:lnTo>
                  <a:lnTo>
                    <a:pt x="686" y="531"/>
                  </a:lnTo>
                  <a:lnTo>
                    <a:pt x="690" y="531"/>
                  </a:lnTo>
                  <a:lnTo>
                    <a:pt x="690" y="526"/>
                  </a:lnTo>
                  <a:lnTo>
                    <a:pt x="695" y="526"/>
                  </a:lnTo>
                  <a:lnTo>
                    <a:pt x="699" y="521"/>
                  </a:lnTo>
                  <a:lnTo>
                    <a:pt x="704" y="521"/>
                  </a:lnTo>
                  <a:lnTo>
                    <a:pt x="704" y="517"/>
                  </a:lnTo>
                  <a:lnTo>
                    <a:pt x="709" y="512"/>
                  </a:lnTo>
                  <a:lnTo>
                    <a:pt x="709" y="508"/>
                  </a:lnTo>
                  <a:lnTo>
                    <a:pt x="713" y="508"/>
                  </a:lnTo>
                  <a:lnTo>
                    <a:pt x="718" y="508"/>
                  </a:lnTo>
                  <a:lnTo>
                    <a:pt x="718" y="512"/>
                  </a:lnTo>
                  <a:lnTo>
                    <a:pt x="722" y="512"/>
                  </a:lnTo>
                  <a:lnTo>
                    <a:pt x="722" y="517"/>
                  </a:lnTo>
                  <a:lnTo>
                    <a:pt x="722" y="521"/>
                  </a:lnTo>
                  <a:lnTo>
                    <a:pt x="722" y="526"/>
                  </a:lnTo>
                  <a:lnTo>
                    <a:pt x="722" y="526"/>
                  </a:lnTo>
                  <a:lnTo>
                    <a:pt x="722" y="531"/>
                  </a:lnTo>
                  <a:lnTo>
                    <a:pt x="718" y="535"/>
                  </a:lnTo>
                  <a:lnTo>
                    <a:pt x="718" y="549"/>
                  </a:lnTo>
                  <a:lnTo>
                    <a:pt x="718" y="549"/>
                  </a:lnTo>
                  <a:lnTo>
                    <a:pt x="722" y="553"/>
                  </a:lnTo>
                  <a:lnTo>
                    <a:pt x="722" y="558"/>
                  </a:lnTo>
                  <a:lnTo>
                    <a:pt x="722" y="567"/>
                  </a:lnTo>
                  <a:lnTo>
                    <a:pt x="722" y="572"/>
                  </a:lnTo>
                  <a:lnTo>
                    <a:pt x="718" y="572"/>
                  </a:lnTo>
                  <a:lnTo>
                    <a:pt x="713" y="572"/>
                  </a:lnTo>
                  <a:lnTo>
                    <a:pt x="709" y="572"/>
                  </a:lnTo>
                  <a:lnTo>
                    <a:pt x="704" y="572"/>
                  </a:lnTo>
                  <a:lnTo>
                    <a:pt x="704" y="581"/>
                  </a:lnTo>
                  <a:lnTo>
                    <a:pt x="704" y="585"/>
                  </a:lnTo>
                  <a:lnTo>
                    <a:pt x="699" y="590"/>
                  </a:lnTo>
                  <a:lnTo>
                    <a:pt x="686" y="590"/>
                  </a:lnTo>
                  <a:lnTo>
                    <a:pt x="681" y="595"/>
                  </a:lnTo>
                  <a:lnTo>
                    <a:pt x="677" y="595"/>
                  </a:lnTo>
                  <a:lnTo>
                    <a:pt x="677" y="595"/>
                  </a:lnTo>
                  <a:lnTo>
                    <a:pt x="677" y="599"/>
                  </a:lnTo>
                  <a:lnTo>
                    <a:pt x="677" y="604"/>
                  </a:lnTo>
                  <a:lnTo>
                    <a:pt x="681" y="604"/>
                  </a:lnTo>
                  <a:lnTo>
                    <a:pt x="690" y="604"/>
                  </a:lnTo>
                  <a:lnTo>
                    <a:pt x="695" y="604"/>
                  </a:lnTo>
                  <a:lnTo>
                    <a:pt x="699" y="604"/>
                  </a:lnTo>
                  <a:lnTo>
                    <a:pt x="704" y="604"/>
                  </a:lnTo>
                  <a:lnTo>
                    <a:pt x="709" y="604"/>
                  </a:lnTo>
                  <a:lnTo>
                    <a:pt x="713" y="604"/>
                  </a:lnTo>
                  <a:lnTo>
                    <a:pt x="718" y="608"/>
                  </a:lnTo>
                  <a:lnTo>
                    <a:pt x="718" y="613"/>
                  </a:lnTo>
                  <a:lnTo>
                    <a:pt x="722" y="613"/>
                  </a:lnTo>
                  <a:lnTo>
                    <a:pt x="722" y="613"/>
                  </a:lnTo>
                  <a:lnTo>
                    <a:pt x="722" y="617"/>
                  </a:lnTo>
                  <a:lnTo>
                    <a:pt x="722" y="622"/>
                  </a:lnTo>
                  <a:lnTo>
                    <a:pt x="713" y="631"/>
                  </a:lnTo>
                  <a:lnTo>
                    <a:pt x="709" y="631"/>
                  </a:lnTo>
                  <a:lnTo>
                    <a:pt x="704" y="631"/>
                  </a:lnTo>
                  <a:lnTo>
                    <a:pt x="704" y="636"/>
                  </a:lnTo>
                  <a:lnTo>
                    <a:pt x="704" y="636"/>
                  </a:lnTo>
                  <a:lnTo>
                    <a:pt x="699" y="636"/>
                  </a:lnTo>
                  <a:lnTo>
                    <a:pt x="699" y="636"/>
                  </a:lnTo>
                  <a:lnTo>
                    <a:pt x="695" y="631"/>
                  </a:lnTo>
                  <a:lnTo>
                    <a:pt x="672" y="622"/>
                  </a:lnTo>
                  <a:lnTo>
                    <a:pt x="667" y="617"/>
                  </a:lnTo>
                  <a:lnTo>
                    <a:pt x="658" y="617"/>
                  </a:lnTo>
                  <a:lnTo>
                    <a:pt x="649" y="613"/>
                  </a:lnTo>
                  <a:lnTo>
                    <a:pt x="640" y="613"/>
                  </a:lnTo>
                  <a:lnTo>
                    <a:pt x="626" y="608"/>
                  </a:lnTo>
                  <a:lnTo>
                    <a:pt x="613" y="608"/>
                  </a:lnTo>
                  <a:lnTo>
                    <a:pt x="617" y="590"/>
                  </a:lnTo>
                  <a:lnTo>
                    <a:pt x="617" y="581"/>
                  </a:lnTo>
                  <a:lnTo>
                    <a:pt x="617" y="576"/>
                  </a:lnTo>
                  <a:lnTo>
                    <a:pt x="613" y="576"/>
                  </a:lnTo>
                  <a:lnTo>
                    <a:pt x="608" y="576"/>
                  </a:lnTo>
                  <a:lnTo>
                    <a:pt x="599" y="576"/>
                  </a:lnTo>
                  <a:lnTo>
                    <a:pt x="594" y="581"/>
                  </a:lnTo>
                  <a:lnTo>
                    <a:pt x="590" y="581"/>
                  </a:lnTo>
                  <a:lnTo>
                    <a:pt x="581" y="576"/>
                  </a:lnTo>
                  <a:lnTo>
                    <a:pt x="576" y="576"/>
                  </a:lnTo>
                  <a:lnTo>
                    <a:pt x="571" y="572"/>
                  </a:lnTo>
                  <a:lnTo>
                    <a:pt x="567" y="572"/>
                  </a:lnTo>
                  <a:lnTo>
                    <a:pt x="558" y="572"/>
                  </a:lnTo>
                  <a:lnTo>
                    <a:pt x="553" y="567"/>
                  </a:lnTo>
                  <a:lnTo>
                    <a:pt x="549" y="563"/>
                  </a:lnTo>
                  <a:lnTo>
                    <a:pt x="549" y="558"/>
                  </a:lnTo>
                  <a:lnTo>
                    <a:pt x="549" y="553"/>
                  </a:lnTo>
                  <a:lnTo>
                    <a:pt x="553" y="549"/>
                  </a:lnTo>
                  <a:lnTo>
                    <a:pt x="558" y="549"/>
                  </a:lnTo>
                  <a:lnTo>
                    <a:pt x="562" y="549"/>
                  </a:lnTo>
                  <a:lnTo>
                    <a:pt x="567" y="549"/>
                  </a:lnTo>
                  <a:lnTo>
                    <a:pt x="571" y="549"/>
                  </a:lnTo>
                  <a:lnTo>
                    <a:pt x="571" y="549"/>
                  </a:lnTo>
                  <a:lnTo>
                    <a:pt x="571" y="544"/>
                  </a:lnTo>
                  <a:lnTo>
                    <a:pt x="576" y="540"/>
                  </a:lnTo>
                  <a:lnTo>
                    <a:pt x="576" y="535"/>
                  </a:lnTo>
                  <a:lnTo>
                    <a:pt x="576" y="531"/>
                  </a:lnTo>
                  <a:lnTo>
                    <a:pt x="576" y="526"/>
                  </a:lnTo>
                  <a:lnTo>
                    <a:pt x="571" y="526"/>
                  </a:lnTo>
                  <a:lnTo>
                    <a:pt x="571" y="526"/>
                  </a:lnTo>
                  <a:lnTo>
                    <a:pt x="571" y="526"/>
                  </a:lnTo>
                  <a:lnTo>
                    <a:pt x="567" y="526"/>
                  </a:lnTo>
                  <a:lnTo>
                    <a:pt x="562" y="526"/>
                  </a:lnTo>
                  <a:lnTo>
                    <a:pt x="553" y="526"/>
                  </a:lnTo>
                  <a:lnTo>
                    <a:pt x="553" y="531"/>
                  </a:lnTo>
                  <a:lnTo>
                    <a:pt x="549" y="531"/>
                  </a:lnTo>
                  <a:lnTo>
                    <a:pt x="544" y="531"/>
                  </a:lnTo>
                  <a:lnTo>
                    <a:pt x="539" y="535"/>
                  </a:lnTo>
                  <a:lnTo>
                    <a:pt x="535" y="535"/>
                  </a:lnTo>
                  <a:lnTo>
                    <a:pt x="530" y="535"/>
                  </a:lnTo>
                  <a:lnTo>
                    <a:pt x="526" y="535"/>
                  </a:lnTo>
                  <a:lnTo>
                    <a:pt x="526" y="535"/>
                  </a:lnTo>
                  <a:lnTo>
                    <a:pt x="526" y="531"/>
                  </a:lnTo>
                  <a:lnTo>
                    <a:pt x="526" y="526"/>
                  </a:lnTo>
                  <a:lnTo>
                    <a:pt x="521" y="521"/>
                  </a:lnTo>
                  <a:lnTo>
                    <a:pt x="521" y="517"/>
                  </a:lnTo>
                  <a:lnTo>
                    <a:pt x="521" y="512"/>
                  </a:lnTo>
                  <a:lnTo>
                    <a:pt x="526" y="512"/>
                  </a:lnTo>
                  <a:lnTo>
                    <a:pt x="526" y="508"/>
                  </a:lnTo>
                  <a:lnTo>
                    <a:pt x="535" y="503"/>
                  </a:lnTo>
                  <a:lnTo>
                    <a:pt x="539" y="503"/>
                  </a:lnTo>
                  <a:lnTo>
                    <a:pt x="544" y="499"/>
                  </a:lnTo>
                  <a:lnTo>
                    <a:pt x="544" y="494"/>
                  </a:lnTo>
                  <a:lnTo>
                    <a:pt x="549" y="494"/>
                  </a:lnTo>
                  <a:lnTo>
                    <a:pt x="549" y="489"/>
                  </a:lnTo>
                  <a:lnTo>
                    <a:pt x="544" y="485"/>
                  </a:lnTo>
                  <a:lnTo>
                    <a:pt x="521" y="485"/>
                  </a:lnTo>
                  <a:lnTo>
                    <a:pt x="475" y="485"/>
                  </a:lnTo>
                  <a:lnTo>
                    <a:pt x="439" y="485"/>
                  </a:lnTo>
                  <a:lnTo>
                    <a:pt x="407" y="485"/>
                  </a:lnTo>
                  <a:lnTo>
                    <a:pt x="393" y="485"/>
                  </a:lnTo>
                  <a:lnTo>
                    <a:pt x="389" y="485"/>
                  </a:lnTo>
                  <a:lnTo>
                    <a:pt x="288" y="485"/>
                  </a:lnTo>
                  <a:lnTo>
                    <a:pt x="283" y="485"/>
                  </a:lnTo>
                  <a:lnTo>
                    <a:pt x="279" y="485"/>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Ogun</a:t>
              </a:r>
            </a:p>
          </p:txBody>
        </p:sp>
        <p:sp>
          <p:nvSpPr>
            <p:cNvPr id="152" name="Freeform 71">
              <a:extLst>
                <a:ext uri="{FF2B5EF4-FFF2-40B4-BE49-F238E27FC236}">
                  <a16:creationId xmlns:a16="http://schemas.microsoft.com/office/drawing/2014/main" id="{FB633241-94CD-4A39-BDFA-53E0E9C7DD4F}"/>
                </a:ext>
              </a:extLst>
            </p:cNvPr>
            <p:cNvSpPr>
              <a:spLocks/>
            </p:cNvSpPr>
            <p:nvPr>
              <p:custDataLst>
                <p:tags r:id="rId64"/>
              </p:custDataLst>
            </p:nvPr>
          </p:nvSpPr>
          <p:spPr bwMode="auto">
            <a:xfrm>
              <a:off x="694068" y="3145012"/>
              <a:ext cx="567044" cy="721801"/>
            </a:xfrm>
            <a:custGeom>
              <a:avLst/>
              <a:gdLst/>
              <a:ahLst/>
              <a:cxnLst>
                <a:cxn ang="0">
                  <a:pos x="74" y="297"/>
                </a:cxn>
                <a:cxn ang="0">
                  <a:pos x="96" y="251"/>
                </a:cxn>
                <a:cxn ang="0">
                  <a:pos x="133" y="224"/>
                </a:cxn>
                <a:cxn ang="0">
                  <a:pos x="174" y="206"/>
                </a:cxn>
                <a:cxn ang="0">
                  <a:pos x="179" y="165"/>
                </a:cxn>
                <a:cxn ang="0">
                  <a:pos x="211" y="155"/>
                </a:cxn>
                <a:cxn ang="0">
                  <a:pos x="234" y="142"/>
                </a:cxn>
                <a:cxn ang="0">
                  <a:pos x="279" y="123"/>
                </a:cxn>
                <a:cxn ang="0">
                  <a:pos x="334" y="133"/>
                </a:cxn>
                <a:cxn ang="0">
                  <a:pos x="375" y="165"/>
                </a:cxn>
                <a:cxn ang="0">
                  <a:pos x="426" y="178"/>
                </a:cxn>
                <a:cxn ang="0">
                  <a:pos x="462" y="133"/>
                </a:cxn>
                <a:cxn ang="0">
                  <a:pos x="476" y="78"/>
                </a:cxn>
                <a:cxn ang="0">
                  <a:pos x="549" y="9"/>
                </a:cxn>
                <a:cxn ang="0">
                  <a:pos x="599" y="0"/>
                </a:cxn>
                <a:cxn ang="0">
                  <a:pos x="604" y="37"/>
                </a:cxn>
                <a:cxn ang="0">
                  <a:pos x="627" y="64"/>
                </a:cxn>
                <a:cxn ang="0">
                  <a:pos x="640" y="87"/>
                </a:cxn>
                <a:cxn ang="0">
                  <a:pos x="613" y="105"/>
                </a:cxn>
                <a:cxn ang="0">
                  <a:pos x="622" y="128"/>
                </a:cxn>
                <a:cxn ang="0">
                  <a:pos x="618" y="151"/>
                </a:cxn>
                <a:cxn ang="0">
                  <a:pos x="608" y="174"/>
                </a:cxn>
                <a:cxn ang="0">
                  <a:pos x="595" y="206"/>
                </a:cxn>
                <a:cxn ang="0">
                  <a:pos x="586" y="238"/>
                </a:cxn>
                <a:cxn ang="0">
                  <a:pos x="567" y="274"/>
                </a:cxn>
                <a:cxn ang="0">
                  <a:pos x="549" y="306"/>
                </a:cxn>
                <a:cxn ang="0">
                  <a:pos x="540" y="347"/>
                </a:cxn>
                <a:cxn ang="0">
                  <a:pos x="531" y="375"/>
                </a:cxn>
                <a:cxn ang="0">
                  <a:pos x="503" y="393"/>
                </a:cxn>
                <a:cxn ang="0">
                  <a:pos x="480" y="393"/>
                </a:cxn>
                <a:cxn ang="0">
                  <a:pos x="458" y="389"/>
                </a:cxn>
                <a:cxn ang="0">
                  <a:pos x="448" y="361"/>
                </a:cxn>
                <a:cxn ang="0">
                  <a:pos x="458" y="347"/>
                </a:cxn>
                <a:cxn ang="0">
                  <a:pos x="407" y="343"/>
                </a:cxn>
                <a:cxn ang="0">
                  <a:pos x="334" y="347"/>
                </a:cxn>
                <a:cxn ang="0">
                  <a:pos x="320" y="379"/>
                </a:cxn>
                <a:cxn ang="0">
                  <a:pos x="302" y="393"/>
                </a:cxn>
                <a:cxn ang="0">
                  <a:pos x="288" y="425"/>
                </a:cxn>
                <a:cxn ang="0">
                  <a:pos x="307" y="457"/>
                </a:cxn>
                <a:cxn ang="0">
                  <a:pos x="298" y="494"/>
                </a:cxn>
                <a:cxn ang="0">
                  <a:pos x="279" y="530"/>
                </a:cxn>
                <a:cxn ang="0">
                  <a:pos x="256" y="549"/>
                </a:cxn>
                <a:cxn ang="0">
                  <a:pos x="261" y="585"/>
                </a:cxn>
                <a:cxn ang="0">
                  <a:pos x="288" y="603"/>
                </a:cxn>
                <a:cxn ang="0">
                  <a:pos x="279" y="626"/>
                </a:cxn>
                <a:cxn ang="0">
                  <a:pos x="266" y="663"/>
                </a:cxn>
                <a:cxn ang="0">
                  <a:pos x="252" y="690"/>
                </a:cxn>
                <a:cxn ang="0">
                  <a:pos x="202" y="672"/>
                </a:cxn>
                <a:cxn ang="0">
                  <a:pos x="151" y="626"/>
                </a:cxn>
                <a:cxn ang="0">
                  <a:pos x="69" y="558"/>
                </a:cxn>
                <a:cxn ang="0">
                  <a:pos x="87" y="535"/>
                </a:cxn>
                <a:cxn ang="0">
                  <a:pos x="55" y="526"/>
                </a:cxn>
                <a:cxn ang="0">
                  <a:pos x="64" y="512"/>
                </a:cxn>
                <a:cxn ang="0">
                  <a:pos x="87" y="489"/>
                </a:cxn>
                <a:cxn ang="0">
                  <a:pos x="87" y="448"/>
                </a:cxn>
                <a:cxn ang="0">
                  <a:pos x="74" y="434"/>
                </a:cxn>
                <a:cxn ang="0">
                  <a:pos x="46" y="453"/>
                </a:cxn>
                <a:cxn ang="0">
                  <a:pos x="0" y="439"/>
                </a:cxn>
                <a:cxn ang="0">
                  <a:pos x="10" y="393"/>
                </a:cxn>
                <a:cxn ang="0">
                  <a:pos x="64" y="361"/>
                </a:cxn>
              </a:cxnLst>
              <a:rect l="0" t="0" r="r" b="b"/>
              <a:pathLst>
                <a:path w="650" h="713">
                  <a:moveTo>
                    <a:pt x="64" y="361"/>
                  </a:moveTo>
                  <a:lnTo>
                    <a:pt x="69" y="357"/>
                  </a:lnTo>
                  <a:lnTo>
                    <a:pt x="69" y="352"/>
                  </a:lnTo>
                  <a:lnTo>
                    <a:pt x="69" y="338"/>
                  </a:lnTo>
                  <a:lnTo>
                    <a:pt x="69" y="325"/>
                  </a:lnTo>
                  <a:lnTo>
                    <a:pt x="69" y="320"/>
                  </a:lnTo>
                  <a:lnTo>
                    <a:pt x="69" y="311"/>
                  </a:lnTo>
                  <a:lnTo>
                    <a:pt x="74" y="297"/>
                  </a:lnTo>
                  <a:lnTo>
                    <a:pt x="78" y="293"/>
                  </a:lnTo>
                  <a:lnTo>
                    <a:pt x="83" y="279"/>
                  </a:lnTo>
                  <a:lnTo>
                    <a:pt x="87" y="274"/>
                  </a:lnTo>
                  <a:lnTo>
                    <a:pt x="87" y="274"/>
                  </a:lnTo>
                  <a:lnTo>
                    <a:pt x="92" y="270"/>
                  </a:lnTo>
                  <a:lnTo>
                    <a:pt x="92" y="265"/>
                  </a:lnTo>
                  <a:lnTo>
                    <a:pt x="92" y="256"/>
                  </a:lnTo>
                  <a:lnTo>
                    <a:pt x="96" y="251"/>
                  </a:lnTo>
                  <a:lnTo>
                    <a:pt x="106" y="247"/>
                  </a:lnTo>
                  <a:lnTo>
                    <a:pt x="110" y="242"/>
                  </a:lnTo>
                  <a:lnTo>
                    <a:pt x="110" y="238"/>
                  </a:lnTo>
                  <a:lnTo>
                    <a:pt x="119" y="233"/>
                  </a:lnTo>
                  <a:lnTo>
                    <a:pt x="124" y="229"/>
                  </a:lnTo>
                  <a:lnTo>
                    <a:pt x="128" y="229"/>
                  </a:lnTo>
                  <a:lnTo>
                    <a:pt x="133" y="229"/>
                  </a:lnTo>
                  <a:lnTo>
                    <a:pt x="133" y="224"/>
                  </a:lnTo>
                  <a:lnTo>
                    <a:pt x="133" y="219"/>
                  </a:lnTo>
                  <a:lnTo>
                    <a:pt x="138" y="219"/>
                  </a:lnTo>
                  <a:lnTo>
                    <a:pt x="142" y="215"/>
                  </a:lnTo>
                  <a:lnTo>
                    <a:pt x="147" y="210"/>
                  </a:lnTo>
                  <a:lnTo>
                    <a:pt x="151" y="210"/>
                  </a:lnTo>
                  <a:lnTo>
                    <a:pt x="160" y="210"/>
                  </a:lnTo>
                  <a:lnTo>
                    <a:pt x="170" y="206"/>
                  </a:lnTo>
                  <a:lnTo>
                    <a:pt x="174" y="206"/>
                  </a:lnTo>
                  <a:lnTo>
                    <a:pt x="179" y="206"/>
                  </a:lnTo>
                  <a:lnTo>
                    <a:pt x="179" y="206"/>
                  </a:lnTo>
                  <a:lnTo>
                    <a:pt x="179" y="201"/>
                  </a:lnTo>
                  <a:lnTo>
                    <a:pt x="179" y="192"/>
                  </a:lnTo>
                  <a:lnTo>
                    <a:pt x="179" y="187"/>
                  </a:lnTo>
                  <a:lnTo>
                    <a:pt x="179" y="183"/>
                  </a:lnTo>
                  <a:lnTo>
                    <a:pt x="179" y="174"/>
                  </a:lnTo>
                  <a:lnTo>
                    <a:pt x="179" y="165"/>
                  </a:lnTo>
                  <a:lnTo>
                    <a:pt x="179" y="165"/>
                  </a:lnTo>
                  <a:lnTo>
                    <a:pt x="179" y="160"/>
                  </a:lnTo>
                  <a:lnTo>
                    <a:pt x="183" y="155"/>
                  </a:lnTo>
                  <a:lnTo>
                    <a:pt x="188" y="155"/>
                  </a:lnTo>
                  <a:lnTo>
                    <a:pt x="192" y="155"/>
                  </a:lnTo>
                  <a:lnTo>
                    <a:pt x="197" y="155"/>
                  </a:lnTo>
                  <a:lnTo>
                    <a:pt x="202" y="155"/>
                  </a:lnTo>
                  <a:lnTo>
                    <a:pt x="211" y="155"/>
                  </a:lnTo>
                  <a:lnTo>
                    <a:pt x="215" y="155"/>
                  </a:lnTo>
                  <a:lnTo>
                    <a:pt x="220" y="151"/>
                  </a:lnTo>
                  <a:lnTo>
                    <a:pt x="224" y="151"/>
                  </a:lnTo>
                  <a:lnTo>
                    <a:pt x="224" y="146"/>
                  </a:lnTo>
                  <a:lnTo>
                    <a:pt x="224" y="142"/>
                  </a:lnTo>
                  <a:lnTo>
                    <a:pt x="224" y="142"/>
                  </a:lnTo>
                  <a:lnTo>
                    <a:pt x="224" y="137"/>
                  </a:lnTo>
                  <a:lnTo>
                    <a:pt x="234" y="142"/>
                  </a:lnTo>
                  <a:lnTo>
                    <a:pt x="238" y="142"/>
                  </a:lnTo>
                  <a:lnTo>
                    <a:pt x="243" y="137"/>
                  </a:lnTo>
                  <a:lnTo>
                    <a:pt x="247" y="137"/>
                  </a:lnTo>
                  <a:lnTo>
                    <a:pt x="252" y="133"/>
                  </a:lnTo>
                  <a:lnTo>
                    <a:pt x="261" y="128"/>
                  </a:lnTo>
                  <a:lnTo>
                    <a:pt x="266" y="123"/>
                  </a:lnTo>
                  <a:lnTo>
                    <a:pt x="270" y="123"/>
                  </a:lnTo>
                  <a:lnTo>
                    <a:pt x="279" y="123"/>
                  </a:lnTo>
                  <a:lnTo>
                    <a:pt x="284" y="123"/>
                  </a:lnTo>
                  <a:lnTo>
                    <a:pt x="288" y="123"/>
                  </a:lnTo>
                  <a:lnTo>
                    <a:pt x="293" y="128"/>
                  </a:lnTo>
                  <a:lnTo>
                    <a:pt x="298" y="128"/>
                  </a:lnTo>
                  <a:lnTo>
                    <a:pt x="311" y="128"/>
                  </a:lnTo>
                  <a:lnTo>
                    <a:pt x="316" y="128"/>
                  </a:lnTo>
                  <a:lnTo>
                    <a:pt x="316" y="133"/>
                  </a:lnTo>
                  <a:lnTo>
                    <a:pt x="334" y="133"/>
                  </a:lnTo>
                  <a:lnTo>
                    <a:pt x="357" y="123"/>
                  </a:lnTo>
                  <a:lnTo>
                    <a:pt x="362" y="123"/>
                  </a:lnTo>
                  <a:lnTo>
                    <a:pt x="362" y="128"/>
                  </a:lnTo>
                  <a:lnTo>
                    <a:pt x="366" y="133"/>
                  </a:lnTo>
                  <a:lnTo>
                    <a:pt x="375" y="142"/>
                  </a:lnTo>
                  <a:lnTo>
                    <a:pt x="375" y="146"/>
                  </a:lnTo>
                  <a:lnTo>
                    <a:pt x="375" y="155"/>
                  </a:lnTo>
                  <a:lnTo>
                    <a:pt x="375" y="165"/>
                  </a:lnTo>
                  <a:lnTo>
                    <a:pt x="375" y="174"/>
                  </a:lnTo>
                  <a:lnTo>
                    <a:pt x="380" y="183"/>
                  </a:lnTo>
                  <a:lnTo>
                    <a:pt x="389" y="187"/>
                  </a:lnTo>
                  <a:lnTo>
                    <a:pt x="394" y="187"/>
                  </a:lnTo>
                  <a:lnTo>
                    <a:pt x="398" y="183"/>
                  </a:lnTo>
                  <a:lnTo>
                    <a:pt x="403" y="183"/>
                  </a:lnTo>
                  <a:lnTo>
                    <a:pt x="416" y="178"/>
                  </a:lnTo>
                  <a:lnTo>
                    <a:pt x="426" y="178"/>
                  </a:lnTo>
                  <a:lnTo>
                    <a:pt x="435" y="174"/>
                  </a:lnTo>
                  <a:lnTo>
                    <a:pt x="439" y="174"/>
                  </a:lnTo>
                  <a:lnTo>
                    <a:pt x="439" y="169"/>
                  </a:lnTo>
                  <a:lnTo>
                    <a:pt x="444" y="165"/>
                  </a:lnTo>
                  <a:lnTo>
                    <a:pt x="448" y="165"/>
                  </a:lnTo>
                  <a:lnTo>
                    <a:pt x="453" y="155"/>
                  </a:lnTo>
                  <a:lnTo>
                    <a:pt x="458" y="142"/>
                  </a:lnTo>
                  <a:lnTo>
                    <a:pt x="462" y="133"/>
                  </a:lnTo>
                  <a:lnTo>
                    <a:pt x="467" y="119"/>
                  </a:lnTo>
                  <a:lnTo>
                    <a:pt x="467" y="110"/>
                  </a:lnTo>
                  <a:lnTo>
                    <a:pt x="467" y="105"/>
                  </a:lnTo>
                  <a:lnTo>
                    <a:pt x="471" y="96"/>
                  </a:lnTo>
                  <a:lnTo>
                    <a:pt x="471" y="96"/>
                  </a:lnTo>
                  <a:lnTo>
                    <a:pt x="467" y="96"/>
                  </a:lnTo>
                  <a:lnTo>
                    <a:pt x="471" y="87"/>
                  </a:lnTo>
                  <a:lnTo>
                    <a:pt x="476" y="78"/>
                  </a:lnTo>
                  <a:lnTo>
                    <a:pt x="476" y="59"/>
                  </a:lnTo>
                  <a:lnTo>
                    <a:pt x="499" y="37"/>
                  </a:lnTo>
                  <a:lnTo>
                    <a:pt x="508" y="32"/>
                  </a:lnTo>
                  <a:lnTo>
                    <a:pt x="517" y="32"/>
                  </a:lnTo>
                  <a:lnTo>
                    <a:pt x="531" y="27"/>
                  </a:lnTo>
                  <a:lnTo>
                    <a:pt x="544" y="23"/>
                  </a:lnTo>
                  <a:lnTo>
                    <a:pt x="549" y="14"/>
                  </a:lnTo>
                  <a:lnTo>
                    <a:pt x="549" y="9"/>
                  </a:lnTo>
                  <a:lnTo>
                    <a:pt x="549" y="5"/>
                  </a:lnTo>
                  <a:lnTo>
                    <a:pt x="549" y="9"/>
                  </a:lnTo>
                  <a:lnTo>
                    <a:pt x="554" y="9"/>
                  </a:lnTo>
                  <a:lnTo>
                    <a:pt x="563" y="9"/>
                  </a:lnTo>
                  <a:lnTo>
                    <a:pt x="572" y="5"/>
                  </a:lnTo>
                  <a:lnTo>
                    <a:pt x="590" y="5"/>
                  </a:lnTo>
                  <a:lnTo>
                    <a:pt x="595" y="0"/>
                  </a:lnTo>
                  <a:lnTo>
                    <a:pt x="599" y="0"/>
                  </a:lnTo>
                  <a:lnTo>
                    <a:pt x="599" y="5"/>
                  </a:lnTo>
                  <a:lnTo>
                    <a:pt x="604" y="9"/>
                  </a:lnTo>
                  <a:lnTo>
                    <a:pt x="599" y="9"/>
                  </a:lnTo>
                  <a:lnTo>
                    <a:pt x="599" y="14"/>
                  </a:lnTo>
                  <a:lnTo>
                    <a:pt x="595" y="27"/>
                  </a:lnTo>
                  <a:lnTo>
                    <a:pt x="595" y="32"/>
                  </a:lnTo>
                  <a:lnTo>
                    <a:pt x="599" y="32"/>
                  </a:lnTo>
                  <a:lnTo>
                    <a:pt x="604" y="37"/>
                  </a:lnTo>
                  <a:lnTo>
                    <a:pt x="604" y="41"/>
                  </a:lnTo>
                  <a:lnTo>
                    <a:pt x="608" y="46"/>
                  </a:lnTo>
                  <a:lnTo>
                    <a:pt x="613" y="50"/>
                  </a:lnTo>
                  <a:lnTo>
                    <a:pt x="613" y="55"/>
                  </a:lnTo>
                  <a:lnTo>
                    <a:pt x="618" y="55"/>
                  </a:lnTo>
                  <a:lnTo>
                    <a:pt x="618" y="55"/>
                  </a:lnTo>
                  <a:lnTo>
                    <a:pt x="618" y="59"/>
                  </a:lnTo>
                  <a:lnTo>
                    <a:pt x="627" y="64"/>
                  </a:lnTo>
                  <a:lnTo>
                    <a:pt x="631" y="69"/>
                  </a:lnTo>
                  <a:lnTo>
                    <a:pt x="636" y="69"/>
                  </a:lnTo>
                  <a:lnTo>
                    <a:pt x="636" y="73"/>
                  </a:lnTo>
                  <a:lnTo>
                    <a:pt x="640" y="78"/>
                  </a:lnTo>
                  <a:lnTo>
                    <a:pt x="650" y="78"/>
                  </a:lnTo>
                  <a:lnTo>
                    <a:pt x="645" y="78"/>
                  </a:lnTo>
                  <a:lnTo>
                    <a:pt x="645" y="82"/>
                  </a:lnTo>
                  <a:lnTo>
                    <a:pt x="640" y="87"/>
                  </a:lnTo>
                  <a:lnTo>
                    <a:pt x="640" y="91"/>
                  </a:lnTo>
                  <a:lnTo>
                    <a:pt x="636" y="96"/>
                  </a:lnTo>
                  <a:lnTo>
                    <a:pt x="636" y="96"/>
                  </a:lnTo>
                  <a:lnTo>
                    <a:pt x="627" y="96"/>
                  </a:lnTo>
                  <a:lnTo>
                    <a:pt x="622" y="96"/>
                  </a:lnTo>
                  <a:lnTo>
                    <a:pt x="618" y="101"/>
                  </a:lnTo>
                  <a:lnTo>
                    <a:pt x="618" y="101"/>
                  </a:lnTo>
                  <a:lnTo>
                    <a:pt x="613" y="105"/>
                  </a:lnTo>
                  <a:lnTo>
                    <a:pt x="613" y="110"/>
                  </a:lnTo>
                  <a:lnTo>
                    <a:pt x="613" y="114"/>
                  </a:lnTo>
                  <a:lnTo>
                    <a:pt x="613" y="119"/>
                  </a:lnTo>
                  <a:lnTo>
                    <a:pt x="618" y="119"/>
                  </a:lnTo>
                  <a:lnTo>
                    <a:pt x="618" y="119"/>
                  </a:lnTo>
                  <a:lnTo>
                    <a:pt x="618" y="119"/>
                  </a:lnTo>
                  <a:lnTo>
                    <a:pt x="622" y="123"/>
                  </a:lnTo>
                  <a:lnTo>
                    <a:pt x="622" y="128"/>
                  </a:lnTo>
                  <a:lnTo>
                    <a:pt x="627" y="128"/>
                  </a:lnTo>
                  <a:lnTo>
                    <a:pt x="627" y="133"/>
                  </a:lnTo>
                  <a:lnTo>
                    <a:pt x="622" y="133"/>
                  </a:lnTo>
                  <a:lnTo>
                    <a:pt x="622" y="137"/>
                  </a:lnTo>
                  <a:lnTo>
                    <a:pt x="622" y="142"/>
                  </a:lnTo>
                  <a:lnTo>
                    <a:pt x="618" y="142"/>
                  </a:lnTo>
                  <a:lnTo>
                    <a:pt x="618" y="146"/>
                  </a:lnTo>
                  <a:lnTo>
                    <a:pt x="618" y="151"/>
                  </a:lnTo>
                  <a:lnTo>
                    <a:pt x="622" y="155"/>
                  </a:lnTo>
                  <a:lnTo>
                    <a:pt x="622" y="160"/>
                  </a:lnTo>
                  <a:lnTo>
                    <a:pt x="622" y="165"/>
                  </a:lnTo>
                  <a:lnTo>
                    <a:pt x="622" y="165"/>
                  </a:lnTo>
                  <a:lnTo>
                    <a:pt x="622" y="169"/>
                  </a:lnTo>
                  <a:lnTo>
                    <a:pt x="618" y="169"/>
                  </a:lnTo>
                  <a:lnTo>
                    <a:pt x="613" y="169"/>
                  </a:lnTo>
                  <a:lnTo>
                    <a:pt x="608" y="174"/>
                  </a:lnTo>
                  <a:lnTo>
                    <a:pt x="604" y="174"/>
                  </a:lnTo>
                  <a:lnTo>
                    <a:pt x="604" y="178"/>
                  </a:lnTo>
                  <a:lnTo>
                    <a:pt x="599" y="183"/>
                  </a:lnTo>
                  <a:lnTo>
                    <a:pt x="599" y="187"/>
                  </a:lnTo>
                  <a:lnTo>
                    <a:pt x="599" y="187"/>
                  </a:lnTo>
                  <a:lnTo>
                    <a:pt x="595" y="197"/>
                  </a:lnTo>
                  <a:lnTo>
                    <a:pt x="595" y="201"/>
                  </a:lnTo>
                  <a:lnTo>
                    <a:pt x="595" y="206"/>
                  </a:lnTo>
                  <a:lnTo>
                    <a:pt x="595" y="206"/>
                  </a:lnTo>
                  <a:lnTo>
                    <a:pt x="590" y="210"/>
                  </a:lnTo>
                  <a:lnTo>
                    <a:pt x="590" y="215"/>
                  </a:lnTo>
                  <a:lnTo>
                    <a:pt x="590" y="219"/>
                  </a:lnTo>
                  <a:lnTo>
                    <a:pt x="590" y="224"/>
                  </a:lnTo>
                  <a:lnTo>
                    <a:pt x="586" y="229"/>
                  </a:lnTo>
                  <a:lnTo>
                    <a:pt x="586" y="233"/>
                  </a:lnTo>
                  <a:lnTo>
                    <a:pt x="586" y="238"/>
                  </a:lnTo>
                  <a:lnTo>
                    <a:pt x="581" y="242"/>
                  </a:lnTo>
                  <a:lnTo>
                    <a:pt x="576" y="251"/>
                  </a:lnTo>
                  <a:lnTo>
                    <a:pt x="576" y="256"/>
                  </a:lnTo>
                  <a:lnTo>
                    <a:pt x="572" y="261"/>
                  </a:lnTo>
                  <a:lnTo>
                    <a:pt x="572" y="265"/>
                  </a:lnTo>
                  <a:lnTo>
                    <a:pt x="572" y="270"/>
                  </a:lnTo>
                  <a:lnTo>
                    <a:pt x="567" y="274"/>
                  </a:lnTo>
                  <a:lnTo>
                    <a:pt x="567" y="274"/>
                  </a:lnTo>
                  <a:lnTo>
                    <a:pt x="563" y="274"/>
                  </a:lnTo>
                  <a:lnTo>
                    <a:pt x="563" y="279"/>
                  </a:lnTo>
                  <a:lnTo>
                    <a:pt x="558" y="279"/>
                  </a:lnTo>
                  <a:lnTo>
                    <a:pt x="558" y="283"/>
                  </a:lnTo>
                  <a:lnTo>
                    <a:pt x="554" y="293"/>
                  </a:lnTo>
                  <a:lnTo>
                    <a:pt x="549" y="297"/>
                  </a:lnTo>
                  <a:lnTo>
                    <a:pt x="549" y="302"/>
                  </a:lnTo>
                  <a:lnTo>
                    <a:pt x="549" y="306"/>
                  </a:lnTo>
                  <a:lnTo>
                    <a:pt x="554" y="315"/>
                  </a:lnTo>
                  <a:lnTo>
                    <a:pt x="554" y="320"/>
                  </a:lnTo>
                  <a:lnTo>
                    <a:pt x="549" y="329"/>
                  </a:lnTo>
                  <a:lnTo>
                    <a:pt x="549" y="334"/>
                  </a:lnTo>
                  <a:lnTo>
                    <a:pt x="544" y="338"/>
                  </a:lnTo>
                  <a:lnTo>
                    <a:pt x="540" y="338"/>
                  </a:lnTo>
                  <a:lnTo>
                    <a:pt x="540" y="343"/>
                  </a:lnTo>
                  <a:lnTo>
                    <a:pt x="540" y="347"/>
                  </a:lnTo>
                  <a:lnTo>
                    <a:pt x="535" y="347"/>
                  </a:lnTo>
                  <a:lnTo>
                    <a:pt x="535" y="352"/>
                  </a:lnTo>
                  <a:lnTo>
                    <a:pt x="531" y="352"/>
                  </a:lnTo>
                  <a:lnTo>
                    <a:pt x="531" y="357"/>
                  </a:lnTo>
                  <a:lnTo>
                    <a:pt x="531" y="361"/>
                  </a:lnTo>
                  <a:lnTo>
                    <a:pt x="531" y="366"/>
                  </a:lnTo>
                  <a:lnTo>
                    <a:pt x="531" y="370"/>
                  </a:lnTo>
                  <a:lnTo>
                    <a:pt x="531" y="375"/>
                  </a:lnTo>
                  <a:lnTo>
                    <a:pt x="531" y="384"/>
                  </a:lnTo>
                  <a:lnTo>
                    <a:pt x="526" y="384"/>
                  </a:lnTo>
                  <a:lnTo>
                    <a:pt x="526" y="384"/>
                  </a:lnTo>
                  <a:lnTo>
                    <a:pt x="517" y="393"/>
                  </a:lnTo>
                  <a:lnTo>
                    <a:pt x="512" y="398"/>
                  </a:lnTo>
                  <a:lnTo>
                    <a:pt x="508" y="398"/>
                  </a:lnTo>
                  <a:lnTo>
                    <a:pt x="508" y="398"/>
                  </a:lnTo>
                  <a:lnTo>
                    <a:pt x="503" y="393"/>
                  </a:lnTo>
                  <a:lnTo>
                    <a:pt x="499" y="393"/>
                  </a:lnTo>
                  <a:lnTo>
                    <a:pt x="499" y="389"/>
                  </a:lnTo>
                  <a:lnTo>
                    <a:pt x="494" y="384"/>
                  </a:lnTo>
                  <a:lnTo>
                    <a:pt x="490" y="384"/>
                  </a:lnTo>
                  <a:lnTo>
                    <a:pt x="485" y="389"/>
                  </a:lnTo>
                  <a:lnTo>
                    <a:pt x="485" y="389"/>
                  </a:lnTo>
                  <a:lnTo>
                    <a:pt x="480" y="389"/>
                  </a:lnTo>
                  <a:lnTo>
                    <a:pt x="480" y="393"/>
                  </a:lnTo>
                  <a:lnTo>
                    <a:pt x="476" y="393"/>
                  </a:lnTo>
                  <a:lnTo>
                    <a:pt x="476" y="398"/>
                  </a:lnTo>
                  <a:lnTo>
                    <a:pt x="471" y="402"/>
                  </a:lnTo>
                  <a:lnTo>
                    <a:pt x="467" y="402"/>
                  </a:lnTo>
                  <a:lnTo>
                    <a:pt x="467" y="407"/>
                  </a:lnTo>
                  <a:lnTo>
                    <a:pt x="462" y="407"/>
                  </a:lnTo>
                  <a:lnTo>
                    <a:pt x="462" y="402"/>
                  </a:lnTo>
                  <a:lnTo>
                    <a:pt x="458" y="389"/>
                  </a:lnTo>
                  <a:lnTo>
                    <a:pt x="458" y="384"/>
                  </a:lnTo>
                  <a:lnTo>
                    <a:pt x="453" y="384"/>
                  </a:lnTo>
                  <a:lnTo>
                    <a:pt x="448" y="379"/>
                  </a:lnTo>
                  <a:lnTo>
                    <a:pt x="448" y="375"/>
                  </a:lnTo>
                  <a:lnTo>
                    <a:pt x="444" y="366"/>
                  </a:lnTo>
                  <a:lnTo>
                    <a:pt x="444" y="361"/>
                  </a:lnTo>
                  <a:lnTo>
                    <a:pt x="444" y="361"/>
                  </a:lnTo>
                  <a:lnTo>
                    <a:pt x="448" y="361"/>
                  </a:lnTo>
                  <a:lnTo>
                    <a:pt x="453" y="361"/>
                  </a:lnTo>
                  <a:lnTo>
                    <a:pt x="462" y="361"/>
                  </a:lnTo>
                  <a:lnTo>
                    <a:pt x="462" y="361"/>
                  </a:lnTo>
                  <a:lnTo>
                    <a:pt x="462" y="357"/>
                  </a:lnTo>
                  <a:lnTo>
                    <a:pt x="462" y="357"/>
                  </a:lnTo>
                  <a:lnTo>
                    <a:pt x="462" y="352"/>
                  </a:lnTo>
                  <a:lnTo>
                    <a:pt x="458" y="352"/>
                  </a:lnTo>
                  <a:lnTo>
                    <a:pt x="458" y="347"/>
                  </a:lnTo>
                  <a:lnTo>
                    <a:pt x="453" y="347"/>
                  </a:lnTo>
                  <a:lnTo>
                    <a:pt x="453" y="343"/>
                  </a:lnTo>
                  <a:lnTo>
                    <a:pt x="448" y="343"/>
                  </a:lnTo>
                  <a:lnTo>
                    <a:pt x="439" y="343"/>
                  </a:lnTo>
                  <a:lnTo>
                    <a:pt x="430" y="343"/>
                  </a:lnTo>
                  <a:lnTo>
                    <a:pt x="421" y="343"/>
                  </a:lnTo>
                  <a:lnTo>
                    <a:pt x="412" y="343"/>
                  </a:lnTo>
                  <a:lnTo>
                    <a:pt x="407" y="343"/>
                  </a:lnTo>
                  <a:lnTo>
                    <a:pt x="398" y="343"/>
                  </a:lnTo>
                  <a:lnTo>
                    <a:pt x="398" y="343"/>
                  </a:lnTo>
                  <a:lnTo>
                    <a:pt x="371" y="338"/>
                  </a:lnTo>
                  <a:lnTo>
                    <a:pt x="352" y="338"/>
                  </a:lnTo>
                  <a:lnTo>
                    <a:pt x="352" y="338"/>
                  </a:lnTo>
                  <a:lnTo>
                    <a:pt x="348" y="338"/>
                  </a:lnTo>
                  <a:lnTo>
                    <a:pt x="343" y="338"/>
                  </a:lnTo>
                  <a:lnTo>
                    <a:pt x="334" y="347"/>
                  </a:lnTo>
                  <a:lnTo>
                    <a:pt x="334" y="352"/>
                  </a:lnTo>
                  <a:lnTo>
                    <a:pt x="330" y="357"/>
                  </a:lnTo>
                  <a:lnTo>
                    <a:pt x="330" y="361"/>
                  </a:lnTo>
                  <a:lnTo>
                    <a:pt x="330" y="361"/>
                  </a:lnTo>
                  <a:lnTo>
                    <a:pt x="325" y="366"/>
                  </a:lnTo>
                  <a:lnTo>
                    <a:pt x="325" y="370"/>
                  </a:lnTo>
                  <a:lnTo>
                    <a:pt x="320" y="370"/>
                  </a:lnTo>
                  <a:lnTo>
                    <a:pt x="320" y="379"/>
                  </a:lnTo>
                  <a:lnTo>
                    <a:pt x="320" y="384"/>
                  </a:lnTo>
                  <a:lnTo>
                    <a:pt x="316" y="384"/>
                  </a:lnTo>
                  <a:lnTo>
                    <a:pt x="311" y="384"/>
                  </a:lnTo>
                  <a:lnTo>
                    <a:pt x="311" y="389"/>
                  </a:lnTo>
                  <a:lnTo>
                    <a:pt x="311" y="389"/>
                  </a:lnTo>
                  <a:lnTo>
                    <a:pt x="307" y="389"/>
                  </a:lnTo>
                  <a:lnTo>
                    <a:pt x="307" y="393"/>
                  </a:lnTo>
                  <a:lnTo>
                    <a:pt x="302" y="393"/>
                  </a:lnTo>
                  <a:lnTo>
                    <a:pt x="302" y="398"/>
                  </a:lnTo>
                  <a:lnTo>
                    <a:pt x="298" y="398"/>
                  </a:lnTo>
                  <a:lnTo>
                    <a:pt x="298" y="402"/>
                  </a:lnTo>
                  <a:lnTo>
                    <a:pt x="298" y="407"/>
                  </a:lnTo>
                  <a:lnTo>
                    <a:pt x="293" y="411"/>
                  </a:lnTo>
                  <a:lnTo>
                    <a:pt x="293" y="421"/>
                  </a:lnTo>
                  <a:lnTo>
                    <a:pt x="293" y="425"/>
                  </a:lnTo>
                  <a:lnTo>
                    <a:pt x="288" y="425"/>
                  </a:lnTo>
                  <a:lnTo>
                    <a:pt x="288" y="439"/>
                  </a:lnTo>
                  <a:lnTo>
                    <a:pt x="288" y="448"/>
                  </a:lnTo>
                  <a:lnTo>
                    <a:pt x="293" y="448"/>
                  </a:lnTo>
                  <a:lnTo>
                    <a:pt x="293" y="453"/>
                  </a:lnTo>
                  <a:lnTo>
                    <a:pt x="298" y="453"/>
                  </a:lnTo>
                  <a:lnTo>
                    <a:pt x="298" y="457"/>
                  </a:lnTo>
                  <a:lnTo>
                    <a:pt x="302" y="457"/>
                  </a:lnTo>
                  <a:lnTo>
                    <a:pt x="307" y="457"/>
                  </a:lnTo>
                  <a:lnTo>
                    <a:pt x="307" y="462"/>
                  </a:lnTo>
                  <a:lnTo>
                    <a:pt x="311" y="466"/>
                  </a:lnTo>
                  <a:lnTo>
                    <a:pt x="307" y="471"/>
                  </a:lnTo>
                  <a:lnTo>
                    <a:pt x="307" y="475"/>
                  </a:lnTo>
                  <a:lnTo>
                    <a:pt x="302" y="480"/>
                  </a:lnTo>
                  <a:lnTo>
                    <a:pt x="302" y="485"/>
                  </a:lnTo>
                  <a:lnTo>
                    <a:pt x="298" y="489"/>
                  </a:lnTo>
                  <a:lnTo>
                    <a:pt x="298" y="494"/>
                  </a:lnTo>
                  <a:lnTo>
                    <a:pt x="293" y="494"/>
                  </a:lnTo>
                  <a:lnTo>
                    <a:pt x="288" y="498"/>
                  </a:lnTo>
                  <a:lnTo>
                    <a:pt x="288" y="503"/>
                  </a:lnTo>
                  <a:lnTo>
                    <a:pt x="288" y="507"/>
                  </a:lnTo>
                  <a:lnTo>
                    <a:pt x="284" y="512"/>
                  </a:lnTo>
                  <a:lnTo>
                    <a:pt x="284" y="517"/>
                  </a:lnTo>
                  <a:lnTo>
                    <a:pt x="284" y="526"/>
                  </a:lnTo>
                  <a:lnTo>
                    <a:pt x="279" y="530"/>
                  </a:lnTo>
                  <a:lnTo>
                    <a:pt x="279" y="535"/>
                  </a:lnTo>
                  <a:lnTo>
                    <a:pt x="275" y="535"/>
                  </a:lnTo>
                  <a:lnTo>
                    <a:pt x="275" y="535"/>
                  </a:lnTo>
                  <a:lnTo>
                    <a:pt x="266" y="535"/>
                  </a:lnTo>
                  <a:lnTo>
                    <a:pt x="261" y="535"/>
                  </a:lnTo>
                  <a:lnTo>
                    <a:pt x="256" y="535"/>
                  </a:lnTo>
                  <a:lnTo>
                    <a:pt x="256" y="539"/>
                  </a:lnTo>
                  <a:lnTo>
                    <a:pt x="256" y="549"/>
                  </a:lnTo>
                  <a:lnTo>
                    <a:pt x="256" y="553"/>
                  </a:lnTo>
                  <a:lnTo>
                    <a:pt x="252" y="558"/>
                  </a:lnTo>
                  <a:lnTo>
                    <a:pt x="252" y="562"/>
                  </a:lnTo>
                  <a:lnTo>
                    <a:pt x="252" y="567"/>
                  </a:lnTo>
                  <a:lnTo>
                    <a:pt x="252" y="571"/>
                  </a:lnTo>
                  <a:lnTo>
                    <a:pt x="252" y="576"/>
                  </a:lnTo>
                  <a:lnTo>
                    <a:pt x="256" y="581"/>
                  </a:lnTo>
                  <a:lnTo>
                    <a:pt x="261" y="585"/>
                  </a:lnTo>
                  <a:lnTo>
                    <a:pt x="266" y="585"/>
                  </a:lnTo>
                  <a:lnTo>
                    <a:pt x="266" y="590"/>
                  </a:lnTo>
                  <a:lnTo>
                    <a:pt x="266" y="590"/>
                  </a:lnTo>
                  <a:lnTo>
                    <a:pt x="266" y="594"/>
                  </a:lnTo>
                  <a:lnTo>
                    <a:pt x="270" y="594"/>
                  </a:lnTo>
                  <a:lnTo>
                    <a:pt x="275" y="594"/>
                  </a:lnTo>
                  <a:lnTo>
                    <a:pt x="284" y="599"/>
                  </a:lnTo>
                  <a:lnTo>
                    <a:pt x="288" y="603"/>
                  </a:lnTo>
                  <a:lnTo>
                    <a:pt x="288" y="603"/>
                  </a:lnTo>
                  <a:lnTo>
                    <a:pt x="293" y="608"/>
                  </a:lnTo>
                  <a:lnTo>
                    <a:pt x="293" y="613"/>
                  </a:lnTo>
                  <a:lnTo>
                    <a:pt x="288" y="617"/>
                  </a:lnTo>
                  <a:lnTo>
                    <a:pt x="288" y="622"/>
                  </a:lnTo>
                  <a:lnTo>
                    <a:pt x="284" y="626"/>
                  </a:lnTo>
                  <a:lnTo>
                    <a:pt x="284" y="626"/>
                  </a:lnTo>
                  <a:lnTo>
                    <a:pt x="279" y="626"/>
                  </a:lnTo>
                  <a:lnTo>
                    <a:pt x="279" y="631"/>
                  </a:lnTo>
                  <a:lnTo>
                    <a:pt x="279" y="635"/>
                  </a:lnTo>
                  <a:lnTo>
                    <a:pt x="275" y="645"/>
                  </a:lnTo>
                  <a:lnTo>
                    <a:pt x="275" y="645"/>
                  </a:lnTo>
                  <a:lnTo>
                    <a:pt x="270" y="645"/>
                  </a:lnTo>
                  <a:lnTo>
                    <a:pt x="270" y="654"/>
                  </a:lnTo>
                  <a:lnTo>
                    <a:pt x="266" y="658"/>
                  </a:lnTo>
                  <a:lnTo>
                    <a:pt x="266" y="663"/>
                  </a:lnTo>
                  <a:lnTo>
                    <a:pt x="266" y="663"/>
                  </a:lnTo>
                  <a:lnTo>
                    <a:pt x="266" y="667"/>
                  </a:lnTo>
                  <a:lnTo>
                    <a:pt x="266" y="667"/>
                  </a:lnTo>
                  <a:lnTo>
                    <a:pt x="261" y="672"/>
                  </a:lnTo>
                  <a:lnTo>
                    <a:pt x="261" y="677"/>
                  </a:lnTo>
                  <a:lnTo>
                    <a:pt x="252" y="681"/>
                  </a:lnTo>
                  <a:lnTo>
                    <a:pt x="252" y="690"/>
                  </a:lnTo>
                  <a:lnTo>
                    <a:pt x="252" y="690"/>
                  </a:lnTo>
                  <a:lnTo>
                    <a:pt x="247" y="699"/>
                  </a:lnTo>
                  <a:lnTo>
                    <a:pt x="238" y="713"/>
                  </a:lnTo>
                  <a:lnTo>
                    <a:pt x="234" y="713"/>
                  </a:lnTo>
                  <a:lnTo>
                    <a:pt x="229" y="709"/>
                  </a:lnTo>
                  <a:lnTo>
                    <a:pt x="220" y="690"/>
                  </a:lnTo>
                  <a:lnTo>
                    <a:pt x="215" y="686"/>
                  </a:lnTo>
                  <a:lnTo>
                    <a:pt x="211" y="681"/>
                  </a:lnTo>
                  <a:lnTo>
                    <a:pt x="202" y="672"/>
                  </a:lnTo>
                  <a:lnTo>
                    <a:pt x="183" y="658"/>
                  </a:lnTo>
                  <a:lnTo>
                    <a:pt x="179" y="654"/>
                  </a:lnTo>
                  <a:lnTo>
                    <a:pt x="170" y="640"/>
                  </a:lnTo>
                  <a:lnTo>
                    <a:pt x="160" y="635"/>
                  </a:lnTo>
                  <a:lnTo>
                    <a:pt x="160" y="635"/>
                  </a:lnTo>
                  <a:lnTo>
                    <a:pt x="156" y="631"/>
                  </a:lnTo>
                  <a:lnTo>
                    <a:pt x="151" y="626"/>
                  </a:lnTo>
                  <a:lnTo>
                    <a:pt x="151" y="626"/>
                  </a:lnTo>
                  <a:lnTo>
                    <a:pt x="128" y="608"/>
                  </a:lnTo>
                  <a:lnTo>
                    <a:pt x="115" y="594"/>
                  </a:lnTo>
                  <a:lnTo>
                    <a:pt x="106" y="585"/>
                  </a:lnTo>
                  <a:lnTo>
                    <a:pt x="96" y="585"/>
                  </a:lnTo>
                  <a:lnTo>
                    <a:pt x="92" y="576"/>
                  </a:lnTo>
                  <a:lnTo>
                    <a:pt x="83" y="571"/>
                  </a:lnTo>
                  <a:lnTo>
                    <a:pt x="78" y="567"/>
                  </a:lnTo>
                  <a:lnTo>
                    <a:pt x="69" y="558"/>
                  </a:lnTo>
                  <a:lnTo>
                    <a:pt x="69" y="558"/>
                  </a:lnTo>
                  <a:lnTo>
                    <a:pt x="69" y="553"/>
                  </a:lnTo>
                  <a:lnTo>
                    <a:pt x="74" y="553"/>
                  </a:lnTo>
                  <a:lnTo>
                    <a:pt x="78" y="553"/>
                  </a:lnTo>
                  <a:lnTo>
                    <a:pt x="87" y="544"/>
                  </a:lnTo>
                  <a:lnTo>
                    <a:pt x="87" y="539"/>
                  </a:lnTo>
                  <a:lnTo>
                    <a:pt x="87" y="535"/>
                  </a:lnTo>
                  <a:lnTo>
                    <a:pt x="87" y="535"/>
                  </a:lnTo>
                  <a:lnTo>
                    <a:pt x="83" y="535"/>
                  </a:lnTo>
                  <a:lnTo>
                    <a:pt x="83" y="530"/>
                  </a:lnTo>
                  <a:lnTo>
                    <a:pt x="78" y="526"/>
                  </a:lnTo>
                  <a:lnTo>
                    <a:pt x="74" y="526"/>
                  </a:lnTo>
                  <a:lnTo>
                    <a:pt x="69" y="526"/>
                  </a:lnTo>
                  <a:lnTo>
                    <a:pt x="64" y="526"/>
                  </a:lnTo>
                  <a:lnTo>
                    <a:pt x="60" y="526"/>
                  </a:lnTo>
                  <a:lnTo>
                    <a:pt x="55" y="526"/>
                  </a:lnTo>
                  <a:lnTo>
                    <a:pt x="46" y="526"/>
                  </a:lnTo>
                  <a:lnTo>
                    <a:pt x="42" y="526"/>
                  </a:lnTo>
                  <a:lnTo>
                    <a:pt x="42" y="521"/>
                  </a:lnTo>
                  <a:lnTo>
                    <a:pt x="42" y="517"/>
                  </a:lnTo>
                  <a:lnTo>
                    <a:pt x="42" y="517"/>
                  </a:lnTo>
                  <a:lnTo>
                    <a:pt x="46" y="517"/>
                  </a:lnTo>
                  <a:lnTo>
                    <a:pt x="51" y="512"/>
                  </a:lnTo>
                  <a:lnTo>
                    <a:pt x="64" y="512"/>
                  </a:lnTo>
                  <a:lnTo>
                    <a:pt x="69" y="507"/>
                  </a:lnTo>
                  <a:lnTo>
                    <a:pt x="69" y="503"/>
                  </a:lnTo>
                  <a:lnTo>
                    <a:pt x="69" y="494"/>
                  </a:lnTo>
                  <a:lnTo>
                    <a:pt x="74" y="494"/>
                  </a:lnTo>
                  <a:lnTo>
                    <a:pt x="78" y="494"/>
                  </a:lnTo>
                  <a:lnTo>
                    <a:pt x="83" y="494"/>
                  </a:lnTo>
                  <a:lnTo>
                    <a:pt x="87" y="494"/>
                  </a:lnTo>
                  <a:lnTo>
                    <a:pt x="87" y="489"/>
                  </a:lnTo>
                  <a:lnTo>
                    <a:pt x="87" y="480"/>
                  </a:lnTo>
                  <a:lnTo>
                    <a:pt x="87" y="475"/>
                  </a:lnTo>
                  <a:lnTo>
                    <a:pt x="83" y="471"/>
                  </a:lnTo>
                  <a:lnTo>
                    <a:pt x="83" y="471"/>
                  </a:lnTo>
                  <a:lnTo>
                    <a:pt x="83" y="457"/>
                  </a:lnTo>
                  <a:lnTo>
                    <a:pt x="87" y="453"/>
                  </a:lnTo>
                  <a:lnTo>
                    <a:pt x="87" y="448"/>
                  </a:lnTo>
                  <a:lnTo>
                    <a:pt x="87" y="448"/>
                  </a:lnTo>
                  <a:lnTo>
                    <a:pt x="87" y="443"/>
                  </a:lnTo>
                  <a:lnTo>
                    <a:pt x="87" y="439"/>
                  </a:lnTo>
                  <a:lnTo>
                    <a:pt x="87" y="434"/>
                  </a:lnTo>
                  <a:lnTo>
                    <a:pt x="83" y="434"/>
                  </a:lnTo>
                  <a:lnTo>
                    <a:pt x="83" y="430"/>
                  </a:lnTo>
                  <a:lnTo>
                    <a:pt x="78" y="430"/>
                  </a:lnTo>
                  <a:lnTo>
                    <a:pt x="74" y="430"/>
                  </a:lnTo>
                  <a:lnTo>
                    <a:pt x="74" y="434"/>
                  </a:lnTo>
                  <a:lnTo>
                    <a:pt x="69" y="439"/>
                  </a:lnTo>
                  <a:lnTo>
                    <a:pt x="69" y="443"/>
                  </a:lnTo>
                  <a:lnTo>
                    <a:pt x="64" y="443"/>
                  </a:lnTo>
                  <a:lnTo>
                    <a:pt x="60" y="448"/>
                  </a:lnTo>
                  <a:lnTo>
                    <a:pt x="55" y="448"/>
                  </a:lnTo>
                  <a:lnTo>
                    <a:pt x="55" y="453"/>
                  </a:lnTo>
                  <a:lnTo>
                    <a:pt x="51" y="453"/>
                  </a:lnTo>
                  <a:lnTo>
                    <a:pt x="46" y="453"/>
                  </a:lnTo>
                  <a:lnTo>
                    <a:pt x="42" y="453"/>
                  </a:lnTo>
                  <a:lnTo>
                    <a:pt x="37" y="453"/>
                  </a:lnTo>
                  <a:lnTo>
                    <a:pt x="32" y="453"/>
                  </a:lnTo>
                  <a:lnTo>
                    <a:pt x="23" y="453"/>
                  </a:lnTo>
                  <a:lnTo>
                    <a:pt x="14" y="448"/>
                  </a:lnTo>
                  <a:lnTo>
                    <a:pt x="10" y="448"/>
                  </a:lnTo>
                  <a:lnTo>
                    <a:pt x="5" y="443"/>
                  </a:lnTo>
                  <a:lnTo>
                    <a:pt x="0" y="439"/>
                  </a:lnTo>
                  <a:lnTo>
                    <a:pt x="0" y="434"/>
                  </a:lnTo>
                  <a:lnTo>
                    <a:pt x="0" y="430"/>
                  </a:lnTo>
                  <a:lnTo>
                    <a:pt x="0" y="425"/>
                  </a:lnTo>
                  <a:lnTo>
                    <a:pt x="0" y="421"/>
                  </a:lnTo>
                  <a:lnTo>
                    <a:pt x="0" y="407"/>
                  </a:lnTo>
                  <a:lnTo>
                    <a:pt x="5" y="402"/>
                  </a:lnTo>
                  <a:lnTo>
                    <a:pt x="5" y="398"/>
                  </a:lnTo>
                  <a:lnTo>
                    <a:pt x="10" y="393"/>
                  </a:lnTo>
                  <a:lnTo>
                    <a:pt x="23" y="384"/>
                  </a:lnTo>
                  <a:lnTo>
                    <a:pt x="28" y="384"/>
                  </a:lnTo>
                  <a:lnTo>
                    <a:pt x="37" y="379"/>
                  </a:lnTo>
                  <a:lnTo>
                    <a:pt x="42" y="375"/>
                  </a:lnTo>
                  <a:lnTo>
                    <a:pt x="46" y="370"/>
                  </a:lnTo>
                  <a:lnTo>
                    <a:pt x="51" y="370"/>
                  </a:lnTo>
                  <a:lnTo>
                    <a:pt x="55" y="366"/>
                  </a:lnTo>
                  <a:lnTo>
                    <a:pt x="64" y="361"/>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Ondo</a:t>
              </a:r>
            </a:p>
          </p:txBody>
        </p:sp>
        <p:sp>
          <p:nvSpPr>
            <p:cNvPr id="153" name="Freeform 72">
              <a:extLst>
                <a:ext uri="{FF2B5EF4-FFF2-40B4-BE49-F238E27FC236}">
                  <a16:creationId xmlns:a16="http://schemas.microsoft.com/office/drawing/2014/main" id="{4355435C-C8A7-4AFD-903B-5CE5F6881E2B}"/>
                </a:ext>
              </a:extLst>
            </p:cNvPr>
            <p:cNvSpPr>
              <a:spLocks/>
            </p:cNvSpPr>
            <p:nvPr>
              <p:custDataLst>
                <p:tags r:id="rId65"/>
              </p:custDataLst>
            </p:nvPr>
          </p:nvSpPr>
          <p:spPr bwMode="auto">
            <a:xfrm>
              <a:off x="579530" y="3024710"/>
              <a:ext cx="346448" cy="430705"/>
            </a:xfrm>
            <a:custGeom>
              <a:avLst/>
              <a:gdLst/>
              <a:ahLst/>
              <a:cxnLst>
                <a:cxn ang="0">
                  <a:pos x="366" y="14"/>
                </a:cxn>
                <a:cxn ang="0">
                  <a:pos x="393" y="18"/>
                </a:cxn>
                <a:cxn ang="0">
                  <a:pos x="398" y="41"/>
                </a:cxn>
                <a:cxn ang="0">
                  <a:pos x="379" y="55"/>
                </a:cxn>
                <a:cxn ang="0">
                  <a:pos x="361" y="69"/>
                </a:cxn>
                <a:cxn ang="0">
                  <a:pos x="352" y="87"/>
                </a:cxn>
                <a:cxn ang="0">
                  <a:pos x="343" y="110"/>
                </a:cxn>
                <a:cxn ang="0">
                  <a:pos x="347" y="146"/>
                </a:cxn>
                <a:cxn ang="0">
                  <a:pos x="343" y="183"/>
                </a:cxn>
                <a:cxn ang="0">
                  <a:pos x="352" y="238"/>
                </a:cxn>
                <a:cxn ang="0">
                  <a:pos x="356" y="261"/>
                </a:cxn>
                <a:cxn ang="0">
                  <a:pos x="334" y="274"/>
                </a:cxn>
                <a:cxn ang="0">
                  <a:pos x="311" y="284"/>
                </a:cxn>
                <a:cxn ang="0">
                  <a:pos x="311" y="320"/>
                </a:cxn>
                <a:cxn ang="0">
                  <a:pos x="283" y="329"/>
                </a:cxn>
                <a:cxn ang="0">
                  <a:pos x="265" y="348"/>
                </a:cxn>
                <a:cxn ang="0">
                  <a:pos x="238" y="366"/>
                </a:cxn>
                <a:cxn ang="0">
                  <a:pos x="219" y="393"/>
                </a:cxn>
                <a:cxn ang="0">
                  <a:pos x="192" y="416"/>
                </a:cxn>
                <a:cxn ang="0">
                  <a:pos x="142" y="425"/>
                </a:cxn>
                <a:cxn ang="0">
                  <a:pos x="119" y="402"/>
                </a:cxn>
                <a:cxn ang="0">
                  <a:pos x="100" y="389"/>
                </a:cxn>
                <a:cxn ang="0">
                  <a:pos x="73" y="402"/>
                </a:cxn>
                <a:cxn ang="0">
                  <a:pos x="55" y="389"/>
                </a:cxn>
                <a:cxn ang="0">
                  <a:pos x="55" y="352"/>
                </a:cxn>
                <a:cxn ang="0">
                  <a:pos x="36" y="306"/>
                </a:cxn>
                <a:cxn ang="0">
                  <a:pos x="41" y="284"/>
                </a:cxn>
                <a:cxn ang="0">
                  <a:pos x="36" y="252"/>
                </a:cxn>
                <a:cxn ang="0">
                  <a:pos x="46" y="224"/>
                </a:cxn>
                <a:cxn ang="0">
                  <a:pos x="32" y="201"/>
                </a:cxn>
                <a:cxn ang="0">
                  <a:pos x="9" y="174"/>
                </a:cxn>
                <a:cxn ang="0">
                  <a:pos x="0" y="156"/>
                </a:cxn>
                <a:cxn ang="0">
                  <a:pos x="9" y="133"/>
                </a:cxn>
                <a:cxn ang="0">
                  <a:pos x="14" y="101"/>
                </a:cxn>
                <a:cxn ang="0">
                  <a:pos x="23" y="87"/>
                </a:cxn>
                <a:cxn ang="0">
                  <a:pos x="46" y="101"/>
                </a:cxn>
                <a:cxn ang="0">
                  <a:pos x="68" y="87"/>
                </a:cxn>
                <a:cxn ang="0">
                  <a:pos x="68" y="69"/>
                </a:cxn>
                <a:cxn ang="0">
                  <a:pos x="91" y="55"/>
                </a:cxn>
                <a:cxn ang="0">
                  <a:pos x="114" y="64"/>
                </a:cxn>
                <a:cxn ang="0">
                  <a:pos x="123" y="73"/>
                </a:cxn>
                <a:cxn ang="0">
                  <a:pos x="132" y="96"/>
                </a:cxn>
                <a:cxn ang="0">
                  <a:pos x="151" y="82"/>
                </a:cxn>
                <a:cxn ang="0">
                  <a:pos x="155" y="105"/>
                </a:cxn>
                <a:cxn ang="0">
                  <a:pos x="178" y="105"/>
                </a:cxn>
                <a:cxn ang="0">
                  <a:pos x="187" y="60"/>
                </a:cxn>
                <a:cxn ang="0">
                  <a:pos x="201" y="32"/>
                </a:cxn>
                <a:cxn ang="0">
                  <a:pos x="219" y="18"/>
                </a:cxn>
                <a:cxn ang="0">
                  <a:pos x="247" y="14"/>
                </a:cxn>
                <a:cxn ang="0">
                  <a:pos x="270" y="18"/>
                </a:cxn>
                <a:cxn ang="0">
                  <a:pos x="297" y="14"/>
                </a:cxn>
                <a:cxn ang="0">
                  <a:pos x="315" y="14"/>
                </a:cxn>
                <a:cxn ang="0">
                  <a:pos x="338" y="0"/>
                </a:cxn>
              </a:cxnLst>
              <a:rect l="0" t="0" r="r" b="b"/>
              <a:pathLst>
                <a:path w="398" h="425">
                  <a:moveTo>
                    <a:pt x="352" y="0"/>
                  </a:moveTo>
                  <a:lnTo>
                    <a:pt x="352" y="5"/>
                  </a:lnTo>
                  <a:lnTo>
                    <a:pt x="356" y="5"/>
                  </a:lnTo>
                  <a:lnTo>
                    <a:pt x="361" y="5"/>
                  </a:lnTo>
                  <a:lnTo>
                    <a:pt x="366" y="9"/>
                  </a:lnTo>
                  <a:lnTo>
                    <a:pt x="366" y="14"/>
                  </a:lnTo>
                  <a:lnTo>
                    <a:pt x="370" y="18"/>
                  </a:lnTo>
                  <a:lnTo>
                    <a:pt x="375" y="18"/>
                  </a:lnTo>
                  <a:lnTo>
                    <a:pt x="375" y="23"/>
                  </a:lnTo>
                  <a:lnTo>
                    <a:pt x="375" y="23"/>
                  </a:lnTo>
                  <a:lnTo>
                    <a:pt x="379" y="23"/>
                  </a:lnTo>
                  <a:lnTo>
                    <a:pt x="393" y="18"/>
                  </a:lnTo>
                  <a:lnTo>
                    <a:pt x="398" y="18"/>
                  </a:lnTo>
                  <a:lnTo>
                    <a:pt x="398" y="18"/>
                  </a:lnTo>
                  <a:lnTo>
                    <a:pt x="398" y="32"/>
                  </a:lnTo>
                  <a:lnTo>
                    <a:pt x="398" y="32"/>
                  </a:lnTo>
                  <a:lnTo>
                    <a:pt x="398" y="37"/>
                  </a:lnTo>
                  <a:lnTo>
                    <a:pt x="398" y="41"/>
                  </a:lnTo>
                  <a:lnTo>
                    <a:pt x="388" y="46"/>
                  </a:lnTo>
                  <a:lnTo>
                    <a:pt x="388" y="50"/>
                  </a:lnTo>
                  <a:lnTo>
                    <a:pt x="384" y="50"/>
                  </a:lnTo>
                  <a:lnTo>
                    <a:pt x="384" y="55"/>
                  </a:lnTo>
                  <a:lnTo>
                    <a:pt x="379" y="55"/>
                  </a:lnTo>
                  <a:lnTo>
                    <a:pt x="379" y="55"/>
                  </a:lnTo>
                  <a:lnTo>
                    <a:pt x="375" y="60"/>
                  </a:lnTo>
                  <a:lnTo>
                    <a:pt x="370" y="64"/>
                  </a:lnTo>
                  <a:lnTo>
                    <a:pt x="366" y="64"/>
                  </a:lnTo>
                  <a:lnTo>
                    <a:pt x="366" y="64"/>
                  </a:lnTo>
                  <a:lnTo>
                    <a:pt x="361" y="64"/>
                  </a:lnTo>
                  <a:lnTo>
                    <a:pt x="361" y="69"/>
                  </a:lnTo>
                  <a:lnTo>
                    <a:pt x="352" y="73"/>
                  </a:lnTo>
                  <a:lnTo>
                    <a:pt x="352" y="73"/>
                  </a:lnTo>
                  <a:lnTo>
                    <a:pt x="352" y="78"/>
                  </a:lnTo>
                  <a:lnTo>
                    <a:pt x="352" y="78"/>
                  </a:lnTo>
                  <a:lnTo>
                    <a:pt x="352" y="82"/>
                  </a:lnTo>
                  <a:lnTo>
                    <a:pt x="352" y="87"/>
                  </a:lnTo>
                  <a:lnTo>
                    <a:pt x="347" y="87"/>
                  </a:lnTo>
                  <a:lnTo>
                    <a:pt x="347" y="87"/>
                  </a:lnTo>
                  <a:lnTo>
                    <a:pt x="343" y="96"/>
                  </a:lnTo>
                  <a:lnTo>
                    <a:pt x="343" y="101"/>
                  </a:lnTo>
                  <a:lnTo>
                    <a:pt x="338" y="105"/>
                  </a:lnTo>
                  <a:lnTo>
                    <a:pt x="343" y="110"/>
                  </a:lnTo>
                  <a:lnTo>
                    <a:pt x="343" y="114"/>
                  </a:lnTo>
                  <a:lnTo>
                    <a:pt x="347" y="124"/>
                  </a:lnTo>
                  <a:lnTo>
                    <a:pt x="347" y="128"/>
                  </a:lnTo>
                  <a:lnTo>
                    <a:pt x="347" y="128"/>
                  </a:lnTo>
                  <a:lnTo>
                    <a:pt x="347" y="142"/>
                  </a:lnTo>
                  <a:lnTo>
                    <a:pt x="347" y="146"/>
                  </a:lnTo>
                  <a:lnTo>
                    <a:pt x="347" y="151"/>
                  </a:lnTo>
                  <a:lnTo>
                    <a:pt x="343" y="151"/>
                  </a:lnTo>
                  <a:lnTo>
                    <a:pt x="343" y="156"/>
                  </a:lnTo>
                  <a:lnTo>
                    <a:pt x="343" y="169"/>
                  </a:lnTo>
                  <a:lnTo>
                    <a:pt x="343" y="174"/>
                  </a:lnTo>
                  <a:lnTo>
                    <a:pt x="343" y="183"/>
                  </a:lnTo>
                  <a:lnTo>
                    <a:pt x="343" y="197"/>
                  </a:lnTo>
                  <a:lnTo>
                    <a:pt x="347" y="201"/>
                  </a:lnTo>
                  <a:lnTo>
                    <a:pt x="347" y="210"/>
                  </a:lnTo>
                  <a:lnTo>
                    <a:pt x="347" y="215"/>
                  </a:lnTo>
                  <a:lnTo>
                    <a:pt x="347" y="224"/>
                  </a:lnTo>
                  <a:lnTo>
                    <a:pt x="352" y="238"/>
                  </a:lnTo>
                  <a:lnTo>
                    <a:pt x="352" y="238"/>
                  </a:lnTo>
                  <a:lnTo>
                    <a:pt x="352" y="242"/>
                  </a:lnTo>
                  <a:lnTo>
                    <a:pt x="352" y="256"/>
                  </a:lnTo>
                  <a:lnTo>
                    <a:pt x="356" y="256"/>
                  </a:lnTo>
                  <a:lnTo>
                    <a:pt x="356" y="261"/>
                  </a:lnTo>
                  <a:lnTo>
                    <a:pt x="356" y="261"/>
                  </a:lnTo>
                  <a:lnTo>
                    <a:pt x="356" y="265"/>
                  </a:lnTo>
                  <a:lnTo>
                    <a:pt x="356" y="270"/>
                  </a:lnTo>
                  <a:lnTo>
                    <a:pt x="352" y="270"/>
                  </a:lnTo>
                  <a:lnTo>
                    <a:pt x="347" y="274"/>
                  </a:lnTo>
                  <a:lnTo>
                    <a:pt x="343" y="274"/>
                  </a:lnTo>
                  <a:lnTo>
                    <a:pt x="334" y="274"/>
                  </a:lnTo>
                  <a:lnTo>
                    <a:pt x="329" y="274"/>
                  </a:lnTo>
                  <a:lnTo>
                    <a:pt x="324" y="274"/>
                  </a:lnTo>
                  <a:lnTo>
                    <a:pt x="320" y="274"/>
                  </a:lnTo>
                  <a:lnTo>
                    <a:pt x="315" y="274"/>
                  </a:lnTo>
                  <a:lnTo>
                    <a:pt x="311" y="279"/>
                  </a:lnTo>
                  <a:lnTo>
                    <a:pt x="311" y="284"/>
                  </a:lnTo>
                  <a:lnTo>
                    <a:pt x="311" y="284"/>
                  </a:lnTo>
                  <a:lnTo>
                    <a:pt x="311" y="293"/>
                  </a:lnTo>
                  <a:lnTo>
                    <a:pt x="311" y="302"/>
                  </a:lnTo>
                  <a:lnTo>
                    <a:pt x="311" y="306"/>
                  </a:lnTo>
                  <a:lnTo>
                    <a:pt x="311" y="311"/>
                  </a:lnTo>
                  <a:lnTo>
                    <a:pt x="311" y="320"/>
                  </a:lnTo>
                  <a:lnTo>
                    <a:pt x="311" y="325"/>
                  </a:lnTo>
                  <a:lnTo>
                    <a:pt x="311" y="325"/>
                  </a:lnTo>
                  <a:lnTo>
                    <a:pt x="306" y="325"/>
                  </a:lnTo>
                  <a:lnTo>
                    <a:pt x="302" y="325"/>
                  </a:lnTo>
                  <a:lnTo>
                    <a:pt x="292" y="329"/>
                  </a:lnTo>
                  <a:lnTo>
                    <a:pt x="283" y="329"/>
                  </a:lnTo>
                  <a:lnTo>
                    <a:pt x="279" y="329"/>
                  </a:lnTo>
                  <a:lnTo>
                    <a:pt x="274" y="334"/>
                  </a:lnTo>
                  <a:lnTo>
                    <a:pt x="270" y="338"/>
                  </a:lnTo>
                  <a:lnTo>
                    <a:pt x="265" y="338"/>
                  </a:lnTo>
                  <a:lnTo>
                    <a:pt x="265" y="343"/>
                  </a:lnTo>
                  <a:lnTo>
                    <a:pt x="265" y="348"/>
                  </a:lnTo>
                  <a:lnTo>
                    <a:pt x="260" y="348"/>
                  </a:lnTo>
                  <a:lnTo>
                    <a:pt x="256" y="348"/>
                  </a:lnTo>
                  <a:lnTo>
                    <a:pt x="251" y="352"/>
                  </a:lnTo>
                  <a:lnTo>
                    <a:pt x="242" y="357"/>
                  </a:lnTo>
                  <a:lnTo>
                    <a:pt x="242" y="361"/>
                  </a:lnTo>
                  <a:lnTo>
                    <a:pt x="238" y="366"/>
                  </a:lnTo>
                  <a:lnTo>
                    <a:pt x="228" y="370"/>
                  </a:lnTo>
                  <a:lnTo>
                    <a:pt x="224" y="375"/>
                  </a:lnTo>
                  <a:lnTo>
                    <a:pt x="224" y="384"/>
                  </a:lnTo>
                  <a:lnTo>
                    <a:pt x="224" y="389"/>
                  </a:lnTo>
                  <a:lnTo>
                    <a:pt x="219" y="393"/>
                  </a:lnTo>
                  <a:lnTo>
                    <a:pt x="219" y="393"/>
                  </a:lnTo>
                  <a:lnTo>
                    <a:pt x="215" y="398"/>
                  </a:lnTo>
                  <a:lnTo>
                    <a:pt x="210" y="412"/>
                  </a:lnTo>
                  <a:lnTo>
                    <a:pt x="206" y="416"/>
                  </a:lnTo>
                  <a:lnTo>
                    <a:pt x="201" y="416"/>
                  </a:lnTo>
                  <a:lnTo>
                    <a:pt x="196" y="416"/>
                  </a:lnTo>
                  <a:lnTo>
                    <a:pt x="192" y="416"/>
                  </a:lnTo>
                  <a:lnTo>
                    <a:pt x="178" y="416"/>
                  </a:lnTo>
                  <a:lnTo>
                    <a:pt x="174" y="416"/>
                  </a:lnTo>
                  <a:lnTo>
                    <a:pt x="169" y="416"/>
                  </a:lnTo>
                  <a:lnTo>
                    <a:pt x="164" y="421"/>
                  </a:lnTo>
                  <a:lnTo>
                    <a:pt x="151" y="425"/>
                  </a:lnTo>
                  <a:lnTo>
                    <a:pt x="142" y="425"/>
                  </a:lnTo>
                  <a:lnTo>
                    <a:pt x="137" y="425"/>
                  </a:lnTo>
                  <a:lnTo>
                    <a:pt x="132" y="421"/>
                  </a:lnTo>
                  <a:lnTo>
                    <a:pt x="128" y="416"/>
                  </a:lnTo>
                  <a:lnTo>
                    <a:pt x="123" y="416"/>
                  </a:lnTo>
                  <a:lnTo>
                    <a:pt x="123" y="412"/>
                  </a:lnTo>
                  <a:lnTo>
                    <a:pt x="119" y="402"/>
                  </a:lnTo>
                  <a:lnTo>
                    <a:pt x="119" y="398"/>
                  </a:lnTo>
                  <a:lnTo>
                    <a:pt x="114" y="393"/>
                  </a:lnTo>
                  <a:lnTo>
                    <a:pt x="114" y="393"/>
                  </a:lnTo>
                  <a:lnTo>
                    <a:pt x="114" y="393"/>
                  </a:lnTo>
                  <a:lnTo>
                    <a:pt x="110" y="389"/>
                  </a:lnTo>
                  <a:lnTo>
                    <a:pt x="100" y="389"/>
                  </a:lnTo>
                  <a:lnTo>
                    <a:pt x="96" y="393"/>
                  </a:lnTo>
                  <a:lnTo>
                    <a:pt x="91" y="393"/>
                  </a:lnTo>
                  <a:lnTo>
                    <a:pt x="87" y="398"/>
                  </a:lnTo>
                  <a:lnTo>
                    <a:pt x="82" y="398"/>
                  </a:lnTo>
                  <a:lnTo>
                    <a:pt x="78" y="402"/>
                  </a:lnTo>
                  <a:lnTo>
                    <a:pt x="73" y="402"/>
                  </a:lnTo>
                  <a:lnTo>
                    <a:pt x="68" y="402"/>
                  </a:lnTo>
                  <a:lnTo>
                    <a:pt x="68" y="398"/>
                  </a:lnTo>
                  <a:lnTo>
                    <a:pt x="64" y="393"/>
                  </a:lnTo>
                  <a:lnTo>
                    <a:pt x="59" y="393"/>
                  </a:lnTo>
                  <a:lnTo>
                    <a:pt x="59" y="389"/>
                  </a:lnTo>
                  <a:lnTo>
                    <a:pt x="55" y="389"/>
                  </a:lnTo>
                  <a:lnTo>
                    <a:pt x="55" y="375"/>
                  </a:lnTo>
                  <a:lnTo>
                    <a:pt x="50" y="370"/>
                  </a:lnTo>
                  <a:lnTo>
                    <a:pt x="46" y="366"/>
                  </a:lnTo>
                  <a:lnTo>
                    <a:pt x="50" y="361"/>
                  </a:lnTo>
                  <a:lnTo>
                    <a:pt x="50" y="357"/>
                  </a:lnTo>
                  <a:lnTo>
                    <a:pt x="55" y="352"/>
                  </a:lnTo>
                  <a:lnTo>
                    <a:pt x="55" y="348"/>
                  </a:lnTo>
                  <a:lnTo>
                    <a:pt x="50" y="338"/>
                  </a:lnTo>
                  <a:lnTo>
                    <a:pt x="50" y="334"/>
                  </a:lnTo>
                  <a:lnTo>
                    <a:pt x="46" y="325"/>
                  </a:lnTo>
                  <a:lnTo>
                    <a:pt x="41" y="316"/>
                  </a:lnTo>
                  <a:lnTo>
                    <a:pt x="36" y="306"/>
                  </a:lnTo>
                  <a:lnTo>
                    <a:pt x="36" y="306"/>
                  </a:lnTo>
                  <a:lnTo>
                    <a:pt x="36" y="302"/>
                  </a:lnTo>
                  <a:lnTo>
                    <a:pt x="36" y="293"/>
                  </a:lnTo>
                  <a:lnTo>
                    <a:pt x="36" y="288"/>
                  </a:lnTo>
                  <a:lnTo>
                    <a:pt x="36" y="288"/>
                  </a:lnTo>
                  <a:lnTo>
                    <a:pt x="41" y="284"/>
                  </a:lnTo>
                  <a:lnTo>
                    <a:pt x="36" y="284"/>
                  </a:lnTo>
                  <a:lnTo>
                    <a:pt x="32" y="270"/>
                  </a:lnTo>
                  <a:lnTo>
                    <a:pt x="32" y="261"/>
                  </a:lnTo>
                  <a:lnTo>
                    <a:pt x="32" y="261"/>
                  </a:lnTo>
                  <a:lnTo>
                    <a:pt x="36" y="256"/>
                  </a:lnTo>
                  <a:lnTo>
                    <a:pt x="36" y="252"/>
                  </a:lnTo>
                  <a:lnTo>
                    <a:pt x="41" y="252"/>
                  </a:lnTo>
                  <a:lnTo>
                    <a:pt x="41" y="247"/>
                  </a:lnTo>
                  <a:lnTo>
                    <a:pt x="41" y="242"/>
                  </a:lnTo>
                  <a:lnTo>
                    <a:pt x="41" y="238"/>
                  </a:lnTo>
                  <a:lnTo>
                    <a:pt x="46" y="229"/>
                  </a:lnTo>
                  <a:lnTo>
                    <a:pt x="46" y="224"/>
                  </a:lnTo>
                  <a:lnTo>
                    <a:pt x="46" y="220"/>
                  </a:lnTo>
                  <a:lnTo>
                    <a:pt x="41" y="215"/>
                  </a:lnTo>
                  <a:lnTo>
                    <a:pt x="36" y="215"/>
                  </a:lnTo>
                  <a:lnTo>
                    <a:pt x="36" y="210"/>
                  </a:lnTo>
                  <a:lnTo>
                    <a:pt x="32" y="206"/>
                  </a:lnTo>
                  <a:lnTo>
                    <a:pt x="32" y="201"/>
                  </a:lnTo>
                  <a:lnTo>
                    <a:pt x="27" y="197"/>
                  </a:lnTo>
                  <a:lnTo>
                    <a:pt x="27" y="197"/>
                  </a:lnTo>
                  <a:lnTo>
                    <a:pt x="23" y="192"/>
                  </a:lnTo>
                  <a:lnTo>
                    <a:pt x="23" y="188"/>
                  </a:lnTo>
                  <a:lnTo>
                    <a:pt x="18" y="183"/>
                  </a:lnTo>
                  <a:lnTo>
                    <a:pt x="9" y="174"/>
                  </a:lnTo>
                  <a:lnTo>
                    <a:pt x="4" y="174"/>
                  </a:lnTo>
                  <a:lnTo>
                    <a:pt x="4" y="174"/>
                  </a:lnTo>
                  <a:lnTo>
                    <a:pt x="0" y="169"/>
                  </a:lnTo>
                  <a:lnTo>
                    <a:pt x="0" y="165"/>
                  </a:lnTo>
                  <a:lnTo>
                    <a:pt x="0" y="160"/>
                  </a:lnTo>
                  <a:lnTo>
                    <a:pt x="0" y="156"/>
                  </a:lnTo>
                  <a:lnTo>
                    <a:pt x="4" y="151"/>
                  </a:lnTo>
                  <a:lnTo>
                    <a:pt x="4" y="151"/>
                  </a:lnTo>
                  <a:lnTo>
                    <a:pt x="4" y="146"/>
                  </a:lnTo>
                  <a:lnTo>
                    <a:pt x="9" y="142"/>
                  </a:lnTo>
                  <a:lnTo>
                    <a:pt x="9" y="137"/>
                  </a:lnTo>
                  <a:lnTo>
                    <a:pt x="9" y="133"/>
                  </a:lnTo>
                  <a:lnTo>
                    <a:pt x="9" y="128"/>
                  </a:lnTo>
                  <a:lnTo>
                    <a:pt x="9" y="128"/>
                  </a:lnTo>
                  <a:lnTo>
                    <a:pt x="9" y="119"/>
                  </a:lnTo>
                  <a:lnTo>
                    <a:pt x="9" y="114"/>
                  </a:lnTo>
                  <a:lnTo>
                    <a:pt x="9" y="110"/>
                  </a:lnTo>
                  <a:lnTo>
                    <a:pt x="14" y="101"/>
                  </a:lnTo>
                  <a:lnTo>
                    <a:pt x="14" y="96"/>
                  </a:lnTo>
                  <a:lnTo>
                    <a:pt x="14" y="92"/>
                  </a:lnTo>
                  <a:lnTo>
                    <a:pt x="14" y="87"/>
                  </a:lnTo>
                  <a:lnTo>
                    <a:pt x="18" y="87"/>
                  </a:lnTo>
                  <a:lnTo>
                    <a:pt x="23" y="87"/>
                  </a:lnTo>
                  <a:lnTo>
                    <a:pt x="23" y="87"/>
                  </a:lnTo>
                  <a:lnTo>
                    <a:pt x="27" y="92"/>
                  </a:lnTo>
                  <a:lnTo>
                    <a:pt x="27" y="96"/>
                  </a:lnTo>
                  <a:lnTo>
                    <a:pt x="32" y="101"/>
                  </a:lnTo>
                  <a:lnTo>
                    <a:pt x="36" y="101"/>
                  </a:lnTo>
                  <a:lnTo>
                    <a:pt x="41" y="101"/>
                  </a:lnTo>
                  <a:lnTo>
                    <a:pt x="46" y="101"/>
                  </a:lnTo>
                  <a:lnTo>
                    <a:pt x="50" y="96"/>
                  </a:lnTo>
                  <a:lnTo>
                    <a:pt x="55" y="96"/>
                  </a:lnTo>
                  <a:lnTo>
                    <a:pt x="59" y="96"/>
                  </a:lnTo>
                  <a:lnTo>
                    <a:pt x="64" y="92"/>
                  </a:lnTo>
                  <a:lnTo>
                    <a:pt x="68" y="87"/>
                  </a:lnTo>
                  <a:lnTo>
                    <a:pt x="68" y="87"/>
                  </a:lnTo>
                  <a:lnTo>
                    <a:pt x="64" y="87"/>
                  </a:lnTo>
                  <a:lnTo>
                    <a:pt x="64" y="82"/>
                  </a:lnTo>
                  <a:lnTo>
                    <a:pt x="64" y="78"/>
                  </a:lnTo>
                  <a:lnTo>
                    <a:pt x="68" y="78"/>
                  </a:lnTo>
                  <a:lnTo>
                    <a:pt x="68" y="73"/>
                  </a:lnTo>
                  <a:lnTo>
                    <a:pt x="68" y="69"/>
                  </a:lnTo>
                  <a:lnTo>
                    <a:pt x="73" y="69"/>
                  </a:lnTo>
                  <a:lnTo>
                    <a:pt x="78" y="64"/>
                  </a:lnTo>
                  <a:lnTo>
                    <a:pt x="78" y="64"/>
                  </a:lnTo>
                  <a:lnTo>
                    <a:pt x="82" y="60"/>
                  </a:lnTo>
                  <a:lnTo>
                    <a:pt x="87" y="60"/>
                  </a:lnTo>
                  <a:lnTo>
                    <a:pt x="91" y="55"/>
                  </a:lnTo>
                  <a:lnTo>
                    <a:pt x="91" y="55"/>
                  </a:lnTo>
                  <a:lnTo>
                    <a:pt x="96" y="55"/>
                  </a:lnTo>
                  <a:lnTo>
                    <a:pt x="100" y="60"/>
                  </a:lnTo>
                  <a:lnTo>
                    <a:pt x="105" y="64"/>
                  </a:lnTo>
                  <a:lnTo>
                    <a:pt x="110" y="64"/>
                  </a:lnTo>
                  <a:lnTo>
                    <a:pt x="114" y="64"/>
                  </a:lnTo>
                  <a:lnTo>
                    <a:pt x="114" y="64"/>
                  </a:lnTo>
                  <a:lnTo>
                    <a:pt x="114" y="64"/>
                  </a:lnTo>
                  <a:lnTo>
                    <a:pt x="114" y="64"/>
                  </a:lnTo>
                  <a:lnTo>
                    <a:pt x="119" y="64"/>
                  </a:lnTo>
                  <a:lnTo>
                    <a:pt x="119" y="69"/>
                  </a:lnTo>
                  <a:lnTo>
                    <a:pt x="123" y="73"/>
                  </a:lnTo>
                  <a:lnTo>
                    <a:pt x="123" y="78"/>
                  </a:lnTo>
                  <a:lnTo>
                    <a:pt x="123" y="82"/>
                  </a:lnTo>
                  <a:lnTo>
                    <a:pt x="128" y="87"/>
                  </a:lnTo>
                  <a:lnTo>
                    <a:pt x="128" y="92"/>
                  </a:lnTo>
                  <a:lnTo>
                    <a:pt x="128" y="96"/>
                  </a:lnTo>
                  <a:lnTo>
                    <a:pt x="132" y="96"/>
                  </a:lnTo>
                  <a:lnTo>
                    <a:pt x="132" y="92"/>
                  </a:lnTo>
                  <a:lnTo>
                    <a:pt x="132" y="87"/>
                  </a:lnTo>
                  <a:lnTo>
                    <a:pt x="137" y="87"/>
                  </a:lnTo>
                  <a:lnTo>
                    <a:pt x="142" y="82"/>
                  </a:lnTo>
                  <a:lnTo>
                    <a:pt x="146" y="82"/>
                  </a:lnTo>
                  <a:lnTo>
                    <a:pt x="151" y="82"/>
                  </a:lnTo>
                  <a:lnTo>
                    <a:pt x="151" y="87"/>
                  </a:lnTo>
                  <a:lnTo>
                    <a:pt x="151" y="87"/>
                  </a:lnTo>
                  <a:lnTo>
                    <a:pt x="155" y="96"/>
                  </a:lnTo>
                  <a:lnTo>
                    <a:pt x="155" y="101"/>
                  </a:lnTo>
                  <a:lnTo>
                    <a:pt x="155" y="105"/>
                  </a:lnTo>
                  <a:lnTo>
                    <a:pt x="155" y="105"/>
                  </a:lnTo>
                  <a:lnTo>
                    <a:pt x="164" y="114"/>
                  </a:lnTo>
                  <a:lnTo>
                    <a:pt x="169" y="119"/>
                  </a:lnTo>
                  <a:lnTo>
                    <a:pt x="169" y="119"/>
                  </a:lnTo>
                  <a:lnTo>
                    <a:pt x="174" y="114"/>
                  </a:lnTo>
                  <a:lnTo>
                    <a:pt x="178" y="110"/>
                  </a:lnTo>
                  <a:lnTo>
                    <a:pt x="178" y="105"/>
                  </a:lnTo>
                  <a:lnTo>
                    <a:pt x="187" y="101"/>
                  </a:lnTo>
                  <a:lnTo>
                    <a:pt x="196" y="96"/>
                  </a:lnTo>
                  <a:lnTo>
                    <a:pt x="196" y="87"/>
                  </a:lnTo>
                  <a:lnTo>
                    <a:pt x="196" y="78"/>
                  </a:lnTo>
                  <a:lnTo>
                    <a:pt x="196" y="64"/>
                  </a:lnTo>
                  <a:lnTo>
                    <a:pt x="187" y="60"/>
                  </a:lnTo>
                  <a:lnTo>
                    <a:pt x="187" y="55"/>
                  </a:lnTo>
                  <a:lnTo>
                    <a:pt x="192" y="55"/>
                  </a:lnTo>
                  <a:lnTo>
                    <a:pt x="196" y="50"/>
                  </a:lnTo>
                  <a:lnTo>
                    <a:pt x="201" y="50"/>
                  </a:lnTo>
                  <a:lnTo>
                    <a:pt x="201" y="41"/>
                  </a:lnTo>
                  <a:lnTo>
                    <a:pt x="201" y="32"/>
                  </a:lnTo>
                  <a:lnTo>
                    <a:pt x="201" y="28"/>
                  </a:lnTo>
                  <a:lnTo>
                    <a:pt x="201" y="23"/>
                  </a:lnTo>
                  <a:lnTo>
                    <a:pt x="206" y="18"/>
                  </a:lnTo>
                  <a:lnTo>
                    <a:pt x="210" y="18"/>
                  </a:lnTo>
                  <a:lnTo>
                    <a:pt x="215" y="18"/>
                  </a:lnTo>
                  <a:lnTo>
                    <a:pt x="219" y="18"/>
                  </a:lnTo>
                  <a:lnTo>
                    <a:pt x="224" y="18"/>
                  </a:lnTo>
                  <a:lnTo>
                    <a:pt x="228" y="18"/>
                  </a:lnTo>
                  <a:lnTo>
                    <a:pt x="238" y="18"/>
                  </a:lnTo>
                  <a:lnTo>
                    <a:pt x="242" y="18"/>
                  </a:lnTo>
                  <a:lnTo>
                    <a:pt x="242" y="18"/>
                  </a:lnTo>
                  <a:lnTo>
                    <a:pt x="247" y="14"/>
                  </a:lnTo>
                  <a:lnTo>
                    <a:pt x="251" y="18"/>
                  </a:lnTo>
                  <a:lnTo>
                    <a:pt x="256" y="18"/>
                  </a:lnTo>
                  <a:lnTo>
                    <a:pt x="265" y="18"/>
                  </a:lnTo>
                  <a:lnTo>
                    <a:pt x="265" y="18"/>
                  </a:lnTo>
                  <a:lnTo>
                    <a:pt x="265" y="18"/>
                  </a:lnTo>
                  <a:lnTo>
                    <a:pt x="270" y="18"/>
                  </a:lnTo>
                  <a:lnTo>
                    <a:pt x="283" y="18"/>
                  </a:lnTo>
                  <a:lnTo>
                    <a:pt x="288" y="18"/>
                  </a:lnTo>
                  <a:lnTo>
                    <a:pt x="288" y="14"/>
                  </a:lnTo>
                  <a:lnTo>
                    <a:pt x="288" y="14"/>
                  </a:lnTo>
                  <a:lnTo>
                    <a:pt x="292" y="14"/>
                  </a:lnTo>
                  <a:lnTo>
                    <a:pt x="297" y="14"/>
                  </a:lnTo>
                  <a:lnTo>
                    <a:pt x="297" y="9"/>
                  </a:lnTo>
                  <a:lnTo>
                    <a:pt x="302" y="9"/>
                  </a:lnTo>
                  <a:lnTo>
                    <a:pt x="306" y="9"/>
                  </a:lnTo>
                  <a:lnTo>
                    <a:pt x="311" y="9"/>
                  </a:lnTo>
                  <a:lnTo>
                    <a:pt x="311" y="9"/>
                  </a:lnTo>
                  <a:lnTo>
                    <a:pt x="315" y="14"/>
                  </a:lnTo>
                  <a:lnTo>
                    <a:pt x="320" y="14"/>
                  </a:lnTo>
                  <a:lnTo>
                    <a:pt x="324" y="9"/>
                  </a:lnTo>
                  <a:lnTo>
                    <a:pt x="329" y="9"/>
                  </a:lnTo>
                  <a:lnTo>
                    <a:pt x="334" y="5"/>
                  </a:lnTo>
                  <a:lnTo>
                    <a:pt x="334" y="0"/>
                  </a:lnTo>
                  <a:lnTo>
                    <a:pt x="338" y="0"/>
                  </a:lnTo>
                  <a:lnTo>
                    <a:pt x="343" y="0"/>
                  </a:lnTo>
                  <a:lnTo>
                    <a:pt x="352" y="0"/>
                  </a:lnTo>
                  <a:lnTo>
                    <a:pt x="352" y="0"/>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Osun</a:t>
              </a:r>
            </a:p>
          </p:txBody>
        </p:sp>
        <p:sp>
          <p:nvSpPr>
            <p:cNvPr id="154" name="Freeform 73">
              <a:extLst>
                <a:ext uri="{FF2B5EF4-FFF2-40B4-BE49-F238E27FC236}">
                  <a16:creationId xmlns:a16="http://schemas.microsoft.com/office/drawing/2014/main" id="{42D2F853-E863-461E-AC46-4E804F8DFADD}"/>
                </a:ext>
              </a:extLst>
            </p:cNvPr>
            <p:cNvSpPr>
              <a:spLocks/>
            </p:cNvSpPr>
            <p:nvPr>
              <p:custDataLst>
                <p:tags r:id="rId66"/>
              </p:custDataLst>
            </p:nvPr>
          </p:nvSpPr>
          <p:spPr bwMode="auto">
            <a:xfrm>
              <a:off x="148237" y="2604403"/>
              <a:ext cx="617950" cy="818338"/>
            </a:xfrm>
            <a:custGeom>
              <a:avLst/>
              <a:gdLst/>
              <a:ahLst/>
              <a:cxnLst>
                <a:cxn ang="0">
                  <a:pos x="503" y="535"/>
                </a:cxn>
                <a:cxn ang="0">
                  <a:pos x="494" y="581"/>
                </a:cxn>
                <a:cxn ang="0">
                  <a:pos x="526" y="622"/>
                </a:cxn>
                <a:cxn ang="0">
                  <a:pos x="530" y="668"/>
                </a:cxn>
                <a:cxn ang="0">
                  <a:pos x="530" y="722"/>
                </a:cxn>
                <a:cxn ang="0">
                  <a:pos x="540" y="768"/>
                </a:cxn>
                <a:cxn ang="0">
                  <a:pos x="494" y="786"/>
                </a:cxn>
                <a:cxn ang="0">
                  <a:pos x="457" y="800"/>
                </a:cxn>
                <a:cxn ang="0">
                  <a:pos x="384" y="805"/>
                </a:cxn>
                <a:cxn ang="0">
                  <a:pos x="389" y="764"/>
                </a:cxn>
                <a:cxn ang="0">
                  <a:pos x="380" y="718"/>
                </a:cxn>
                <a:cxn ang="0">
                  <a:pos x="357" y="677"/>
                </a:cxn>
                <a:cxn ang="0">
                  <a:pos x="316" y="663"/>
                </a:cxn>
                <a:cxn ang="0">
                  <a:pos x="265" y="649"/>
                </a:cxn>
                <a:cxn ang="0">
                  <a:pos x="238" y="677"/>
                </a:cxn>
                <a:cxn ang="0">
                  <a:pos x="206" y="700"/>
                </a:cxn>
                <a:cxn ang="0">
                  <a:pos x="169" y="681"/>
                </a:cxn>
                <a:cxn ang="0">
                  <a:pos x="137" y="640"/>
                </a:cxn>
                <a:cxn ang="0">
                  <a:pos x="114" y="613"/>
                </a:cxn>
                <a:cxn ang="0">
                  <a:pos x="96" y="572"/>
                </a:cxn>
                <a:cxn ang="0">
                  <a:pos x="101" y="512"/>
                </a:cxn>
                <a:cxn ang="0">
                  <a:pos x="78" y="530"/>
                </a:cxn>
                <a:cxn ang="0">
                  <a:pos x="60" y="485"/>
                </a:cxn>
                <a:cxn ang="0">
                  <a:pos x="32" y="457"/>
                </a:cxn>
                <a:cxn ang="0">
                  <a:pos x="9" y="425"/>
                </a:cxn>
                <a:cxn ang="0">
                  <a:pos x="18" y="380"/>
                </a:cxn>
                <a:cxn ang="0">
                  <a:pos x="5" y="348"/>
                </a:cxn>
                <a:cxn ang="0">
                  <a:pos x="5" y="288"/>
                </a:cxn>
                <a:cxn ang="0">
                  <a:pos x="23" y="261"/>
                </a:cxn>
                <a:cxn ang="0">
                  <a:pos x="37" y="215"/>
                </a:cxn>
                <a:cxn ang="0">
                  <a:pos x="78" y="215"/>
                </a:cxn>
                <a:cxn ang="0">
                  <a:pos x="119" y="178"/>
                </a:cxn>
                <a:cxn ang="0">
                  <a:pos x="146" y="156"/>
                </a:cxn>
                <a:cxn ang="0">
                  <a:pos x="188" y="151"/>
                </a:cxn>
                <a:cxn ang="0">
                  <a:pos x="233" y="137"/>
                </a:cxn>
                <a:cxn ang="0">
                  <a:pos x="279" y="119"/>
                </a:cxn>
                <a:cxn ang="0">
                  <a:pos x="357" y="87"/>
                </a:cxn>
                <a:cxn ang="0">
                  <a:pos x="384" y="69"/>
                </a:cxn>
                <a:cxn ang="0">
                  <a:pos x="398" y="27"/>
                </a:cxn>
                <a:cxn ang="0">
                  <a:pos x="430" y="0"/>
                </a:cxn>
                <a:cxn ang="0">
                  <a:pos x="476" y="18"/>
                </a:cxn>
                <a:cxn ang="0">
                  <a:pos x="494" y="60"/>
                </a:cxn>
                <a:cxn ang="0">
                  <a:pos x="521" y="82"/>
                </a:cxn>
                <a:cxn ang="0">
                  <a:pos x="562" y="96"/>
                </a:cxn>
                <a:cxn ang="0">
                  <a:pos x="599" y="69"/>
                </a:cxn>
                <a:cxn ang="0">
                  <a:pos x="594" y="105"/>
                </a:cxn>
                <a:cxn ang="0">
                  <a:pos x="562" y="142"/>
                </a:cxn>
                <a:cxn ang="0">
                  <a:pos x="553" y="188"/>
                </a:cxn>
                <a:cxn ang="0">
                  <a:pos x="572" y="229"/>
                </a:cxn>
                <a:cxn ang="0">
                  <a:pos x="599" y="274"/>
                </a:cxn>
                <a:cxn ang="0">
                  <a:pos x="626" y="329"/>
                </a:cxn>
                <a:cxn ang="0">
                  <a:pos x="672" y="370"/>
                </a:cxn>
                <a:cxn ang="0">
                  <a:pos x="686" y="412"/>
                </a:cxn>
                <a:cxn ang="0">
                  <a:pos x="695" y="466"/>
                </a:cxn>
                <a:cxn ang="0">
                  <a:pos x="649" y="485"/>
                </a:cxn>
                <a:cxn ang="0">
                  <a:pos x="626" y="512"/>
                </a:cxn>
                <a:cxn ang="0">
                  <a:pos x="608" y="480"/>
                </a:cxn>
                <a:cxn ang="0">
                  <a:pos x="572" y="480"/>
                </a:cxn>
                <a:cxn ang="0">
                  <a:pos x="553" y="512"/>
                </a:cxn>
              </a:cxnLst>
              <a:rect l="0" t="0" r="r" b="b"/>
              <a:pathLst>
                <a:path w="709" h="809">
                  <a:moveTo>
                    <a:pt x="521" y="508"/>
                  </a:moveTo>
                  <a:lnTo>
                    <a:pt x="517" y="503"/>
                  </a:lnTo>
                  <a:lnTo>
                    <a:pt x="517" y="503"/>
                  </a:lnTo>
                  <a:lnTo>
                    <a:pt x="512" y="503"/>
                  </a:lnTo>
                  <a:lnTo>
                    <a:pt x="508" y="503"/>
                  </a:lnTo>
                  <a:lnTo>
                    <a:pt x="508" y="508"/>
                  </a:lnTo>
                  <a:lnTo>
                    <a:pt x="508" y="512"/>
                  </a:lnTo>
                  <a:lnTo>
                    <a:pt x="508" y="517"/>
                  </a:lnTo>
                  <a:lnTo>
                    <a:pt x="503" y="526"/>
                  </a:lnTo>
                  <a:lnTo>
                    <a:pt x="503" y="530"/>
                  </a:lnTo>
                  <a:lnTo>
                    <a:pt x="503" y="535"/>
                  </a:lnTo>
                  <a:lnTo>
                    <a:pt x="503" y="544"/>
                  </a:lnTo>
                  <a:lnTo>
                    <a:pt x="503" y="544"/>
                  </a:lnTo>
                  <a:lnTo>
                    <a:pt x="503" y="549"/>
                  </a:lnTo>
                  <a:lnTo>
                    <a:pt x="503" y="553"/>
                  </a:lnTo>
                  <a:lnTo>
                    <a:pt x="503" y="558"/>
                  </a:lnTo>
                  <a:lnTo>
                    <a:pt x="498" y="562"/>
                  </a:lnTo>
                  <a:lnTo>
                    <a:pt x="498" y="567"/>
                  </a:lnTo>
                  <a:lnTo>
                    <a:pt x="498" y="567"/>
                  </a:lnTo>
                  <a:lnTo>
                    <a:pt x="494" y="572"/>
                  </a:lnTo>
                  <a:lnTo>
                    <a:pt x="494" y="576"/>
                  </a:lnTo>
                  <a:lnTo>
                    <a:pt x="494" y="581"/>
                  </a:lnTo>
                  <a:lnTo>
                    <a:pt x="494" y="585"/>
                  </a:lnTo>
                  <a:lnTo>
                    <a:pt x="498" y="590"/>
                  </a:lnTo>
                  <a:lnTo>
                    <a:pt x="498" y="590"/>
                  </a:lnTo>
                  <a:lnTo>
                    <a:pt x="503" y="590"/>
                  </a:lnTo>
                  <a:lnTo>
                    <a:pt x="512" y="599"/>
                  </a:lnTo>
                  <a:lnTo>
                    <a:pt x="517" y="604"/>
                  </a:lnTo>
                  <a:lnTo>
                    <a:pt x="517" y="608"/>
                  </a:lnTo>
                  <a:lnTo>
                    <a:pt x="521" y="613"/>
                  </a:lnTo>
                  <a:lnTo>
                    <a:pt x="521" y="613"/>
                  </a:lnTo>
                  <a:lnTo>
                    <a:pt x="526" y="617"/>
                  </a:lnTo>
                  <a:lnTo>
                    <a:pt x="526" y="622"/>
                  </a:lnTo>
                  <a:lnTo>
                    <a:pt x="530" y="626"/>
                  </a:lnTo>
                  <a:lnTo>
                    <a:pt x="530" y="631"/>
                  </a:lnTo>
                  <a:lnTo>
                    <a:pt x="535" y="631"/>
                  </a:lnTo>
                  <a:lnTo>
                    <a:pt x="540" y="636"/>
                  </a:lnTo>
                  <a:lnTo>
                    <a:pt x="540" y="640"/>
                  </a:lnTo>
                  <a:lnTo>
                    <a:pt x="540" y="645"/>
                  </a:lnTo>
                  <a:lnTo>
                    <a:pt x="535" y="654"/>
                  </a:lnTo>
                  <a:lnTo>
                    <a:pt x="535" y="658"/>
                  </a:lnTo>
                  <a:lnTo>
                    <a:pt x="535" y="663"/>
                  </a:lnTo>
                  <a:lnTo>
                    <a:pt x="535" y="668"/>
                  </a:lnTo>
                  <a:lnTo>
                    <a:pt x="530" y="668"/>
                  </a:lnTo>
                  <a:lnTo>
                    <a:pt x="530" y="672"/>
                  </a:lnTo>
                  <a:lnTo>
                    <a:pt x="526" y="677"/>
                  </a:lnTo>
                  <a:lnTo>
                    <a:pt x="526" y="677"/>
                  </a:lnTo>
                  <a:lnTo>
                    <a:pt x="526" y="686"/>
                  </a:lnTo>
                  <a:lnTo>
                    <a:pt x="530" y="700"/>
                  </a:lnTo>
                  <a:lnTo>
                    <a:pt x="535" y="700"/>
                  </a:lnTo>
                  <a:lnTo>
                    <a:pt x="530" y="704"/>
                  </a:lnTo>
                  <a:lnTo>
                    <a:pt x="530" y="709"/>
                  </a:lnTo>
                  <a:lnTo>
                    <a:pt x="530" y="718"/>
                  </a:lnTo>
                  <a:lnTo>
                    <a:pt x="530" y="722"/>
                  </a:lnTo>
                  <a:lnTo>
                    <a:pt x="530" y="722"/>
                  </a:lnTo>
                  <a:lnTo>
                    <a:pt x="535" y="732"/>
                  </a:lnTo>
                  <a:lnTo>
                    <a:pt x="540" y="741"/>
                  </a:lnTo>
                  <a:lnTo>
                    <a:pt x="544" y="750"/>
                  </a:lnTo>
                  <a:lnTo>
                    <a:pt x="544" y="754"/>
                  </a:lnTo>
                  <a:lnTo>
                    <a:pt x="549" y="764"/>
                  </a:lnTo>
                  <a:lnTo>
                    <a:pt x="549" y="768"/>
                  </a:lnTo>
                  <a:lnTo>
                    <a:pt x="544" y="773"/>
                  </a:lnTo>
                  <a:lnTo>
                    <a:pt x="544" y="777"/>
                  </a:lnTo>
                  <a:lnTo>
                    <a:pt x="540" y="782"/>
                  </a:lnTo>
                  <a:lnTo>
                    <a:pt x="540" y="773"/>
                  </a:lnTo>
                  <a:lnTo>
                    <a:pt x="540" y="768"/>
                  </a:lnTo>
                  <a:lnTo>
                    <a:pt x="535" y="768"/>
                  </a:lnTo>
                  <a:lnTo>
                    <a:pt x="530" y="764"/>
                  </a:lnTo>
                  <a:lnTo>
                    <a:pt x="526" y="764"/>
                  </a:lnTo>
                  <a:lnTo>
                    <a:pt x="521" y="764"/>
                  </a:lnTo>
                  <a:lnTo>
                    <a:pt x="517" y="768"/>
                  </a:lnTo>
                  <a:lnTo>
                    <a:pt x="512" y="773"/>
                  </a:lnTo>
                  <a:lnTo>
                    <a:pt x="508" y="777"/>
                  </a:lnTo>
                  <a:lnTo>
                    <a:pt x="503" y="777"/>
                  </a:lnTo>
                  <a:lnTo>
                    <a:pt x="498" y="782"/>
                  </a:lnTo>
                  <a:lnTo>
                    <a:pt x="498" y="786"/>
                  </a:lnTo>
                  <a:lnTo>
                    <a:pt x="494" y="786"/>
                  </a:lnTo>
                  <a:lnTo>
                    <a:pt x="489" y="786"/>
                  </a:lnTo>
                  <a:lnTo>
                    <a:pt x="485" y="786"/>
                  </a:lnTo>
                  <a:lnTo>
                    <a:pt x="485" y="791"/>
                  </a:lnTo>
                  <a:lnTo>
                    <a:pt x="480" y="791"/>
                  </a:lnTo>
                  <a:lnTo>
                    <a:pt x="476" y="791"/>
                  </a:lnTo>
                  <a:lnTo>
                    <a:pt x="476" y="796"/>
                  </a:lnTo>
                  <a:lnTo>
                    <a:pt x="476" y="800"/>
                  </a:lnTo>
                  <a:lnTo>
                    <a:pt x="471" y="800"/>
                  </a:lnTo>
                  <a:lnTo>
                    <a:pt x="466" y="796"/>
                  </a:lnTo>
                  <a:lnTo>
                    <a:pt x="462" y="796"/>
                  </a:lnTo>
                  <a:lnTo>
                    <a:pt x="457" y="800"/>
                  </a:lnTo>
                  <a:lnTo>
                    <a:pt x="453" y="800"/>
                  </a:lnTo>
                  <a:lnTo>
                    <a:pt x="453" y="805"/>
                  </a:lnTo>
                  <a:lnTo>
                    <a:pt x="448" y="805"/>
                  </a:lnTo>
                  <a:lnTo>
                    <a:pt x="434" y="809"/>
                  </a:lnTo>
                  <a:lnTo>
                    <a:pt x="425" y="809"/>
                  </a:lnTo>
                  <a:lnTo>
                    <a:pt x="421" y="809"/>
                  </a:lnTo>
                  <a:lnTo>
                    <a:pt x="412" y="809"/>
                  </a:lnTo>
                  <a:lnTo>
                    <a:pt x="407" y="809"/>
                  </a:lnTo>
                  <a:lnTo>
                    <a:pt x="402" y="809"/>
                  </a:lnTo>
                  <a:lnTo>
                    <a:pt x="389" y="805"/>
                  </a:lnTo>
                  <a:lnTo>
                    <a:pt x="384" y="805"/>
                  </a:lnTo>
                  <a:lnTo>
                    <a:pt x="380" y="805"/>
                  </a:lnTo>
                  <a:lnTo>
                    <a:pt x="375" y="805"/>
                  </a:lnTo>
                  <a:lnTo>
                    <a:pt x="375" y="800"/>
                  </a:lnTo>
                  <a:lnTo>
                    <a:pt x="375" y="796"/>
                  </a:lnTo>
                  <a:lnTo>
                    <a:pt x="380" y="791"/>
                  </a:lnTo>
                  <a:lnTo>
                    <a:pt x="380" y="786"/>
                  </a:lnTo>
                  <a:lnTo>
                    <a:pt x="384" y="786"/>
                  </a:lnTo>
                  <a:lnTo>
                    <a:pt x="389" y="786"/>
                  </a:lnTo>
                  <a:lnTo>
                    <a:pt x="389" y="777"/>
                  </a:lnTo>
                  <a:lnTo>
                    <a:pt x="389" y="768"/>
                  </a:lnTo>
                  <a:lnTo>
                    <a:pt x="389" y="764"/>
                  </a:lnTo>
                  <a:lnTo>
                    <a:pt x="389" y="759"/>
                  </a:lnTo>
                  <a:lnTo>
                    <a:pt x="389" y="754"/>
                  </a:lnTo>
                  <a:lnTo>
                    <a:pt x="389" y="750"/>
                  </a:lnTo>
                  <a:lnTo>
                    <a:pt x="389" y="745"/>
                  </a:lnTo>
                  <a:lnTo>
                    <a:pt x="389" y="741"/>
                  </a:lnTo>
                  <a:lnTo>
                    <a:pt x="389" y="736"/>
                  </a:lnTo>
                  <a:lnTo>
                    <a:pt x="389" y="732"/>
                  </a:lnTo>
                  <a:lnTo>
                    <a:pt x="389" y="722"/>
                  </a:lnTo>
                  <a:lnTo>
                    <a:pt x="384" y="722"/>
                  </a:lnTo>
                  <a:lnTo>
                    <a:pt x="380" y="722"/>
                  </a:lnTo>
                  <a:lnTo>
                    <a:pt x="380" y="718"/>
                  </a:lnTo>
                  <a:lnTo>
                    <a:pt x="375" y="713"/>
                  </a:lnTo>
                  <a:lnTo>
                    <a:pt x="370" y="713"/>
                  </a:lnTo>
                  <a:lnTo>
                    <a:pt x="370" y="709"/>
                  </a:lnTo>
                  <a:lnTo>
                    <a:pt x="366" y="704"/>
                  </a:lnTo>
                  <a:lnTo>
                    <a:pt x="366" y="700"/>
                  </a:lnTo>
                  <a:lnTo>
                    <a:pt x="366" y="695"/>
                  </a:lnTo>
                  <a:lnTo>
                    <a:pt x="366" y="686"/>
                  </a:lnTo>
                  <a:lnTo>
                    <a:pt x="361" y="686"/>
                  </a:lnTo>
                  <a:lnTo>
                    <a:pt x="361" y="681"/>
                  </a:lnTo>
                  <a:lnTo>
                    <a:pt x="361" y="677"/>
                  </a:lnTo>
                  <a:lnTo>
                    <a:pt x="357" y="677"/>
                  </a:lnTo>
                  <a:lnTo>
                    <a:pt x="357" y="677"/>
                  </a:lnTo>
                  <a:lnTo>
                    <a:pt x="352" y="677"/>
                  </a:lnTo>
                  <a:lnTo>
                    <a:pt x="352" y="672"/>
                  </a:lnTo>
                  <a:lnTo>
                    <a:pt x="348" y="672"/>
                  </a:lnTo>
                  <a:lnTo>
                    <a:pt x="343" y="672"/>
                  </a:lnTo>
                  <a:lnTo>
                    <a:pt x="343" y="668"/>
                  </a:lnTo>
                  <a:lnTo>
                    <a:pt x="338" y="668"/>
                  </a:lnTo>
                  <a:lnTo>
                    <a:pt x="329" y="663"/>
                  </a:lnTo>
                  <a:lnTo>
                    <a:pt x="325" y="663"/>
                  </a:lnTo>
                  <a:lnTo>
                    <a:pt x="320" y="663"/>
                  </a:lnTo>
                  <a:lnTo>
                    <a:pt x="316" y="663"/>
                  </a:lnTo>
                  <a:lnTo>
                    <a:pt x="306" y="663"/>
                  </a:lnTo>
                  <a:lnTo>
                    <a:pt x="302" y="663"/>
                  </a:lnTo>
                  <a:lnTo>
                    <a:pt x="293" y="668"/>
                  </a:lnTo>
                  <a:lnTo>
                    <a:pt x="284" y="672"/>
                  </a:lnTo>
                  <a:lnTo>
                    <a:pt x="279" y="672"/>
                  </a:lnTo>
                  <a:lnTo>
                    <a:pt x="279" y="668"/>
                  </a:lnTo>
                  <a:lnTo>
                    <a:pt x="274" y="663"/>
                  </a:lnTo>
                  <a:lnTo>
                    <a:pt x="270" y="658"/>
                  </a:lnTo>
                  <a:lnTo>
                    <a:pt x="270" y="654"/>
                  </a:lnTo>
                  <a:lnTo>
                    <a:pt x="265" y="654"/>
                  </a:lnTo>
                  <a:lnTo>
                    <a:pt x="265" y="649"/>
                  </a:lnTo>
                  <a:lnTo>
                    <a:pt x="261" y="649"/>
                  </a:lnTo>
                  <a:lnTo>
                    <a:pt x="261" y="645"/>
                  </a:lnTo>
                  <a:lnTo>
                    <a:pt x="256" y="645"/>
                  </a:lnTo>
                  <a:lnTo>
                    <a:pt x="256" y="645"/>
                  </a:lnTo>
                  <a:lnTo>
                    <a:pt x="252" y="645"/>
                  </a:lnTo>
                  <a:lnTo>
                    <a:pt x="252" y="649"/>
                  </a:lnTo>
                  <a:lnTo>
                    <a:pt x="247" y="649"/>
                  </a:lnTo>
                  <a:lnTo>
                    <a:pt x="247" y="654"/>
                  </a:lnTo>
                  <a:lnTo>
                    <a:pt x="242" y="658"/>
                  </a:lnTo>
                  <a:lnTo>
                    <a:pt x="242" y="668"/>
                  </a:lnTo>
                  <a:lnTo>
                    <a:pt x="238" y="677"/>
                  </a:lnTo>
                  <a:lnTo>
                    <a:pt x="238" y="677"/>
                  </a:lnTo>
                  <a:lnTo>
                    <a:pt x="233" y="677"/>
                  </a:lnTo>
                  <a:lnTo>
                    <a:pt x="233" y="681"/>
                  </a:lnTo>
                  <a:lnTo>
                    <a:pt x="233" y="686"/>
                  </a:lnTo>
                  <a:lnTo>
                    <a:pt x="229" y="690"/>
                  </a:lnTo>
                  <a:lnTo>
                    <a:pt x="229" y="695"/>
                  </a:lnTo>
                  <a:lnTo>
                    <a:pt x="224" y="695"/>
                  </a:lnTo>
                  <a:lnTo>
                    <a:pt x="220" y="700"/>
                  </a:lnTo>
                  <a:lnTo>
                    <a:pt x="215" y="700"/>
                  </a:lnTo>
                  <a:lnTo>
                    <a:pt x="210" y="700"/>
                  </a:lnTo>
                  <a:lnTo>
                    <a:pt x="206" y="700"/>
                  </a:lnTo>
                  <a:lnTo>
                    <a:pt x="201" y="700"/>
                  </a:lnTo>
                  <a:lnTo>
                    <a:pt x="197" y="700"/>
                  </a:lnTo>
                  <a:lnTo>
                    <a:pt x="188" y="700"/>
                  </a:lnTo>
                  <a:lnTo>
                    <a:pt x="188" y="700"/>
                  </a:lnTo>
                  <a:lnTo>
                    <a:pt x="183" y="700"/>
                  </a:lnTo>
                  <a:lnTo>
                    <a:pt x="174" y="695"/>
                  </a:lnTo>
                  <a:lnTo>
                    <a:pt x="174" y="690"/>
                  </a:lnTo>
                  <a:lnTo>
                    <a:pt x="169" y="690"/>
                  </a:lnTo>
                  <a:lnTo>
                    <a:pt x="169" y="686"/>
                  </a:lnTo>
                  <a:lnTo>
                    <a:pt x="169" y="686"/>
                  </a:lnTo>
                  <a:lnTo>
                    <a:pt x="169" y="681"/>
                  </a:lnTo>
                  <a:lnTo>
                    <a:pt x="165" y="681"/>
                  </a:lnTo>
                  <a:lnTo>
                    <a:pt x="160" y="677"/>
                  </a:lnTo>
                  <a:lnTo>
                    <a:pt x="156" y="672"/>
                  </a:lnTo>
                  <a:lnTo>
                    <a:pt x="151" y="672"/>
                  </a:lnTo>
                  <a:lnTo>
                    <a:pt x="151" y="668"/>
                  </a:lnTo>
                  <a:lnTo>
                    <a:pt x="146" y="663"/>
                  </a:lnTo>
                  <a:lnTo>
                    <a:pt x="146" y="658"/>
                  </a:lnTo>
                  <a:lnTo>
                    <a:pt x="146" y="654"/>
                  </a:lnTo>
                  <a:lnTo>
                    <a:pt x="142" y="649"/>
                  </a:lnTo>
                  <a:lnTo>
                    <a:pt x="137" y="649"/>
                  </a:lnTo>
                  <a:lnTo>
                    <a:pt x="137" y="640"/>
                  </a:lnTo>
                  <a:lnTo>
                    <a:pt x="133" y="640"/>
                  </a:lnTo>
                  <a:lnTo>
                    <a:pt x="133" y="636"/>
                  </a:lnTo>
                  <a:lnTo>
                    <a:pt x="128" y="636"/>
                  </a:lnTo>
                  <a:lnTo>
                    <a:pt x="128" y="631"/>
                  </a:lnTo>
                  <a:lnTo>
                    <a:pt x="124" y="631"/>
                  </a:lnTo>
                  <a:lnTo>
                    <a:pt x="124" y="626"/>
                  </a:lnTo>
                  <a:lnTo>
                    <a:pt x="124" y="626"/>
                  </a:lnTo>
                  <a:lnTo>
                    <a:pt x="124" y="622"/>
                  </a:lnTo>
                  <a:lnTo>
                    <a:pt x="119" y="622"/>
                  </a:lnTo>
                  <a:lnTo>
                    <a:pt x="114" y="617"/>
                  </a:lnTo>
                  <a:lnTo>
                    <a:pt x="114" y="613"/>
                  </a:lnTo>
                  <a:lnTo>
                    <a:pt x="114" y="613"/>
                  </a:lnTo>
                  <a:lnTo>
                    <a:pt x="110" y="613"/>
                  </a:lnTo>
                  <a:lnTo>
                    <a:pt x="105" y="613"/>
                  </a:lnTo>
                  <a:lnTo>
                    <a:pt x="105" y="608"/>
                  </a:lnTo>
                  <a:lnTo>
                    <a:pt x="101" y="604"/>
                  </a:lnTo>
                  <a:lnTo>
                    <a:pt x="101" y="594"/>
                  </a:lnTo>
                  <a:lnTo>
                    <a:pt x="101" y="594"/>
                  </a:lnTo>
                  <a:lnTo>
                    <a:pt x="101" y="590"/>
                  </a:lnTo>
                  <a:lnTo>
                    <a:pt x="101" y="585"/>
                  </a:lnTo>
                  <a:lnTo>
                    <a:pt x="96" y="581"/>
                  </a:lnTo>
                  <a:lnTo>
                    <a:pt x="96" y="572"/>
                  </a:lnTo>
                  <a:lnTo>
                    <a:pt x="96" y="562"/>
                  </a:lnTo>
                  <a:lnTo>
                    <a:pt x="101" y="553"/>
                  </a:lnTo>
                  <a:lnTo>
                    <a:pt x="101" y="549"/>
                  </a:lnTo>
                  <a:lnTo>
                    <a:pt x="101" y="544"/>
                  </a:lnTo>
                  <a:lnTo>
                    <a:pt x="101" y="540"/>
                  </a:lnTo>
                  <a:lnTo>
                    <a:pt x="101" y="535"/>
                  </a:lnTo>
                  <a:lnTo>
                    <a:pt x="101" y="530"/>
                  </a:lnTo>
                  <a:lnTo>
                    <a:pt x="105" y="526"/>
                  </a:lnTo>
                  <a:lnTo>
                    <a:pt x="105" y="521"/>
                  </a:lnTo>
                  <a:lnTo>
                    <a:pt x="105" y="521"/>
                  </a:lnTo>
                  <a:lnTo>
                    <a:pt x="101" y="512"/>
                  </a:lnTo>
                  <a:lnTo>
                    <a:pt x="101" y="508"/>
                  </a:lnTo>
                  <a:lnTo>
                    <a:pt x="101" y="503"/>
                  </a:lnTo>
                  <a:lnTo>
                    <a:pt x="96" y="503"/>
                  </a:lnTo>
                  <a:lnTo>
                    <a:pt x="92" y="503"/>
                  </a:lnTo>
                  <a:lnTo>
                    <a:pt x="87" y="503"/>
                  </a:lnTo>
                  <a:lnTo>
                    <a:pt x="82" y="503"/>
                  </a:lnTo>
                  <a:lnTo>
                    <a:pt x="78" y="508"/>
                  </a:lnTo>
                  <a:lnTo>
                    <a:pt x="78" y="517"/>
                  </a:lnTo>
                  <a:lnTo>
                    <a:pt x="78" y="521"/>
                  </a:lnTo>
                  <a:lnTo>
                    <a:pt x="78" y="521"/>
                  </a:lnTo>
                  <a:lnTo>
                    <a:pt x="78" y="530"/>
                  </a:lnTo>
                  <a:lnTo>
                    <a:pt x="73" y="535"/>
                  </a:lnTo>
                  <a:lnTo>
                    <a:pt x="69" y="535"/>
                  </a:lnTo>
                  <a:lnTo>
                    <a:pt x="64" y="535"/>
                  </a:lnTo>
                  <a:lnTo>
                    <a:pt x="64" y="530"/>
                  </a:lnTo>
                  <a:lnTo>
                    <a:pt x="64" y="526"/>
                  </a:lnTo>
                  <a:lnTo>
                    <a:pt x="60" y="521"/>
                  </a:lnTo>
                  <a:lnTo>
                    <a:pt x="60" y="517"/>
                  </a:lnTo>
                  <a:lnTo>
                    <a:pt x="60" y="512"/>
                  </a:lnTo>
                  <a:lnTo>
                    <a:pt x="60" y="508"/>
                  </a:lnTo>
                  <a:lnTo>
                    <a:pt x="60" y="494"/>
                  </a:lnTo>
                  <a:lnTo>
                    <a:pt x="60" y="485"/>
                  </a:lnTo>
                  <a:lnTo>
                    <a:pt x="60" y="480"/>
                  </a:lnTo>
                  <a:lnTo>
                    <a:pt x="60" y="476"/>
                  </a:lnTo>
                  <a:lnTo>
                    <a:pt x="60" y="471"/>
                  </a:lnTo>
                  <a:lnTo>
                    <a:pt x="60" y="466"/>
                  </a:lnTo>
                  <a:lnTo>
                    <a:pt x="55" y="466"/>
                  </a:lnTo>
                  <a:lnTo>
                    <a:pt x="55" y="462"/>
                  </a:lnTo>
                  <a:lnTo>
                    <a:pt x="46" y="457"/>
                  </a:lnTo>
                  <a:lnTo>
                    <a:pt x="46" y="457"/>
                  </a:lnTo>
                  <a:lnTo>
                    <a:pt x="41" y="457"/>
                  </a:lnTo>
                  <a:lnTo>
                    <a:pt x="37" y="457"/>
                  </a:lnTo>
                  <a:lnTo>
                    <a:pt x="32" y="457"/>
                  </a:lnTo>
                  <a:lnTo>
                    <a:pt x="28" y="457"/>
                  </a:lnTo>
                  <a:lnTo>
                    <a:pt x="18" y="457"/>
                  </a:lnTo>
                  <a:lnTo>
                    <a:pt x="14" y="457"/>
                  </a:lnTo>
                  <a:lnTo>
                    <a:pt x="14" y="457"/>
                  </a:lnTo>
                  <a:lnTo>
                    <a:pt x="9" y="457"/>
                  </a:lnTo>
                  <a:lnTo>
                    <a:pt x="5" y="457"/>
                  </a:lnTo>
                  <a:lnTo>
                    <a:pt x="5" y="453"/>
                  </a:lnTo>
                  <a:lnTo>
                    <a:pt x="5" y="453"/>
                  </a:lnTo>
                  <a:lnTo>
                    <a:pt x="9" y="430"/>
                  </a:lnTo>
                  <a:lnTo>
                    <a:pt x="9" y="430"/>
                  </a:lnTo>
                  <a:lnTo>
                    <a:pt x="9" y="425"/>
                  </a:lnTo>
                  <a:lnTo>
                    <a:pt x="14" y="425"/>
                  </a:lnTo>
                  <a:lnTo>
                    <a:pt x="9" y="421"/>
                  </a:lnTo>
                  <a:lnTo>
                    <a:pt x="9" y="416"/>
                  </a:lnTo>
                  <a:lnTo>
                    <a:pt x="14" y="412"/>
                  </a:lnTo>
                  <a:lnTo>
                    <a:pt x="14" y="407"/>
                  </a:lnTo>
                  <a:lnTo>
                    <a:pt x="14" y="402"/>
                  </a:lnTo>
                  <a:lnTo>
                    <a:pt x="14" y="398"/>
                  </a:lnTo>
                  <a:lnTo>
                    <a:pt x="14" y="398"/>
                  </a:lnTo>
                  <a:lnTo>
                    <a:pt x="18" y="393"/>
                  </a:lnTo>
                  <a:lnTo>
                    <a:pt x="18" y="389"/>
                  </a:lnTo>
                  <a:lnTo>
                    <a:pt x="18" y="380"/>
                  </a:lnTo>
                  <a:lnTo>
                    <a:pt x="18" y="375"/>
                  </a:lnTo>
                  <a:lnTo>
                    <a:pt x="18" y="375"/>
                  </a:lnTo>
                  <a:lnTo>
                    <a:pt x="23" y="370"/>
                  </a:lnTo>
                  <a:lnTo>
                    <a:pt x="23" y="370"/>
                  </a:lnTo>
                  <a:lnTo>
                    <a:pt x="14" y="366"/>
                  </a:lnTo>
                  <a:lnTo>
                    <a:pt x="14" y="366"/>
                  </a:lnTo>
                  <a:lnTo>
                    <a:pt x="14" y="361"/>
                  </a:lnTo>
                  <a:lnTo>
                    <a:pt x="9" y="357"/>
                  </a:lnTo>
                  <a:lnTo>
                    <a:pt x="9" y="357"/>
                  </a:lnTo>
                  <a:lnTo>
                    <a:pt x="5" y="352"/>
                  </a:lnTo>
                  <a:lnTo>
                    <a:pt x="5" y="348"/>
                  </a:lnTo>
                  <a:lnTo>
                    <a:pt x="0" y="334"/>
                  </a:lnTo>
                  <a:lnTo>
                    <a:pt x="0" y="334"/>
                  </a:lnTo>
                  <a:lnTo>
                    <a:pt x="0" y="329"/>
                  </a:lnTo>
                  <a:lnTo>
                    <a:pt x="0" y="320"/>
                  </a:lnTo>
                  <a:lnTo>
                    <a:pt x="0" y="316"/>
                  </a:lnTo>
                  <a:lnTo>
                    <a:pt x="0" y="316"/>
                  </a:lnTo>
                  <a:lnTo>
                    <a:pt x="5" y="311"/>
                  </a:lnTo>
                  <a:lnTo>
                    <a:pt x="5" y="306"/>
                  </a:lnTo>
                  <a:lnTo>
                    <a:pt x="5" y="297"/>
                  </a:lnTo>
                  <a:lnTo>
                    <a:pt x="5" y="293"/>
                  </a:lnTo>
                  <a:lnTo>
                    <a:pt x="5" y="288"/>
                  </a:lnTo>
                  <a:lnTo>
                    <a:pt x="9" y="288"/>
                  </a:lnTo>
                  <a:lnTo>
                    <a:pt x="14" y="288"/>
                  </a:lnTo>
                  <a:lnTo>
                    <a:pt x="14" y="284"/>
                  </a:lnTo>
                  <a:lnTo>
                    <a:pt x="18" y="279"/>
                  </a:lnTo>
                  <a:lnTo>
                    <a:pt x="18" y="279"/>
                  </a:lnTo>
                  <a:lnTo>
                    <a:pt x="18" y="274"/>
                  </a:lnTo>
                  <a:lnTo>
                    <a:pt x="23" y="270"/>
                  </a:lnTo>
                  <a:lnTo>
                    <a:pt x="18" y="265"/>
                  </a:lnTo>
                  <a:lnTo>
                    <a:pt x="18" y="265"/>
                  </a:lnTo>
                  <a:lnTo>
                    <a:pt x="23" y="261"/>
                  </a:lnTo>
                  <a:lnTo>
                    <a:pt x="23" y="261"/>
                  </a:lnTo>
                  <a:lnTo>
                    <a:pt x="23" y="256"/>
                  </a:lnTo>
                  <a:lnTo>
                    <a:pt x="23" y="256"/>
                  </a:lnTo>
                  <a:lnTo>
                    <a:pt x="18" y="252"/>
                  </a:lnTo>
                  <a:lnTo>
                    <a:pt x="18" y="247"/>
                  </a:lnTo>
                  <a:lnTo>
                    <a:pt x="23" y="242"/>
                  </a:lnTo>
                  <a:lnTo>
                    <a:pt x="23" y="238"/>
                  </a:lnTo>
                  <a:lnTo>
                    <a:pt x="18" y="233"/>
                  </a:lnTo>
                  <a:lnTo>
                    <a:pt x="23" y="233"/>
                  </a:lnTo>
                  <a:lnTo>
                    <a:pt x="28" y="229"/>
                  </a:lnTo>
                  <a:lnTo>
                    <a:pt x="32" y="224"/>
                  </a:lnTo>
                  <a:lnTo>
                    <a:pt x="37" y="215"/>
                  </a:lnTo>
                  <a:lnTo>
                    <a:pt x="37" y="215"/>
                  </a:lnTo>
                  <a:lnTo>
                    <a:pt x="46" y="215"/>
                  </a:lnTo>
                  <a:lnTo>
                    <a:pt x="55" y="215"/>
                  </a:lnTo>
                  <a:lnTo>
                    <a:pt x="60" y="215"/>
                  </a:lnTo>
                  <a:lnTo>
                    <a:pt x="64" y="215"/>
                  </a:lnTo>
                  <a:lnTo>
                    <a:pt x="69" y="220"/>
                  </a:lnTo>
                  <a:lnTo>
                    <a:pt x="73" y="215"/>
                  </a:lnTo>
                  <a:lnTo>
                    <a:pt x="78" y="215"/>
                  </a:lnTo>
                  <a:lnTo>
                    <a:pt x="78" y="215"/>
                  </a:lnTo>
                  <a:lnTo>
                    <a:pt x="78" y="215"/>
                  </a:lnTo>
                  <a:lnTo>
                    <a:pt x="78" y="215"/>
                  </a:lnTo>
                  <a:lnTo>
                    <a:pt x="78" y="210"/>
                  </a:lnTo>
                  <a:lnTo>
                    <a:pt x="82" y="210"/>
                  </a:lnTo>
                  <a:lnTo>
                    <a:pt x="82" y="206"/>
                  </a:lnTo>
                  <a:lnTo>
                    <a:pt x="87" y="206"/>
                  </a:lnTo>
                  <a:lnTo>
                    <a:pt x="92" y="197"/>
                  </a:lnTo>
                  <a:lnTo>
                    <a:pt x="96" y="197"/>
                  </a:lnTo>
                  <a:lnTo>
                    <a:pt x="101" y="192"/>
                  </a:lnTo>
                  <a:lnTo>
                    <a:pt x="105" y="188"/>
                  </a:lnTo>
                  <a:lnTo>
                    <a:pt x="110" y="188"/>
                  </a:lnTo>
                  <a:lnTo>
                    <a:pt x="114" y="183"/>
                  </a:lnTo>
                  <a:lnTo>
                    <a:pt x="119" y="178"/>
                  </a:lnTo>
                  <a:lnTo>
                    <a:pt x="119" y="174"/>
                  </a:lnTo>
                  <a:lnTo>
                    <a:pt x="124" y="174"/>
                  </a:lnTo>
                  <a:lnTo>
                    <a:pt x="124" y="174"/>
                  </a:lnTo>
                  <a:lnTo>
                    <a:pt x="128" y="174"/>
                  </a:lnTo>
                  <a:lnTo>
                    <a:pt x="128" y="169"/>
                  </a:lnTo>
                  <a:lnTo>
                    <a:pt x="133" y="165"/>
                  </a:lnTo>
                  <a:lnTo>
                    <a:pt x="137" y="165"/>
                  </a:lnTo>
                  <a:lnTo>
                    <a:pt x="142" y="160"/>
                  </a:lnTo>
                  <a:lnTo>
                    <a:pt x="146" y="160"/>
                  </a:lnTo>
                  <a:lnTo>
                    <a:pt x="146" y="156"/>
                  </a:lnTo>
                  <a:lnTo>
                    <a:pt x="146" y="156"/>
                  </a:lnTo>
                  <a:lnTo>
                    <a:pt x="151" y="151"/>
                  </a:lnTo>
                  <a:lnTo>
                    <a:pt x="156" y="151"/>
                  </a:lnTo>
                  <a:lnTo>
                    <a:pt x="160" y="151"/>
                  </a:lnTo>
                  <a:lnTo>
                    <a:pt x="165" y="151"/>
                  </a:lnTo>
                  <a:lnTo>
                    <a:pt x="169" y="151"/>
                  </a:lnTo>
                  <a:lnTo>
                    <a:pt x="169" y="151"/>
                  </a:lnTo>
                  <a:lnTo>
                    <a:pt x="174" y="151"/>
                  </a:lnTo>
                  <a:lnTo>
                    <a:pt x="178" y="151"/>
                  </a:lnTo>
                  <a:lnTo>
                    <a:pt x="183" y="151"/>
                  </a:lnTo>
                  <a:lnTo>
                    <a:pt x="188" y="151"/>
                  </a:lnTo>
                  <a:lnTo>
                    <a:pt x="188" y="151"/>
                  </a:lnTo>
                  <a:lnTo>
                    <a:pt x="188" y="151"/>
                  </a:lnTo>
                  <a:lnTo>
                    <a:pt x="192" y="151"/>
                  </a:lnTo>
                  <a:lnTo>
                    <a:pt x="201" y="151"/>
                  </a:lnTo>
                  <a:lnTo>
                    <a:pt x="206" y="151"/>
                  </a:lnTo>
                  <a:lnTo>
                    <a:pt x="210" y="151"/>
                  </a:lnTo>
                  <a:lnTo>
                    <a:pt x="210" y="151"/>
                  </a:lnTo>
                  <a:lnTo>
                    <a:pt x="215" y="151"/>
                  </a:lnTo>
                  <a:lnTo>
                    <a:pt x="224" y="146"/>
                  </a:lnTo>
                  <a:lnTo>
                    <a:pt x="224" y="142"/>
                  </a:lnTo>
                  <a:lnTo>
                    <a:pt x="229" y="142"/>
                  </a:lnTo>
                  <a:lnTo>
                    <a:pt x="233" y="137"/>
                  </a:lnTo>
                  <a:lnTo>
                    <a:pt x="233" y="137"/>
                  </a:lnTo>
                  <a:lnTo>
                    <a:pt x="238" y="137"/>
                  </a:lnTo>
                  <a:lnTo>
                    <a:pt x="242" y="137"/>
                  </a:lnTo>
                  <a:lnTo>
                    <a:pt x="247" y="137"/>
                  </a:lnTo>
                  <a:lnTo>
                    <a:pt x="256" y="133"/>
                  </a:lnTo>
                  <a:lnTo>
                    <a:pt x="261" y="128"/>
                  </a:lnTo>
                  <a:lnTo>
                    <a:pt x="265" y="128"/>
                  </a:lnTo>
                  <a:lnTo>
                    <a:pt x="265" y="128"/>
                  </a:lnTo>
                  <a:lnTo>
                    <a:pt x="270" y="124"/>
                  </a:lnTo>
                  <a:lnTo>
                    <a:pt x="274" y="124"/>
                  </a:lnTo>
                  <a:lnTo>
                    <a:pt x="279" y="119"/>
                  </a:lnTo>
                  <a:lnTo>
                    <a:pt x="284" y="114"/>
                  </a:lnTo>
                  <a:lnTo>
                    <a:pt x="288" y="114"/>
                  </a:lnTo>
                  <a:lnTo>
                    <a:pt x="297" y="110"/>
                  </a:lnTo>
                  <a:lnTo>
                    <a:pt x="297" y="105"/>
                  </a:lnTo>
                  <a:lnTo>
                    <a:pt x="311" y="105"/>
                  </a:lnTo>
                  <a:lnTo>
                    <a:pt x="316" y="105"/>
                  </a:lnTo>
                  <a:lnTo>
                    <a:pt x="329" y="101"/>
                  </a:lnTo>
                  <a:lnTo>
                    <a:pt x="338" y="96"/>
                  </a:lnTo>
                  <a:lnTo>
                    <a:pt x="348" y="87"/>
                  </a:lnTo>
                  <a:lnTo>
                    <a:pt x="352" y="87"/>
                  </a:lnTo>
                  <a:lnTo>
                    <a:pt x="357" y="87"/>
                  </a:lnTo>
                  <a:lnTo>
                    <a:pt x="357" y="82"/>
                  </a:lnTo>
                  <a:lnTo>
                    <a:pt x="361" y="82"/>
                  </a:lnTo>
                  <a:lnTo>
                    <a:pt x="366" y="82"/>
                  </a:lnTo>
                  <a:lnTo>
                    <a:pt x="366" y="82"/>
                  </a:lnTo>
                  <a:lnTo>
                    <a:pt x="366" y="78"/>
                  </a:lnTo>
                  <a:lnTo>
                    <a:pt x="370" y="78"/>
                  </a:lnTo>
                  <a:lnTo>
                    <a:pt x="375" y="78"/>
                  </a:lnTo>
                  <a:lnTo>
                    <a:pt x="375" y="73"/>
                  </a:lnTo>
                  <a:lnTo>
                    <a:pt x="380" y="73"/>
                  </a:lnTo>
                  <a:lnTo>
                    <a:pt x="380" y="69"/>
                  </a:lnTo>
                  <a:lnTo>
                    <a:pt x="384" y="69"/>
                  </a:lnTo>
                  <a:lnTo>
                    <a:pt x="389" y="64"/>
                  </a:lnTo>
                  <a:lnTo>
                    <a:pt x="389" y="64"/>
                  </a:lnTo>
                  <a:lnTo>
                    <a:pt x="389" y="64"/>
                  </a:lnTo>
                  <a:lnTo>
                    <a:pt x="389" y="60"/>
                  </a:lnTo>
                  <a:lnTo>
                    <a:pt x="393" y="55"/>
                  </a:lnTo>
                  <a:lnTo>
                    <a:pt x="393" y="46"/>
                  </a:lnTo>
                  <a:lnTo>
                    <a:pt x="393" y="41"/>
                  </a:lnTo>
                  <a:lnTo>
                    <a:pt x="393" y="41"/>
                  </a:lnTo>
                  <a:lnTo>
                    <a:pt x="393" y="37"/>
                  </a:lnTo>
                  <a:lnTo>
                    <a:pt x="393" y="32"/>
                  </a:lnTo>
                  <a:lnTo>
                    <a:pt x="398" y="27"/>
                  </a:lnTo>
                  <a:lnTo>
                    <a:pt x="398" y="23"/>
                  </a:lnTo>
                  <a:lnTo>
                    <a:pt x="407" y="18"/>
                  </a:lnTo>
                  <a:lnTo>
                    <a:pt x="407" y="18"/>
                  </a:lnTo>
                  <a:lnTo>
                    <a:pt x="412" y="14"/>
                  </a:lnTo>
                  <a:lnTo>
                    <a:pt x="412" y="9"/>
                  </a:lnTo>
                  <a:lnTo>
                    <a:pt x="416" y="9"/>
                  </a:lnTo>
                  <a:lnTo>
                    <a:pt x="421" y="9"/>
                  </a:lnTo>
                  <a:lnTo>
                    <a:pt x="421" y="5"/>
                  </a:lnTo>
                  <a:lnTo>
                    <a:pt x="425" y="5"/>
                  </a:lnTo>
                  <a:lnTo>
                    <a:pt x="430" y="5"/>
                  </a:lnTo>
                  <a:lnTo>
                    <a:pt x="430" y="0"/>
                  </a:lnTo>
                  <a:lnTo>
                    <a:pt x="430" y="0"/>
                  </a:lnTo>
                  <a:lnTo>
                    <a:pt x="434" y="0"/>
                  </a:lnTo>
                  <a:lnTo>
                    <a:pt x="439" y="0"/>
                  </a:lnTo>
                  <a:lnTo>
                    <a:pt x="444" y="0"/>
                  </a:lnTo>
                  <a:lnTo>
                    <a:pt x="453" y="0"/>
                  </a:lnTo>
                  <a:lnTo>
                    <a:pt x="453" y="0"/>
                  </a:lnTo>
                  <a:lnTo>
                    <a:pt x="457" y="5"/>
                  </a:lnTo>
                  <a:lnTo>
                    <a:pt x="462" y="9"/>
                  </a:lnTo>
                  <a:lnTo>
                    <a:pt x="476" y="18"/>
                  </a:lnTo>
                  <a:lnTo>
                    <a:pt x="476" y="18"/>
                  </a:lnTo>
                  <a:lnTo>
                    <a:pt x="476" y="18"/>
                  </a:lnTo>
                  <a:lnTo>
                    <a:pt x="476" y="23"/>
                  </a:lnTo>
                  <a:lnTo>
                    <a:pt x="476" y="27"/>
                  </a:lnTo>
                  <a:lnTo>
                    <a:pt x="480" y="32"/>
                  </a:lnTo>
                  <a:lnTo>
                    <a:pt x="480" y="37"/>
                  </a:lnTo>
                  <a:lnTo>
                    <a:pt x="485" y="37"/>
                  </a:lnTo>
                  <a:lnTo>
                    <a:pt x="480" y="41"/>
                  </a:lnTo>
                  <a:lnTo>
                    <a:pt x="485" y="46"/>
                  </a:lnTo>
                  <a:lnTo>
                    <a:pt x="485" y="50"/>
                  </a:lnTo>
                  <a:lnTo>
                    <a:pt x="489" y="55"/>
                  </a:lnTo>
                  <a:lnTo>
                    <a:pt x="494" y="55"/>
                  </a:lnTo>
                  <a:lnTo>
                    <a:pt x="494" y="60"/>
                  </a:lnTo>
                  <a:lnTo>
                    <a:pt x="498" y="60"/>
                  </a:lnTo>
                  <a:lnTo>
                    <a:pt x="498" y="60"/>
                  </a:lnTo>
                  <a:lnTo>
                    <a:pt x="503" y="64"/>
                  </a:lnTo>
                  <a:lnTo>
                    <a:pt x="503" y="64"/>
                  </a:lnTo>
                  <a:lnTo>
                    <a:pt x="508" y="64"/>
                  </a:lnTo>
                  <a:lnTo>
                    <a:pt x="508" y="69"/>
                  </a:lnTo>
                  <a:lnTo>
                    <a:pt x="512" y="69"/>
                  </a:lnTo>
                  <a:lnTo>
                    <a:pt x="517" y="78"/>
                  </a:lnTo>
                  <a:lnTo>
                    <a:pt x="517" y="82"/>
                  </a:lnTo>
                  <a:lnTo>
                    <a:pt x="521" y="82"/>
                  </a:lnTo>
                  <a:lnTo>
                    <a:pt x="521" y="82"/>
                  </a:lnTo>
                  <a:lnTo>
                    <a:pt x="526" y="87"/>
                  </a:lnTo>
                  <a:lnTo>
                    <a:pt x="530" y="87"/>
                  </a:lnTo>
                  <a:lnTo>
                    <a:pt x="535" y="92"/>
                  </a:lnTo>
                  <a:lnTo>
                    <a:pt x="540" y="92"/>
                  </a:lnTo>
                  <a:lnTo>
                    <a:pt x="540" y="96"/>
                  </a:lnTo>
                  <a:lnTo>
                    <a:pt x="544" y="96"/>
                  </a:lnTo>
                  <a:lnTo>
                    <a:pt x="549" y="101"/>
                  </a:lnTo>
                  <a:lnTo>
                    <a:pt x="553" y="101"/>
                  </a:lnTo>
                  <a:lnTo>
                    <a:pt x="558" y="101"/>
                  </a:lnTo>
                  <a:lnTo>
                    <a:pt x="562" y="101"/>
                  </a:lnTo>
                  <a:lnTo>
                    <a:pt x="562" y="96"/>
                  </a:lnTo>
                  <a:lnTo>
                    <a:pt x="567" y="92"/>
                  </a:lnTo>
                  <a:lnTo>
                    <a:pt x="567" y="87"/>
                  </a:lnTo>
                  <a:lnTo>
                    <a:pt x="576" y="82"/>
                  </a:lnTo>
                  <a:lnTo>
                    <a:pt x="585" y="82"/>
                  </a:lnTo>
                  <a:lnTo>
                    <a:pt x="585" y="78"/>
                  </a:lnTo>
                  <a:lnTo>
                    <a:pt x="585" y="78"/>
                  </a:lnTo>
                  <a:lnTo>
                    <a:pt x="585" y="73"/>
                  </a:lnTo>
                  <a:lnTo>
                    <a:pt x="590" y="73"/>
                  </a:lnTo>
                  <a:lnTo>
                    <a:pt x="594" y="73"/>
                  </a:lnTo>
                  <a:lnTo>
                    <a:pt x="594" y="69"/>
                  </a:lnTo>
                  <a:lnTo>
                    <a:pt x="599" y="69"/>
                  </a:lnTo>
                  <a:lnTo>
                    <a:pt x="608" y="64"/>
                  </a:lnTo>
                  <a:lnTo>
                    <a:pt x="608" y="69"/>
                  </a:lnTo>
                  <a:lnTo>
                    <a:pt x="613" y="73"/>
                  </a:lnTo>
                  <a:lnTo>
                    <a:pt x="617" y="78"/>
                  </a:lnTo>
                  <a:lnTo>
                    <a:pt x="617" y="82"/>
                  </a:lnTo>
                  <a:lnTo>
                    <a:pt x="617" y="82"/>
                  </a:lnTo>
                  <a:lnTo>
                    <a:pt x="617" y="87"/>
                  </a:lnTo>
                  <a:lnTo>
                    <a:pt x="613" y="87"/>
                  </a:lnTo>
                  <a:lnTo>
                    <a:pt x="613" y="92"/>
                  </a:lnTo>
                  <a:lnTo>
                    <a:pt x="608" y="96"/>
                  </a:lnTo>
                  <a:lnTo>
                    <a:pt x="594" y="105"/>
                  </a:lnTo>
                  <a:lnTo>
                    <a:pt x="590" y="105"/>
                  </a:lnTo>
                  <a:lnTo>
                    <a:pt x="585" y="105"/>
                  </a:lnTo>
                  <a:lnTo>
                    <a:pt x="585" y="110"/>
                  </a:lnTo>
                  <a:lnTo>
                    <a:pt x="585" y="114"/>
                  </a:lnTo>
                  <a:lnTo>
                    <a:pt x="576" y="119"/>
                  </a:lnTo>
                  <a:lnTo>
                    <a:pt x="572" y="128"/>
                  </a:lnTo>
                  <a:lnTo>
                    <a:pt x="567" y="128"/>
                  </a:lnTo>
                  <a:lnTo>
                    <a:pt x="567" y="133"/>
                  </a:lnTo>
                  <a:lnTo>
                    <a:pt x="562" y="137"/>
                  </a:lnTo>
                  <a:lnTo>
                    <a:pt x="562" y="142"/>
                  </a:lnTo>
                  <a:lnTo>
                    <a:pt x="562" y="142"/>
                  </a:lnTo>
                  <a:lnTo>
                    <a:pt x="562" y="146"/>
                  </a:lnTo>
                  <a:lnTo>
                    <a:pt x="562" y="151"/>
                  </a:lnTo>
                  <a:lnTo>
                    <a:pt x="558" y="151"/>
                  </a:lnTo>
                  <a:lnTo>
                    <a:pt x="553" y="151"/>
                  </a:lnTo>
                  <a:lnTo>
                    <a:pt x="553" y="156"/>
                  </a:lnTo>
                  <a:lnTo>
                    <a:pt x="553" y="160"/>
                  </a:lnTo>
                  <a:lnTo>
                    <a:pt x="553" y="165"/>
                  </a:lnTo>
                  <a:lnTo>
                    <a:pt x="553" y="169"/>
                  </a:lnTo>
                  <a:lnTo>
                    <a:pt x="553" y="174"/>
                  </a:lnTo>
                  <a:lnTo>
                    <a:pt x="553" y="183"/>
                  </a:lnTo>
                  <a:lnTo>
                    <a:pt x="553" y="188"/>
                  </a:lnTo>
                  <a:lnTo>
                    <a:pt x="553" y="192"/>
                  </a:lnTo>
                  <a:lnTo>
                    <a:pt x="558" y="197"/>
                  </a:lnTo>
                  <a:lnTo>
                    <a:pt x="558" y="201"/>
                  </a:lnTo>
                  <a:lnTo>
                    <a:pt x="562" y="206"/>
                  </a:lnTo>
                  <a:lnTo>
                    <a:pt x="562" y="210"/>
                  </a:lnTo>
                  <a:lnTo>
                    <a:pt x="562" y="215"/>
                  </a:lnTo>
                  <a:lnTo>
                    <a:pt x="562" y="215"/>
                  </a:lnTo>
                  <a:lnTo>
                    <a:pt x="562" y="215"/>
                  </a:lnTo>
                  <a:lnTo>
                    <a:pt x="562" y="220"/>
                  </a:lnTo>
                  <a:lnTo>
                    <a:pt x="567" y="220"/>
                  </a:lnTo>
                  <a:lnTo>
                    <a:pt x="572" y="229"/>
                  </a:lnTo>
                  <a:lnTo>
                    <a:pt x="576" y="238"/>
                  </a:lnTo>
                  <a:lnTo>
                    <a:pt x="581" y="238"/>
                  </a:lnTo>
                  <a:lnTo>
                    <a:pt x="581" y="242"/>
                  </a:lnTo>
                  <a:lnTo>
                    <a:pt x="585" y="247"/>
                  </a:lnTo>
                  <a:lnTo>
                    <a:pt x="585" y="252"/>
                  </a:lnTo>
                  <a:lnTo>
                    <a:pt x="585" y="256"/>
                  </a:lnTo>
                  <a:lnTo>
                    <a:pt x="590" y="261"/>
                  </a:lnTo>
                  <a:lnTo>
                    <a:pt x="590" y="261"/>
                  </a:lnTo>
                  <a:lnTo>
                    <a:pt x="594" y="261"/>
                  </a:lnTo>
                  <a:lnTo>
                    <a:pt x="594" y="265"/>
                  </a:lnTo>
                  <a:lnTo>
                    <a:pt x="599" y="274"/>
                  </a:lnTo>
                  <a:lnTo>
                    <a:pt x="604" y="284"/>
                  </a:lnTo>
                  <a:lnTo>
                    <a:pt x="608" y="288"/>
                  </a:lnTo>
                  <a:lnTo>
                    <a:pt x="608" y="293"/>
                  </a:lnTo>
                  <a:lnTo>
                    <a:pt x="608" y="297"/>
                  </a:lnTo>
                  <a:lnTo>
                    <a:pt x="613" y="302"/>
                  </a:lnTo>
                  <a:lnTo>
                    <a:pt x="617" y="306"/>
                  </a:lnTo>
                  <a:lnTo>
                    <a:pt x="617" y="311"/>
                  </a:lnTo>
                  <a:lnTo>
                    <a:pt x="622" y="320"/>
                  </a:lnTo>
                  <a:lnTo>
                    <a:pt x="626" y="320"/>
                  </a:lnTo>
                  <a:lnTo>
                    <a:pt x="626" y="325"/>
                  </a:lnTo>
                  <a:lnTo>
                    <a:pt x="626" y="329"/>
                  </a:lnTo>
                  <a:lnTo>
                    <a:pt x="636" y="334"/>
                  </a:lnTo>
                  <a:lnTo>
                    <a:pt x="640" y="338"/>
                  </a:lnTo>
                  <a:lnTo>
                    <a:pt x="640" y="343"/>
                  </a:lnTo>
                  <a:lnTo>
                    <a:pt x="649" y="348"/>
                  </a:lnTo>
                  <a:lnTo>
                    <a:pt x="649" y="348"/>
                  </a:lnTo>
                  <a:lnTo>
                    <a:pt x="649" y="352"/>
                  </a:lnTo>
                  <a:lnTo>
                    <a:pt x="654" y="357"/>
                  </a:lnTo>
                  <a:lnTo>
                    <a:pt x="658" y="361"/>
                  </a:lnTo>
                  <a:lnTo>
                    <a:pt x="663" y="361"/>
                  </a:lnTo>
                  <a:lnTo>
                    <a:pt x="668" y="366"/>
                  </a:lnTo>
                  <a:lnTo>
                    <a:pt x="672" y="370"/>
                  </a:lnTo>
                  <a:lnTo>
                    <a:pt x="672" y="370"/>
                  </a:lnTo>
                  <a:lnTo>
                    <a:pt x="672" y="375"/>
                  </a:lnTo>
                  <a:lnTo>
                    <a:pt x="672" y="380"/>
                  </a:lnTo>
                  <a:lnTo>
                    <a:pt x="677" y="384"/>
                  </a:lnTo>
                  <a:lnTo>
                    <a:pt x="677" y="389"/>
                  </a:lnTo>
                  <a:lnTo>
                    <a:pt x="681" y="393"/>
                  </a:lnTo>
                  <a:lnTo>
                    <a:pt x="677" y="398"/>
                  </a:lnTo>
                  <a:lnTo>
                    <a:pt x="681" y="407"/>
                  </a:lnTo>
                  <a:lnTo>
                    <a:pt x="681" y="412"/>
                  </a:lnTo>
                  <a:lnTo>
                    <a:pt x="681" y="412"/>
                  </a:lnTo>
                  <a:lnTo>
                    <a:pt x="686" y="412"/>
                  </a:lnTo>
                  <a:lnTo>
                    <a:pt x="690" y="421"/>
                  </a:lnTo>
                  <a:lnTo>
                    <a:pt x="695" y="425"/>
                  </a:lnTo>
                  <a:lnTo>
                    <a:pt x="700" y="430"/>
                  </a:lnTo>
                  <a:lnTo>
                    <a:pt x="709" y="434"/>
                  </a:lnTo>
                  <a:lnTo>
                    <a:pt x="704" y="434"/>
                  </a:lnTo>
                  <a:lnTo>
                    <a:pt x="700" y="434"/>
                  </a:lnTo>
                  <a:lnTo>
                    <a:pt x="695" y="439"/>
                  </a:lnTo>
                  <a:lnTo>
                    <a:pt x="695" y="444"/>
                  </a:lnTo>
                  <a:lnTo>
                    <a:pt x="695" y="448"/>
                  </a:lnTo>
                  <a:lnTo>
                    <a:pt x="695" y="457"/>
                  </a:lnTo>
                  <a:lnTo>
                    <a:pt x="695" y="466"/>
                  </a:lnTo>
                  <a:lnTo>
                    <a:pt x="690" y="466"/>
                  </a:lnTo>
                  <a:lnTo>
                    <a:pt x="686" y="471"/>
                  </a:lnTo>
                  <a:lnTo>
                    <a:pt x="681" y="471"/>
                  </a:lnTo>
                  <a:lnTo>
                    <a:pt x="677" y="476"/>
                  </a:lnTo>
                  <a:lnTo>
                    <a:pt x="672" y="476"/>
                  </a:lnTo>
                  <a:lnTo>
                    <a:pt x="672" y="480"/>
                  </a:lnTo>
                  <a:lnTo>
                    <a:pt x="668" y="480"/>
                  </a:lnTo>
                  <a:lnTo>
                    <a:pt x="658" y="480"/>
                  </a:lnTo>
                  <a:lnTo>
                    <a:pt x="654" y="480"/>
                  </a:lnTo>
                  <a:lnTo>
                    <a:pt x="654" y="480"/>
                  </a:lnTo>
                  <a:lnTo>
                    <a:pt x="649" y="485"/>
                  </a:lnTo>
                  <a:lnTo>
                    <a:pt x="649" y="489"/>
                  </a:lnTo>
                  <a:lnTo>
                    <a:pt x="649" y="489"/>
                  </a:lnTo>
                  <a:lnTo>
                    <a:pt x="649" y="494"/>
                  </a:lnTo>
                  <a:lnTo>
                    <a:pt x="649" y="498"/>
                  </a:lnTo>
                  <a:lnTo>
                    <a:pt x="645" y="498"/>
                  </a:lnTo>
                  <a:lnTo>
                    <a:pt x="640" y="498"/>
                  </a:lnTo>
                  <a:lnTo>
                    <a:pt x="636" y="498"/>
                  </a:lnTo>
                  <a:lnTo>
                    <a:pt x="631" y="503"/>
                  </a:lnTo>
                  <a:lnTo>
                    <a:pt x="626" y="503"/>
                  </a:lnTo>
                  <a:lnTo>
                    <a:pt x="626" y="508"/>
                  </a:lnTo>
                  <a:lnTo>
                    <a:pt x="626" y="512"/>
                  </a:lnTo>
                  <a:lnTo>
                    <a:pt x="622" y="512"/>
                  </a:lnTo>
                  <a:lnTo>
                    <a:pt x="622" y="508"/>
                  </a:lnTo>
                  <a:lnTo>
                    <a:pt x="622" y="503"/>
                  </a:lnTo>
                  <a:lnTo>
                    <a:pt x="617" y="498"/>
                  </a:lnTo>
                  <a:lnTo>
                    <a:pt x="617" y="494"/>
                  </a:lnTo>
                  <a:lnTo>
                    <a:pt x="617" y="489"/>
                  </a:lnTo>
                  <a:lnTo>
                    <a:pt x="613" y="485"/>
                  </a:lnTo>
                  <a:lnTo>
                    <a:pt x="613" y="480"/>
                  </a:lnTo>
                  <a:lnTo>
                    <a:pt x="608" y="480"/>
                  </a:lnTo>
                  <a:lnTo>
                    <a:pt x="608" y="480"/>
                  </a:lnTo>
                  <a:lnTo>
                    <a:pt x="608" y="480"/>
                  </a:lnTo>
                  <a:lnTo>
                    <a:pt x="608" y="480"/>
                  </a:lnTo>
                  <a:lnTo>
                    <a:pt x="604" y="480"/>
                  </a:lnTo>
                  <a:lnTo>
                    <a:pt x="599" y="480"/>
                  </a:lnTo>
                  <a:lnTo>
                    <a:pt x="594" y="476"/>
                  </a:lnTo>
                  <a:lnTo>
                    <a:pt x="590" y="471"/>
                  </a:lnTo>
                  <a:lnTo>
                    <a:pt x="585" y="471"/>
                  </a:lnTo>
                  <a:lnTo>
                    <a:pt x="585" y="471"/>
                  </a:lnTo>
                  <a:lnTo>
                    <a:pt x="581" y="476"/>
                  </a:lnTo>
                  <a:lnTo>
                    <a:pt x="576" y="476"/>
                  </a:lnTo>
                  <a:lnTo>
                    <a:pt x="572" y="480"/>
                  </a:lnTo>
                  <a:lnTo>
                    <a:pt x="572" y="480"/>
                  </a:lnTo>
                  <a:lnTo>
                    <a:pt x="567" y="485"/>
                  </a:lnTo>
                  <a:lnTo>
                    <a:pt x="562" y="485"/>
                  </a:lnTo>
                  <a:lnTo>
                    <a:pt x="562" y="489"/>
                  </a:lnTo>
                  <a:lnTo>
                    <a:pt x="562" y="494"/>
                  </a:lnTo>
                  <a:lnTo>
                    <a:pt x="558" y="494"/>
                  </a:lnTo>
                  <a:lnTo>
                    <a:pt x="558" y="498"/>
                  </a:lnTo>
                  <a:lnTo>
                    <a:pt x="558" y="503"/>
                  </a:lnTo>
                  <a:lnTo>
                    <a:pt x="562" y="503"/>
                  </a:lnTo>
                  <a:lnTo>
                    <a:pt x="562" y="503"/>
                  </a:lnTo>
                  <a:lnTo>
                    <a:pt x="558" y="508"/>
                  </a:lnTo>
                  <a:lnTo>
                    <a:pt x="553" y="512"/>
                  </a:lnTo>
                  <a:lnTo>
                    <a:pt x="549" y="512"/>
                  </a:lnTo>
                  <a:lnTo>
                    <a:pt x="544" y="512"/>
                  </a:lnTo>
                  <a:lnTo>
                    <a:pt x="540" y="517"/>
                  </a:lnTo>
                  <a:lnTo>
                    <a:pt x="535" y="517"/>
                  </a:lnTo>
                  <a:lnTo>
                    <a:pt x="530" y="517"/>
                  </a:lnTo>
                  <a:lnTo>
                    <a:pt x="526" y="517"/>
                  </a:lnTo>
                  <a:lnTo>
                    <a:pt x="521" y="512"/>
                  </a:lnTo>
                  <a:lnTo>
                    <a:pt x="521" y="508"/>
                  </a:lnTo>
                  <a:close/>
                </a:path>
              </a:pathLst>
            </a:custGeom>
            <a:solidFill>
              <a:srgbClr val="FFFFFF"/>
            </a:solidFill>
            <a:ln w="9525" cmpd="sng">
              <a:solidFill>
                <a:sysClr val="window" lastClr="FFFFFF">
                  <a:lumMod val="65000"/>
                </a:sysClr>
              </a:solidFill>
              <a:miter lim="800000"/>
              <a:headEnd/>
              <a:tailEnd/>
            </a:ln>
            <a:effectLst/>
          </p:spPr>
          <p:txBody>
            <a:bodyPr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Oyo</a:t>
              </a:r>
            </a:p>
          </p:txBody>
        </p:sp>
        <p:sp>
          <p:nvSpPr>
            <p:cNvPr id="155" name="Freeform 74">
              <a:extLst>
                <a:ext uri="{FF2B5EF4-FFF2-40B4-BE49-F238E27FC236}">
                  <a16:creationId xmlns:a16="http://schemas.microsoft.com/office/drawing/2014/main" id="{8FDF360B-D5D6-4273-8A94-FDF1BD909BD0}"/>
                </a:ext>
              </a:extLst>
            </p:cNvPr>
            <p:cNvSpPr>
              <a:spLocks/>
            </p:cNvSpPr>
            <p:nvPr>
              <p:custDataLst>
                <p:tags r:id="rId67"/>
              </p:custDataLst>
            </p:nvPr>
          </p:nvSpPr>
          <p:spPr bwMode="auto">
            <a:xfrm>
              <a:off x="2095415" y="2160331"/>
              <a:ext cx="690067" cy="772298"/>
            </a:xfrm>
            <a:custGeom>
              <a:avLst/>
              <a:gdLst/>
              <a:ahLst/>
              <a:cxnLst>
                <a:cxn ang="0">
                  <a:pos x="137" y="508"/>
                </a:cxn>
                <a:cxn ang="0">
                  <a:pos x="87" y="485"/>
                </a:cxn>
                <a:cxn ang="0">
                  <a:pos x="41" y="439"/>
                </a:cxn>
                <a:cxn ang="0">
                  <a:pos x="50" y="412"/>
                </a:cxn>
                <a:cxn ang="0">
                  <a:pos x="41" y="389"/>
                </a:cxn>
                <a:cxn ang="0">
                  <a:pos x="9" y="361"/>
                </a:cxn>
                <a:cxn ang="0">
                  <a:pos x="0" y="320"/>
                </a:cxn>
                <a:cxn ang="0">
                  <a:pos x="14" y="274"/>
                </a:cxn>
                <a:cxn ang="0">
                  <a:pos x="18" y="238"/>
                </a:cxn>
                <a:cxn ang="0">
                  <a:pos x="23" y="178"/>
                </a:cxn>
                <a:cxn ang="0">
                  <a:pos x="41" y="146"/>
                </a:cxn>
                <a:cxn ang="0">
                  <a:pos x="41" y="87"/>
                </a:cxn>
                <a:cxn ang="0">
                  <a:pos x="64" y="64"/>
                </a:cxn>
                <a:cxn ang="0">
                  <a:pos x="82" y="18"/>
                </a:cxn>
                <a:cxn ang="0">
                  <a:pos x="96" y="9"/>
                </a:cxn>
                <a:cxn ang="0">
                  <a:pos x="137" y="18"/>
                </a:cxn>
                <a:cxn ang="0">
                  <a:pos x="146" y="55"/>
                </a:cxn>
                <a:cxn ang="0">
                  <a:pos x="155" y="82"/>
                </a:cxn>
                <a:cxn ang="0">
                  <a:pos x="155" y="146"/>
                </a:cxn>
                <a:cxn ang="0">
                  <a:pos x="192" y="133"/>
                </a:cxn>
                <a:cxn ang="0">
                  <a:pos x="238" y="151"/>
                </a:cxn>
                <a:cxn ang="0">
                  <a:pos x="247" y="183"/>
                </a:cxn>
                <a:cxn ang="0">
                  <a:pos x="238" y="215"/>
                </a:cxn>
                <a:cxn ang="0">
                  <a:pos x="238" y="256"/>
                </a:cxn>
                <a:cxn ang="0">
                  <a:pos x="265" y="261"/>
                </a:cxn>
                <a:cxn ang="0">
                  <a:pos x="283" y="297"/>
                </a:cxn>
                <a:cxn ang="0">
                  <a:pos x="347" y="320"/>
                </a:cxn>
                <a:cxn ang="0">
                  <a:pos x="425" y="316"/>
                </a:cxn>
                <a:cxn ang="0">
                  <a:pos x="457" y="302"/>
                </a:cxn>
                <a:cxn ang="0">
                  <a:pos x="494" y="270"/>
                </a:cxn>
                <a:cxn ang="0">
                  <a:pos x="494" y="247"/>
                </a:cxn>
                <a:cxn ang="0">
                  <a:pos x="480" y="229"/>
                </a:cxn>
                <a:cxn ang="0">
                  <a:pos x="512" y="215"/>
                </a:cxn>
                <a:cxn ang="0">
                  <a:pos x="544" y="229"/>
                </a:cxn>
                <a:cxn ang="0">
                  <a:pos x="590" y="247"/>
                </a:cxn>
                <a:cxn ang="0">
                  <a:pos x="635" y="265"/>
                </a:cxn>
                <a:cxn ang="0">
                  <a:pos x="677" y="284"/>
                </a:cxn>
                <a:cxn ang="0">
                  <a:pos x="709" y="302"/>
                </a:cxn>
                <a:cxn ang="0">
                  <a:pos x="754" y="338"/>
                </a:cxn>
                <a:cxn ang="0">
                  <a:pos x="754" y="366"/>
                </a:cxn>
                <a:cxn ang="0">
                  <a:pos x="754" y="421"/>
                </a:cxn>
                <a:cxn ang="0">
                  <a:pos x="782" y="503"/>
                </a:cxn>
                <a:cxn ang="0">
                  <a:pos x="791" y="531"/>
                </a:cxn>
                <a:cxn ang="0">
                  <a:pos x="768" y="558"/>
                </a:cxn>
                <a:cxn ang="0">
                  <a:pos x="704" y="567"/>
                </a:cxn>
                <a:cxn ang="0">
                  <a:pos x="677" y="595"/>
                </a:cxn>
                <a:cxn ang="0">
                  <a:pos x="635" y="631"/>
                </a:cxn>
                <a:cxn ang="0">
                  <a:pos x="608" y="654"/>
                </a:cxn>
                <a:cxn ang="0">
                  <a:pos x="590" y="677"/>
                </a:cxn>
                <a:cxn ang="0">
                  <a:pos x="567" y="691"/>
                </a:cxn>
                <a:cxn ang="0">
                  <a:pos x="549" y="704"/>
                </a:cxn>
                <a:cxn ang="0">
                  <a:pos x="526" y="723"/>
                </a:cxn>
                <a:cxn ang="0">
                  <a:pos x="498" y="741"/>
                </a:cxn>
                <a:cxn ang="0">
                  <a:pos x="466" y="755"/>
                </a:cxn>
                <a:cxn ang="0">
                  <a:pos x="430" y="764"/>
                </a:cxn>
                <a:cxn ang="0">
                  <a:pos x="361" y="741"/>
                </a:cxn>
                <a:cxn ang="0">
                  <a:pos x="261" y="723"/>
                </a:cxn>
                <a:cxn ang="0">
                  <a:pos x="192" y="723"/>
                </a:cxn>
                <a:cxn ang="0">
                  <a:pos x="151" y="704"/>
                </a:cxn>
                <a:cxn ang="0">
                  <a:pos x="128" y="654"/>
                </a:cxn>
                <a:cxn ang="0">
                  <a:pos x="137" y="595"/>
                </a:cxn>
                <a:cxn ang="0">
                  <a:pos x="174" y="544"/>
                </a:cxn>
              </a:cxnLst>
              <a:rect l="0" t="0" r="r" b="b"/>
              <a:pathLst>
                <a:path w="791" h="764">
                  <a:moveTo>
                    <a:pt x="178" y="503"/>
                  </a:moveTo>
                  <a:lnTo>
                    <a:pt x="174" y="503"/>
                  </a:lnTo>
                  <a:lnTo>
                    <a:pt x="174" y="503"/>
                  </a:lnTo>
                  <a:lnTo>
                    <a:pt x="169" y="503"/>
                  </a:lnTo>
                  <a:lnTo>
                    <a:pt x="160" y="503"/>
                  </a:lnTo>
                  <a:lnTo>
                    <a:pt x="151" y="503"/>
                  </a:lnTo>
                  <a:lnTo>
                    <a:pt x="146" y="503"/>
                  </a:lnTo>
                  <a:lnTo>
                    <a:pt x="137" y="508"/>
                  </a:lnTo>
                  <a:lnTo>
                    <a:pt x="128" y="508"/>
                  </a:lnTo>
                  <a:lnTo>
                    <a:pt x="128" y="508"/>
                  </a:lnTo>
                  <a:lnTo>
                    <a:pt x="119" y="503"/>
                  </a:lnTo>
                  <a:lnTo>
                    <a:pt x="105" y="503"/>
                  </a:lnTo>
                  <a:lnTo>
                    <a:pt x="91" y="503"/>
                  </a:lnTo>
                  <a:lnTo>
                    <a:pt x="87" y="503"/>
                  </a:lnTo>
                  <a:lnTo>
                    <a:pt x="87" y="494"/>
                  </a:lnTo>
                  <a:lnTo>
                    <a:pt x="87" y="485"/>
                  </a:lnTo>
                  <a:lnTo>
                    <a:pt x="82" y="480"/>
                  </a:lnTo>
                  <a:lnTo>
                    <a:pt x="78" y="480"/>
                  </a:lnTo>
                  <a:lnTo>
                    <a:pt x="78" y="462"/>
                  </a:lnTo>
                  <a:lnTo>
                    <a:pt x="73" y="453"/>
                  </a:lnTo>
                  <a:lnTo>
                    <a:pt x="73" y="444"/>
                  </a:lnTo>
                  <a:lnTo>
                    <a:pt x="59" y="444"/>
                  </a:lnTo>
                  <a:lnTo>
                    <a:pt x="50" y="444"/>
                  </a:lnTo>
                  <a:lnTo>
                    <a:pt x="41" y="439"/>
                  </a:lnTo>
                  <a:lnTo>
                    <a:pt x="41" y="434"/>
                  </a:lnTo>
                  <a:lnTo>
                    <a:pt x="41" y="434"/>
                  </a:lnTo>
                  <a:lnTo>
                    <a:pt x="41" y="430"/>
                  </a:lnTo>
                  <a:lnTo>
                    <a:pt x="41" y="425"/>
                  </a:lnTo>
                  <a:lnTo>
                    <a:pt x="46" y="421"/>
                  </a:lnTo>
                  <a:lnTo>
                    <a:pt x="46" y="416"/>
                  </a:lnTo>
                  <a:lnTo>
                    <a:pt x="50" y="412"/>
                  </a:lnTo>
                  <a:lnTo>
                    <a:pt x="50" y="412"/>
                  </a:lnTo>
                  <a:lnTo>
                    <a:pt x="55" y="407"/>
                  </a:lnTo>
                  <a:lnTo>
                    <a:pt x="55" y="402"/>
                  </a:lnTo>
                  <a:lnTo>
                    <a:pt x="55" y="398"/>
                  </a:lnTo>
                  <a:lnTo>
                    <a:pt x="50" y="393"/>
                  </a:lnTo>
                  <a:lnTo>
                    <a:pt x="46" y="393"/>
                  </a:lnTo>
                  <a:lnTo>
                    <a:pt x="46" y="389"/>
                  </a:lnTo>
                  <a:lnTo>
                    <a:pt x="41" y="389"/>
                  </a:lnTo>
                  <a:lnTo>
                    <a:pt x="41" y="389"/>
                  </a:lnTo>
                  <a:lnTo>
                    <a:pt x="41" y="384"/>
                  </a:lnTo>
                  <a:lnTo>
                    <a:pt x="37" y="384"/>
                  </a:lnTo>
                  <a:lnTo>
                    <a:pt x="32" y="384"/>
                  </a:lnTo>
                  <a:lnTo>
                    <a:pt x="32" y="380"/>
                  </a:lnTo>
                  <a:lnTo>
                    <a:pt x="27" y="380"/>
                  </a:lnTo>
                  <a:lnTo>
                    <a:pt x="18" y="370"/>
                  </a:lnTo>
                  <a:lnTo>
                    <a:pt x="14" y="361"/>
                  </a:lnTo>
                  <a:lnTo>
                    <a:pt x="9" y="361"/>
                  </a:lnTo>
                  <a:lnTo>
                    <a:pt x="9" y="357"/>
                  </a:lnTo>
                  <a:lnTo>
                    <a:pt x="5" y="352"/>
                  </a:lnTo>
                  <a:lnTo>
                    <a:pt x="5" y="348"/>
                  </a:lnTo>
                  <a:lnTo>
                    <a:pt x="0" y="348"/>
                  </a:lnTo>
                  <a:lnTo>
                    <a:pt x="0" y="343"/>
                  </a:lnTo>
                  <a:lnTo>
                    <a:pt x="0" y="338"/>
                  </a:lnTo>
                  <a:lnTo>
                    <a:pt x="0" y="329"/>
                  </a:lnTo>
                  <a:lnTo>
                    <a:pt x="0" y="320"/>
                  </a:lnTo>
                  <a:lnTo>
                    <a:pt x="0" y="311"/>
                  </a:lnTo>
                  <a:lnTo>
                    <a:pt x="0" y="306"/>
                  </a:lnTo>
                  <a:lnTo>
                    <a:pt x="0" y="302"/>
                  </a:lnTo>
                  <a:lnTo>
                    <a:pt x="5" y="297"/>
                  </a:lnTo>
                  <a:lnTo>
                    <a:pt x="5" y="293"/>
                  </a:lnTo>
                  <a:lnTo>
                    <a:pt x="9" y="284"/>
                  </a:lnTo>
                  <a:lnTo>
                    <a:pt x="14" y="279"/>
                  </a:lnTo>
                  <a:lnTo>
                    <a:pt x="14" y="274"/>
                  </a:lnTo>
                  <a:lnTo>
                    <a:pt x="14" y="270"/>
                  </a:lnTo>
                  <a:lnTo>
                    <a:pt x="18" y="265"/>
                  </a:lnTo>
                  <a:lnTo>
                    <a:pt x="18" y="261"/>
                  </a:lnTo>
                  <a:lnTo>
                    <a:pt x="18" y="261"/>
                  </a:lnTo>
                  <a:lnTo>
                    <a:pt x="18" y="256"/>
                  </a:lnTo>
                  <a:lnTo>
                    <a:pt x="18" y="247"/>
                  </a:lnTo>
                  <a:lnTo>
                    <a:pt x="18" y="242"/>
                  </a:lnTo>
                  <a:lnTo>
                    <a:pt x="18" y="238"/>
                  </a:lnTo>
                  <a:lnTo>
                    <a:pt x="18" y="233"/>
                  </a:lnTo>
                  <a:lnTo>
                    <a:pt x="18" y="229"/>
                  </a:lnTo>
                  <a:lnTo>
                    <a:pt x="18" y="206"/>
                  </a:lnTo>
                  <a:lnTo>
                    <a:pt x="18" y="201"/>
                  </a:lnTo>
                  <a:lnTo>
                    <a:pt x="18" y="192"/>
                  </a:lnTo>
                  <a:lnTo>
                    <a:pt x="23" y="188"/>
                  </a:lnTo>
                  <a:lnTo>
                    <a:pt x="23" y="183"/>
                  </a:lnTo>
                  <a:lnTo>
                    <a:pt x="23" y="178"/>
                  </a:lnTo>
                  <a:lnTo>
                    <a:pt x="32" y="174"/>
                  </a:lnTo>
                  <a:lnTo>
                    <a:pt x="32" y="169"/>
                  </a:lnTo>
                  <a:lnTo>
                    <a:pt x="32" y="165"/>
                  </a:lnTo>
                  <a:lnTo>
                    <a:pt x="32" y="160"/>
                  </a:lnTo>
                  <a:lnTo>
                    <a:pt x="37" y="160"/>
                  </a:lnTo>
                  <a:lnTo>
                    <a:pt x="37" y="151"/>
                  </a:lnTo>
                  <a:lnTo>
                    <a:pt x="41" y="151"/>
                  </a:lnTo>
                  <a:lnTo>
                    <a:pt x="41" y="146"/>
                  </a:lnTo>
                  <a:lnTo>
                    <a:pt x="41" y="142"/>
                  </a:lnTo>
                  <a:lnTo>
                    <a:pt x="41" y="137"/>
                  </a:lnTo>
                  <a:lnTo>
                    <a:pt x="41" y="133"/>
                  </a:lnTo>
                  <a:lnTo>
                    <a:pt x="41" y="128"/>
                  </a:lnTo>
                  <a:lnTo>
                    <a:pt x="41" y="124"/>
                  </a:lnTo>
                  <a:lnTo>
                    <a:pt x="41" y="105"/>
                  </a:lnTo>
                  <a:lnTo>
                    <a:pt x="41" y="96"/>
                  </a:lnTo>
                  <a:lnTo>
                    <a:pt x="41" y="87"/>
                  </a:lnTo>
                  <a:lnTo>
                    <a:pt x="41" y="82"/>
                  </a:lnTo>
                  <a:lnTo>
                    <a:pt x="41" y="78"/>
                  </a:lnTo>
                  <a:lnTo>
                    <a:pt x="46" y="73"/>
                  </a:lnTo>
                  <a:lnTo>
                    <a:pt x="50" y="69"/>
                  </a:lnTo>
                  <a:lnTo>
                    <a:pt x="55" y="64"/>
                  </a:lnTo>
                  <a:lnTo>
                    <a:pt x="59" y="64"/>
                  </a:lnTo>
                  <a:lnTo>
                    <a:pt x="59" y="64"/>
                  </a:lnTo>
                  <a:lnTo>
                    <a:pt x="64" y="64"/>
                  </a:lnTo>
                  <a:lnTo>
                    <a:pt x="64" y="60"/>
                  </a:lnTo>
                  <a:lnTo>
                    <a:pt x="69" y="55"/>
                  </a:lnTo>
                  <a:lnTo>
                    <a:pt x="73" y="50"/>
                  </a:lnTo>
                  <a:lnTo>
                    <a:pt x="73" y="46"/>
                  </a:lnTo>
                  <a:lnTo>
                    <a:pt x="78" y="41"/>
                  </a:lnTo>
                  <a:lnTo>
                    <a:pt x="82" y="37"/>
                  </a:lnTo>
                  <a:lnTo>
                    <a:pt x="82" y="32"/>
                  </a:lnTo>
                  <a:lnTo>
                    <a:pt x="82" y="18"/>
                  </a:lnTo>
                  <a:lnTo>
                    <a:pt x="82" y="14"/>
                  </a:lnTo>
                  <a:lnTo>
                    <a:pt x="82" y="5"/>
                  </a:lnTo>
                  <a:lnTo>
                    <a:pt x="78" y="0"/>
                  </a:lnTo>
                  <a:lnTo>
                    <a:pt x="82" y="0"/>
                  </a:lnTo>
                  <a:lnTo>
                    <a:pt x="87" y="0"/>
                  </a:lnTo>
                  <a:lnTo>
                    <a:pt x="87" y="0"/>
                  </a:lnTo>
                  <a:lnTo>
                    <a:pt x="91" y="5"/>
                  </a:lnTo>
                  <a:lnTo>
                    <a:pt x="96" y="9"/>
                  </a:lnTo>
                  <a:lnTo>
                    <a:pt x="110" y="14"/>
                  </a:lnTo>
                  <a:lnTo>
                    <a:pt x="110" y="14"/>
                  </a:lnTo>
                  <a:lnTo>
                    <a:pt x="114" y="14"/>
                  </a:lnTo>
                  <a:lnTo>
                    <a:pt x="119" y="14"/>
                  </a:lnTo>
                  <a:lnTo>
                    <a:pt x="123" y="14"/>
                  </a:lnTo>
                  <a:lnTo>
                    <a:pt x="128" y="14"/>
                  </a:lnTo>
                  <a:lnTo>
                    <a:pt x="133" y="18"/>
                  </a:lnTo>
                  <a:lnTo>
                    <a:pt x="137" y="18"/>
                  </a:lnTo>
                  <a:lnTo>
                    <a:pt x="137" y="18"/>
                  </a:lnTo>
                  <a:lnTo>
                    <a:pt x="142" y="23"/>
                  </a:lnTo>
                  <a:lnTo>
                    <a:pt x="146" y="28"/>
                  </a:lnTo>
                  <a:lnTo>
                    <a:pt x="146" y="32"/>
                  </a:lnTo>
                  <a:lnTo>
                    <a:pt x="146" y="41"/>
                  </a:lnTo>
                  <a:lnTo>
                    <a:pt x="146" y="46"/>
                  </a:lnTo>
                  <a:lnTo>
                    <a:pt x="146" y="50"/>
                  </a:lnTo>
                  <a:lnTo>
                    <a:pt x="146" y="55"/>
                  </a:lnTo>
                  <a:lnTo>
                    <a:pt x="146" y="60"/>
                  </a:lnTo>
                  <a:lnTo>
                    <a:pt x="151" y="64"/>
                  </a:lnTo>
                  <a:lnTo>
                    <a:pt x="151" y="64"/>
                  </a:lnTo>
                  <a:lnTo>
                    <a:pt x="151" y="69"/>
                  </a:lnTo>
                  <a:lnTo>
                    <a:pt x="151" y="73"/>
                  </a:lnTo>
                  <a:lnTo>
                    <a:pt x="151" y="78"/>
                  </a:lnTo>
                  <a:lnTo>
                    <a:pt x="155" y="82"/>
                  </a:lnTo>
                  <a:lnTo>
                    <a:pt x="155" y="82"/>
                  </a:lnTo>
                  <a:lnTo>
                    <a:pt x="155" y="87"/>
                  </a:lnTo>
                  <a:lnTo>
                    <a:pt x="155" y="96"/>
                  </a:lnTo>
                  <a:lnTo>
                    <a:pt x="155" y="101"/>
                  </a:lnTo>
                  <a:lnTo>
                    <a:pt x="155" y="105"/>
                  </a:lnTo>
                  <a:lnTo>
                    <a:pt x="155" y="119"/>
                  </a:lnTo>
                  <a:lnTo>
                    <a:pt x="155" y="133"/>
                  </a:lnTo>
                  <a:lnTo>
                    <a:pt x="155" y="137"/>
                  </a:lnTo>
                  <a:lnTo>
                    <a:pt x="155" y="146"/>
                  </a:lnTo>
                  <a:lnTo>
                    <a:pt x="160" y="151"/>
                  </a:lnTo>
                  <a:lnTo>
                    <a:pt x="160" y="151"/>
                  </a:lnTo>
                  <a:lnTo>
                    <a:pt x="165" y="151"/>
                  </a:lnTo>
                  <a:lnTo>
                    <a:pt x="169" y="151"/>
                  </a:lnTo>
                  <a:lnTo>
                    <a:pt x="174" y="146"/>
                  </a:lnTo>
                  <a:lnTo>
                    <a:pt x="183" y="142"/>
                  </a:lnTo>
                  <a:lnTo>
                    <a:pt x="187" y="137"/>
                  </a:lnTo>
                  <a:lnTo>
                    <a:pt x="192" y="133"/>
                  </a:lnTo>
                  <a:lnTo>
                    <a:pt x="192" y="133"/>
                  </a:lnTo>
                  <a:lnTo>
                    <a:pt x="197" y="133"/>
                  </a:lnTo>
                  <a:lnTo>
                    <a:pt x="206" y="133"/>
                  </a:lnTo>
                  <a:lnTo>
                    <a:pt x="219" y="137"/>
                  </a:lnTo>
                  <a:lnTo>
                    <a:pt x="219" y="137"/>
                  </a:lnTo>
                  <a:lnTo>
                    <a:pt x="224" y="142"/>
                  </a:lnTo>
                  <a:lnTo>
                    <a:pt x="233" y="151"/>
                  </a:lnTo>
                  <a:lnTo>
                    <a:pt x="238" y="151"/>
                  </a:lnTo>
                  <a:lnTo>
                    <a:pt x="238" y="156"/>
                  </a:lnTo>
                  <a:lnTo>
                    <a:pt x="238" y="165"/>
                  </a:lnTo>
                  <a:lnTo>
                    <a:pt x="242" y="169"/>
                  </a:lnTo>
                  <a:lnTo>
                    <a:pt x="242" y="174"/>
                  </a:lnTo>
                  <a:lnTo>
                    <a:pt x="242" y="174"/>
                  </a:lnTo>
                  <a:lnTo>
                    <a:pt x="247" y="174"/>
                  </a:lnTo>
                  <a:lnTo>
                    <a:pt x="247" y="178"/>
                  </a:lnTo>
                  <a:lnTo>
                    <a:pt x="247" y="183"/>
                  </a:lnTo>
                  <a:lnTo>
                    <a:pt x="247" y="188"/>
                  </a:lnTo>
                  <a:lnTo>
                    <a:pt x="247" y="192"/>
                  </a:lnTo>
                  <a:lnTo>
                    <a:pt x="242" y="201"/>
                  </a:lnTo>
                  <a:lnTo>
                    <a:pt x="242" y="206"/>
                  </a:lnTo>
                  <a:lnTo>
                    <a:pt x="238" y="210"/>
                  </a:lnTo>
                  <a:lnTo>
                    <a:pt x="238" y="215"/>
                  </a:lnTo>
                  <a:lnTo>
                    <a:pt x="238" y="215"/>
                  </a:lnTo>
                  <a:lnTo>
                    <a:pt x="238" y="215"/>
                  </a:lnTo>
                  <a:lnTo>
                    <a:pt x="233" y="220"/>
                  </a:lnTo>
                  <a:lnTo>
                    <a:pt x="229" y="233"/>
                  </a:lnTo>
                  <a:lnTo>
                    <a:pt x="229" y="238"/>
                  </a:lnTo>
                  <a:lnTo>
                    <a:pt x="229" y="238"/>
                  </a:lnTo>
                  <a:lnTo>
                    <a:pt x="233" y="247"/>
                  </a:lnTo>
                  <a:lnTo>
                    <a:pt x="233" y="252"/>
                  </a:lnTo>
                  <a:lnTo>
                    <a:pt x="238" y="256"/>
                  </a:lnTo>
                  <a:lnTo>
                    <a:pt x="238" y="256"/>
                  </a:lnTo>
                  <a:lnTo>
                    <a:pt x="242" y="256"/>
                  </a:lnTo>
                  <a:lnTo>
                    <a:pt x="247" y="256"/>
                  </a:lnTo>
                  <a:lnTo>
                    <a:pt x="251" y="256"/>
                  </a:lnTo>
                  <a:lnTo>
                    <a:pt x="256" y="256"/>
                  </a:lnTo>
                  <a:lnTo>
                    <a:pt x="256" y="261"/>
                  </a:lnTo>
                  <a:lnTo>
                    <a:pt x="261" y="261"/>
                  </a:lnTo>
                  <a:lnTo>
                    <a:pt x="261" y="261"/>
                  </a:lnTo>
                  <a:lnTo>
                    <a:pt x="265" y="261"/>
                  </a:lnTo>
                  <a:lnTo>
                    <a:pt x="270" y="270"/>
                  </a:lnTo>
                  <a:lnTo>
                    <a:pt x="274" y="274"/>
                  </a:lnTo>
                  <a:lnTo>
                    <a:pt x="274" y="279"/>
                  </a:lnTo>
                  <a:lnTo>
                    <a:pt x="274" y="284"/>
                  </a:lnTo>
                  <a:lnTo>
                    <a:pt x="279" y="284"/>
                  </a:lnTo>
                  <a:lnTo>
                    <a:pt x="283" y="288"/>
                  </a:lnTo>
                  <a:lnTo>
                    <a:pt x="283" y="293"/>
                  </a:lnTo>
                  <a:lnTo>
                    <a:pt x="283" y="297"/>
                  </a:lnTo>
                  <a:lnTo>
                    <a:pt x="288" y="297"/>
                  </a:lnTo>
                  <a:lnTo>
                    <a:pt x="288" y="302"/>
                  </a:lnTo>
                  <a:lnTo>
                    <a:pt x="293" y="302"/>
                  </a:lnTo>
                  <a:lnTo>
                    <a:pt x="297" y="302"/>
                  </a:lnTo>
                  <a:lnTo>
                    <a:pt x="302" y="302"/>
                  </a:lnTo>
                  <a:lnTo>
                    <a:pt x="306" y="306"/>
                  </a:lnTo>
                  <a:lnTo>
                    <a:pt x="315" y="311"/>
                  </a:lnTo>
                  <a:lnTo>
                    <a:pt x="347" y="320"/>
                  </a:lnTo>
                  <a:lnTo>
                    <a:pt x="347" y="320"/>
                  </a:lnTo>
                  <a:lnTo>
                    <a:pt x="352" y="320"/>
                  </a:lnTo>
                  <a:lnTo>
                    <a:pt x="366" y="320"/>
                  </a:lnTo>
                  <a:lnTo>
                    <a:pt x="370" y="320"/>
                  </a:lnTo>
                  <a:lnTo>
                    <a:pt x="393" y="320"/>
                  </a:lnTo>
                  <a:lnTo>
                    <a:pt x="393" y="320"/>
                  </a:lnTo>
                  <a:lnTo>
                    <a:pt x="411" y="320"/>
                  </a:lnTo>
                  <a:lnTo>
                    <a:pt x="425" y="316"/>
                  </a:lnTo>
                  <a:lnTo>
                    <a:pt x="430" y="316"/>
                  </a:lnTo>
                  <a:lnTo>
                    <a:pt x="439" y="311"/>
                  </a:lnTo>
                  <a:lnTo>
                    <a:pt x="443" y="311"/>
                  </a:lnTo>
                  <a:lnTo>
                    <a:pt x="443" y="306"/>
                  </a:lnTo>
                  <a:lnTo>
                    <a:pt x="448" y="306"/>
                  </a:lnTo>
                  <a:lnTo>
                    <a:pt x="453" y="302"/>
                  </a:lnTo>
                  <a:lnTo>
                    <a:pt x="453" y="302"/>
                  </a:lnTo>
                  <a:lnTo>
                    <a:pt x="457" y="302"/>
                  </a:lnTo>
                  <a:lnTo>
                    <a:pt x="457" y="297"/>
                  </a:lnTo>
                  <a:lnTo>
                    <a:pt x="457" y="288"/>
                  </a:lnTo>
                  <a:lnTo>
                    <a:pt x="457" y="284"/>
                  </a:lnTo>
                  <a:lnTo>
                    <a:pt x="462" y="284"/>
                  </a:lnTo>
                  <a:lnTo>
                    <a:pt x="466" y="279"/>
                  </a:lnTo>
                  <a:lnTo>
                    <a:pt x="475" y="274"/>
                  </a:lnTo>
                  <a:lnTo>
                    <a:pt x="480" y="274"/>
                  </a:lnTo>
                  <a:lnTo>
                    <a:pt x="494" y="270"/>
                  </a:lnTo>
                  <a:lnTo>
                    <a:pt x="498" y="270"/>
                  </a:lnTo>
                  <a:lnTo>
                    <a:pt x="503" y="265"/>
                  </a:lnTo>
                  <a:lnTo>
                    <a:pt x="503" y="261"/>
                  </a:lnTo>
                  <a:lnTo>
                    <a:pt x="503" y="261"/>
                  </a:lnTo>
                  <a:lnTo>
                    <a:pt x="503" y="256"/>
                  </a:lnTo>
                  <a:lnTo>
                    <a:pt x="498" y="252"/>
                  </a:lnTo>
                  <a:lnTo>
                    <a:pt x="498" y="247"/>
                  </a:lnTo>
                  <a:lnTo>
                    <a:pt x="494" y="247"/>
                  </a:lnTo>
                  <a:lnTo>
                    <a:pt x="494" y="242"/>
                  </a:lnTo>
                  <a:lnTo>
                    <a:pt x="489" y="242"/>
                  </a:lnTo>
                  <a:lnTo>
                    <a:pt x="489" y="238"/>
                  </a:lnTo>
                  <a:lnTo>
                    <a:pt x="485" y="238"/>
                  </a:lnTo>
                  <a:lnTo>
                    <a:pt x="485" y="238"/>
                  </a:lnTo>
                  <a:lnTo>
                    <a:pt x="480" y="238"/>
                  </a:lnTo>
                  <a:lnTo>
                    <a:pt x="480" y="233"/>
                  </a:lnTo>
                  <a:lnTo>
                    <a:pt x="480" y="229"/>
                  </a:lnTo>
                  <a:lnTo>
                    <a:pt x="480" y="224"/>
                  </a:lnTo>
                  <a:lnTo>
                    <a:pt x="480" y="220"/>
                  </a:lnTo>
                  <a:lnTo>
                    <a:pt x="485" y="215"/>
                  </a:lnTo>
                  <a:lnTo>
                    <a:pt x="489" y="215"/>
                  </a:lnTo>
                  <a:lnTo>
                    <a:pt x="494" y="215"/>
                  </a:lnTo>
                  <a:lnTo>
                    <a:pt x="503" y="215"/>
                  </a:lnTo>
                  <a:lnTo>
                    <a:pt x="507" y="215"/>
                  </a:lnTo>
                  <a:lnTo>
                    <a:pt x="512" y="215"/>
                  </a:lnTo>
                  <a:lnTo>
                    <a:pt x="512" y="215"/>
                  </a:lnTo>
                  <a:lnTo>
                    <a:pt x="526" y="220"/>
                  </a:lnTo>
                  <a:lnTo>
                    <a:pt x="526" y="220"/>
                  </a:lnTo>
                  <a:lnTo>
                    <a:pt x="530" y="224"/>
                  </a:lnTo>
                  <a:lnTo>
                    <a:pt x="535" y="224"/>
                  </a:lnTo>
                  <a:lnTo>
                    <a:pt x="539" y="224"/>
                  </a:lnTo>
                  <a:lnTo>
                    <a:pt x="539" y="229"/>
                  </a:lnTo>
                  <a:lnTo>
                    <a:pt x="544" y="229"/>
                  </a:lnTo>
                  <a:lnTo>
                    <a:pt x="558" y="229"/>
                  </a:lnTo>
                  <a:lnTo>
                    <a:pt x="567" y="233"/>
                  </a:lnTo>
                  <a:lnTo>
                    <a:pt x="571" y="238"/>
                  </a:lnTo>
                  <a:lnTo>
                    <a:pt x="576" y="238"/>
                  </a:lnTo>
                  <a:lnTo>
                    <a:pt x="581" y="238"/>
                  </a:lnTo>
                  <a:lnTo>
                    <a:pt x="585" y="242"/>
                  </a:lnTo>
                  <a:lnTo>
                    <a:pt x="590" y="242"/>
                  </a:lnTo>
                  <a:lnTo>
                    <a:pt x="590" y="247"/>
                  </a:lnTo>
                  <a:lnTo>
                    <a:pt x="594" y="247"/>
                  </a:lnTo>
                  <a:lnTo>
                    <a:pt x="594" y="252"/>
                  </a:lnTo>
                  <a:lnTo>
                    <a:pt x="599" y="256"/>
                  </a:lnTo>
                  <a:lnTo>
                    <a:pt x="603" y="261"/>
                  </a:lnTo>
                  <a:lnTo>
                    <a:pt x="608" y="261"/>
                  </a:lnTo>
                  <a:lnTo>
                    <a:pt x="613" y="261"/>
                  </a:lnTo>
                  <a:lnTo>
                    <a:pt x="617" y="265"/>
                  </a:lnTo>
                  <a:lnTo>
                    <a:pt x="635" y="265"/>
                  </a:lnTo>
                  <a:lnTo>
                    <a:pt x="645" y="270"/>
                  </a:lnTo>
                  <a:lnTo>
                    <a:pt x="649" y="274"/>
                  </a:lnTo>
                  <a:lnTo>
                    <a:pt x="658" y="274"/>
                  </a:lnTo>
                  <a:lnTo>
                    <a:pt x="663" y="279"/>
                  </a:lnTo>
                  <a:lnTo>
                    <a:pt x="667" y="279"/>
                  </a:lnTo>
                  <a:lnTo>
                    <a:pt x="672" y="284"/>
                  </a:lnTo>
                  <a:lnTo>
                    <a:pt x="677" y="284"/>
                  </a:lnTo>
                  <a:lnTo>
                    <a:pt x="677" y="284"/>
                  </a:lnTo>
                  <a:lnTo>
                    <a:pt x="681" y="288"/>
                  </a:lnTo>
                  <a:lnTo>
                    <a:pt x="686" y="293"/>
                  </a:lnTo>
                  <a:lnTo>
                    <a:pt x="690" y="293"/>
                  </a:lnTo>
                  <a:lnTo>
                    <a:pt x="695" y="297"/>
                  </a:lnTo>
                  <a:lnTo>
                    <a:pt x="699" y="302"/>
                  </a:lnTo>
                  <a:lnTo>
                    <a:pt x="699" y="302"/>
                  </a:lnTo>
                  <a:lnTo>
                    <a:pt x="704" y="302"/>
                  </a:lnTo>
                  <a:lnTo>
                    <a:pt x="709" y="302"/>
                  </a:lnTo>
                  <a:lnTo>
                    <a:pt x="713" y="306"/>
                  </a:lnTo>
                  <a:lnTo>
                    <a:pt x="722" y="311"/>
                  </a:lnTo>
                  <a:lnTo>
                    <a:pt x="727" y="320"/>
                  </a:lnTo>
                  <a:lnTo>
                    <a:pt x="741" y="325"/>
                  </a:lnTo>
                  <a:lnTo>
                    <a:pt x="745" y="329"/>
                  </a:lnTo>
                  <a:lnTo>
                    <a:pt x="745" y="334"/>
                  </a:lnTo>
                  <a:lnTo>
                    <a:pt x="745" y="334"/>
                  </a:lnTo>
                  <a:lnTo>
                    <a:pt x="754" y="338"/>
                  </a:lnTo>
                  <a:lnTo>
                    <a:pt x="759" y="343"/>
                  </a:lnTo>
                  <a:lnTo>
                    <a:pt x="777" y="338"/>
                  </a:lnTo>
                  <a:lnTo>
                    <a:pt x="763" y="348"/>
                  </a:lnTo>
                  <a:lnTo>
                    <a:pt x="763" y="352"/>
                  </a:lnTo>
                  <a:lnTo>
                    <a:pt x="759" y="357"/>
                  </a:lnTo>
                  <a:lnTo>
                    <a:pt x="759" y="361"/>
                  </a:lnTo>
                  <a:lnTo>
                    <a:pt x="759" y="366"/>
                  </a:lnTo>
                  <a:lnTo>
                    <a:pt x="754" y="366"/>
                  </a:lnTo>
                  <a:lnTo>
                    <a:pt x="754" y="370"/>
                  </a:lnTo>
                  <a:lnTo>
                    <a:pt x="754" y="375"/>
                  </a:lnTo>
                  <a:lnTo>
                    <a:pt x="750" y="380"/>
                  </a:lnTo>
                  <a:lnTo>
                    <a:pt x="750" y="384"/>
                  </a:lnTo>
                  <a:lnTo>
                    <a:pt x="750" y="389"/>
                  </a:lnTo>
                  <a:lnTo>
                    <a:pt x="750" y="398"/>
                  </a:lnTo>
                  <a:lnTo>
                    <a:pt x="754" y="407"/>
                  </a:lnTo>
                  <a:lnTo>
                    <a:pt x="754" y="421"/>
                  </a:lnTo>
                  <a:lnTo>
                    <a:pt x="759" y="434"/>
                  </a:lnTo>
                  <a:lnTo>
                    <a:pt x="759" y="448"/>
                  </a:lnTo>
                  <a:lnTo>
                    <a:pt x="763" y="462"/>
                  </a:lnTo>
                  <a:lnTo>
                    <a:pt x="768" y="480"/>
                  </a:lnTo>
                  <a:lnTo>
                    <a:pt x="773" y="489"/>
                  </a:lnTo>
                  <a:lnTo>
                    <a:pt x="777" y="499"/>
                  </a:lnTo>
                  <a:lnTo>
                    <a:pt x="777" y="503"/>
                  </a:lnTo>
                  <a:lnTo>
                    <a:pt x="782" y="503"/>
                  </a:lnTo>
                  <a:lnTo>
                    <a:pt x="782" y="508"/>
                  </a:lnTo>
                  <a:lnTo>
                    <a:pt x="786" y="508"/>
                  </a:lnTo>
                  <a:lnTo>
                    <a:pt x="786" y="512"/>
                  </a:lnTo>
                  <a:lnTo>
                    <a:pt x="786" y="517"/>
                  </a:lnTo>
                  <a:lnTo>
                    <a:pt x="786" y="521"/>
                  </a:lnTo>
                  <a:lnTo>
                    <a:pt x="791" y="521"/>
                  </a:lnTo>
                  <a:lnTo>
                    <a:pt x="791" y="526"/>
                  </a:lnTo>
                  <a:lnTo>
                    <a:pt x="791" y="531"/>
                  </a:lnTo>
                  <a:lnTo>
                    <a:pt x="791" y="540"/>
                  </a:lnTo>
                  <a:lnTo>
                    <a:pt x="786" y="544"/>
                  </a:lnTo>
                  <a:lnTo>
                    <a:pt x="786" y="544"/>
                  </a:lnTo>
                  <a:lnTo>
                    <a:pt x="782" y="549"/>
                  </a:lnTo>
                  <a:lnTo>
                    <a:pt x="777" y="553"/>
                  </a:lnTo>
                  <a:lnTo>
                    <a:pt x="773" y="553"/>
                  </a:lnTo>
                  <a:lnTo>
                    <a:pt x="768" y="558"/>
                  </a:lnTo>
                  <a:lnTo>
                    <a:pt x="768" y="558"/>
                  </a:lnTo>
                  <a:lnTo>
                    <a:pt x="754" y="563"/>
                  </a:lnTo>
                  <a:lnTo>
                    <a:pt x="736" y="563"/>
                  </a:lnTo>
                  <a:lnTo>
                    <a:pt x="727" y="563"/>
                  </a:lnTo>
                  <a:lnTo>
                    <a:pt x="722" y="567"/>
                  </a:lnTo>
                  <a:lnTo>
                    <a:pt x="718" y="567"/>
                  </a:lnTo>
                  <a:lnTo>
                    <a:pt x="713" y="567"/>
                  </a:lnTo>
                  <a:lnTo>
                    <a:pt x="709" y="567"/>
                  </a:lnTo>
                  <a:lnTo>
                    <a:pt x="704" y="567"/>
                  </a:lnTo>
                  <a:lnTo>
                    <a:pt x="704" y="572"/>
                  </a:lnTo>
                  <a:lnTo>
                    <a:pt x="699" y="572"/>
                  </a:lnTo>
                  <a:lnTo>
                    <a:pt x="699" y="576"/>
                  </a:lnTo>
                  <a:lnTo>
                    <a:pt x="695" y="576"/>
                  </a:lnTo>
                  <a:lnTo>
                    <a:pt x="690" y="581"/>
                  </a:lnTo>
                  <a:lnTo>
                    <a:pt x="686" y="585"/>
                  </a:lnTo>
                  <a:lnTo>
                    <a:pt x="677" y="590"/>
                  </a:lnTo>
                  <a:lnTo>
                    <a:pt x="677" y="595"/>
                  </a:lnTo>
                  <a:lnTo>
                    <a:pt x="672" y="595"/>
                  </a:lnTo>
                  <a:lnTo>
                    <a:pt x="667" y="599"/>
                  </a:lnTo>
                  <a:lnTo>
                    <a:pt x="663" y="604"/>
                  </a:lnTo>
                  <a:lnTo>
                    <a:pt x="658" y="613"/>
                  </a:lnTo>
                  <a:lnTo>
                    <a:pt x="649" y="613"/>
                  </a:lnTo>
                  <a:lnTo>
                    <a:pt x="640" y="622"/>
                  </a:lnTo>
                  <a:lnTo>
                    <a:pt x="635" y="627"/>
                  </a:lnTo>
                  <a:lnTo>
                    <a:pt x="635" y="631"/>
                  </a:lnTo>
                  <a:lnTo>
                    <a:pt x="635" y="631"/>
                  </a:lnTo>
                  <a:lnTo>
                    <a:pt x="635" y="631"/>
                  </a:lnTo>
                  <a:lnTo>
                    <a:pt x="631" y="631"/>
                  </a:lnTo>
                  <a:lnTo>
                    <a:pt x="617" y="645"/>
                  </a:lnTo>
                  <a:lnTo>
                    <a:pt x="617" y="649"/>
                  </a:lnTo>
                  <a:lnTo>
                    <a:pt x="613" y="649"/>
                  </a:lnTo>
                  <a:lnTo>
                    <a:pt x="613" y="654"/>
                  </a:lnTo>
                  <a:lnTo>
                    <a:pt x="608" y="654"/>
                  </a:lnTo>
                  <a:lnTo>
                    <a:pt x="608" y="659"/>
                  </a:lnTo>
                  <a:lnTo>
                    <a:pt x="603" y="659"/>
                  </a:lnTo>
                  <a:lnTo>
                    <a:pt x="599" y="663"/>
                  </a:lnTo>
                  <a:lnTo>
                    <a:pt x="599" y="668"/>
                  </a:lnTo>
                  <a:lnTo>
                    <a:pt x="594" y="668"/>
                  </a:lnTo>
                  <a:lnTo>
                    <a:pt x="590" y="668"/>
                  </a:lnTo>
                  <a:lnTo>
                    <a:pt x="590" y="672"/>
                  </a:lnTo>
                  <a:lnTo>
                    <a:pt x="590" y="677"/>
                  </a:lnTo>
                  <a:lnTo>
                    <a:pt x="585" y="677"/>
                  </a:lnTo>
                  <a:lnTo>
                    <a:pt x="585" y="677"/>
                  </a:lnTo>
                  <a:lnTo>
                    <a:pt x="581" y="677"/>
                  </a:lnTo>
                  <a:lnTo>
                    <a:pt x="576" y="681"/>
                  </a:lnTo>
                  <a:lnTo>
                    <a:pt x="576" y="686"/>
                  </a:lnTo>
                  <a:lnTo>
                    <a:pt x="571" y="686"/>
                  </a:lnTo>
                  <a:lnTo>
                    <a:pt x="567" y="686"/>
                  </a:lnTo>
                  <a:lnTo>
                    <a:pt x="567" y="691"/>
                  </a:lnTo>
                  <a:lnTo>
                    <a:pt x="567" y="691"/>
                  </a:lnTo>
                  <a:lnTo>
                    <a:pt x="567" y="695"/>
                  </a:lnTo>
                  <a:lnTo>
                    <a:pt x="562" y="695"/>
                  </a:lnTo>
                  <a:lnTo>
                    <a:pt x="558" y="695"/>
                  </a:lnTo>
                  <a:lnTo>
                    <a:pt x="558" y="700"/>
                  </a:lnTo>
                  <a:lnTo>
                    <a:pt x="553" y="700"/>
                  </a:lnTo>
                  <a:lnTo>
                    <a:pt x="549" y="700"/>
                  </a:lnTo>
                  <a:lnTo>
                    <a:pt x="549" y="704"/>
                  </a:lnTo>
                  <a:lnTo>
                    <a:pt x="544" y="704"/>
                  </a:lnTo>
                  <a:lnTo>
                    <a:pt x="539" y="709"/>
                  </a:lnTo>
                  <a:lnTo>
                    <a:pt x="535" y="709"/>
                  </a:lnTo>
                  <a:lnTo>
                    <a:pt x="535" y="713"/>
                  </a:lnTo>
                  <a:lnTo>
                    <a:pt x="530" y="713"/>
                  </a:lnTo>
                  <a:lnTo>
                    <a:pt x="526" y="718"/>
                  </a:lnTo>
                  <a:lnTo>
                    <a:pt x="526" y="718"/>
                  </a:lnTo>
                  <a:lnTo>
                    <a:pt x="526" y="723"/>
                  </a:lnTo>
                  <a:lnTo>
                    <a:pt x="521" y="723"/>
                  </a:lnTo>
                  <a:lnTo>
                    <a:pt x="517" y="723"/>
                  </a:lnTo>
                  <a:lnTo>
                    <a:pt x="512" y="727"/>
                  </a:lnTo>
                  <a:lnTo>
                    <a:pt x="507" y="732"/>
                  </a:lnTo>
                  <a:lnTo>
                    <a:pt x="503" y="732"/>
                  </a:lnTo>
                  <a:lnTo>
                    <a:pt x="503" y="736"/>
                  </a:lnTo>
                  <a:lnTo>
                    <a:pt x="498" y="736"/>
                  </a:lnTo>
                  <a:lnTo>
                    <a:pt x="498" y="741"/>
                  </a:lnTo>
                  <a:lnTo>
                    <a:pt x="494" y="741"/>
                  </a:lnTo>
                  <a:lnTo>
                    <a:pt x="489" y="741"/>
                  </a:lnTo>
                  <a:lnTo>
                    <a:pt x="485" y="741"/>
                  </a:lnTo>
                  <a:lnTo>
                    <a:pt x="480" y="745"/>
                  </a:lnTo>
                  <a:lnTo>
                    <a:pt x="480" y="745"/>
                  </a:lnTo>
                  <a:lnTo>
                    <a:pt x="471" y="750"/>
                  </a:lnTo>
                  <a:lnTo>
                    <a:pt x="466" y="750"/>
                  </a:lnTo>
                  <a:lnTo>
                    <a:pt x="466" y="755"/>
                  </a:lnTo>
                  <a:lnTo>
                    <a:pt x="462" y="755"/>
                  </a:lnTo>
                  <a:lnTo>
                    <a:pt x="457" y="759"/>
                  </a:lnTo>
                  <a:lnTo>
                    <a:pt x="457" y="759"/>
                  </a:lnTo>
                  <a:lnTo>
                    <a:pt x="448" y="759"/>
                  </a:lnTo>
                  <a:lnTo>
                    <a:pt x="443" y="759"/>
                  </a:lnTo>
                  <a:lnTo>
                    <a:pt x="439" y="764"/>
                  </a:lnTo>
                  <a:lnTo>
                    <a:pt x="439" y="764"/>
                  </a:lnTo>
                  <a:lnTo>
                    <a:pt x="430" y="764"/>
                  </a:lnTo>
                  <a:lnTo>
                    <a:pt x="425" y="764"/>
                  </a:lnTo>
                  <a:lnTo>
                    <a:pt x="416" y="764"/>
                  </a:lnTo>
                  <a:lnTo>
                    <a:pt x="416" y="759"/>
                  </a:lnTo>
                  <a:lnTo>
                    <a:pt x="402" y="755"/>
                  </a:lnTo>
                  <a:lnTo>
                    <a:pt x="393" y="755"/>
                  </a:lnTo>
                  <a:lnTo>
                    <a:pt x="379" y="750"/>
                  </a:lnTo>
                  <a:lnTo>
                    <a:pt x="370" y="750"/>
                  </a:lnTo>
                  <a:lnTo>
                    <a:pt x="361" y="741"/>
                  </a:lnTo>
                  <a:lnTo>
                    <a:pt x="352" y="741"/>
                  </a:lnTo>
                  <a:lnTo>
                    <a:pt x="334" y="732"/>
                  </a:lnTo>
                  <a:lnTo>
                    <a:pt x="315" y="723"/>
                  </a:lnTo>
                  <a:lnTo>
                    <a:pt x="302" y="723"/>
                  </a:lnTo>
                  <a:lnTo>
                    <a:pt x="293" y="718"/>
                  </a:lnTo>
                  <a:lnTo>
                    <a:pt x="283" y="718"/>
                  </a:lnTo>
                  <a:lnTo>
                    <a:pt x="265" y="718"/>
                  </a:lnTo>
                  <a:lnTo>
                    <a:pt x="261" y="723"/>
                  </a:lnTo>
                  <a:lnTo>
                    <a:pt x="256" y="723"/>
                  </a:lnTo>
                  <a:lnTo>
                    <a:pt x="242" y="723"/>
                  </a:lnTo>
                  <a:lnTo>
                    <a:pt x="224" y="723"/>
                  </a:lnTo>
                  <a:lnTo>
                    <a:pt x="210" y="723"/>
                  </a:lnTo>
                  <a:lnTo>
                    <a:pt x="201" y="727"/>
                  </a:lnTo>
                  <a:lnTo>
                    <a:pt x="197" y="727"/>
                  </a:lnTo>
                  <a:lnTo>
                    <a:pt x="197" y="727"/>
                  </a:lnTo>
                  <a:lnTo>
                    <a:pt x="192" y="723"/>
                  </a:lnTo>
                  <a:lnTo>
                    <a:pt x="187" y="718"/>
                  </a:lnTo>
                  <a:lnTo>
                    <a:pt x="183" y="713"/>
                  </a:lnTo>
                  <a:lnTo>
                    <a:pt x="178" y="709"/>
                  </a:lnTo>
                  <a:lnTo>
                    <a:pt x="174" y="704"/>
                  </a:lnTo>
                  <a:lnTo>
                    <a:pt x="169" y="700"/>
                  </a:lnTo>
                  <a:lnTo>
                    <a:pt x="165" y="704"/>
                  </a:lnTo>
                  <a:lnTo>
                    <a:pt x="155" y="704"/>
                  </a:lnTo>
                  <a:lnTo>
                    <a:pt x="151" y="704"/>
                  </a:lnTo>
                  <a:lnTo>
                    <a:pt x="151" y="700"/>
                  </a:lnTo>
                  <a:lnTo>
                    <a:pt x="151" y="695"/>
                  </a:lnTo>
                  <a:lnTo>
                    <a:pt x="151" y="686"/>
                  </a:lnTo>
                  <a:lnTo>
                    <a:pt x="151" y="677"/>
                  </a:lnTo>
                  <a:lnTo>
                    <a:pt x="146" y="672"/>
                  </a:lnTo>
                  <a:lnTo>
                    <a:pt x="137" y="672"/>
                  </a:lnTo>
                  <a:lnTo>
                    <a:pt x="133" y="663"/>
                  </a:lnTo>
                  <a:lnTo>
                    <a:pt x="128" y="654"/>
                  </a:lnTo>
                  <a:lnTo>
                    <a:pt x="128" y="654"/>
                  </a:lnTo>
                  <a:lnTo>
                    <a:pt x="128" y="645"/>
                  </a:lnTo>
                  <a:lnTo>
                    <a:pt x="119" y="636"/>
                  </a:lnTo>
                  <a:lnTo>
                    <a:pt x="114" y="631"/>
                  </a:lnTo>
                  <a:lnTo>
                    <a:pt x="114" y="617"/>
                  </a:lnTo>
                  <a:lnTo>
                    <a:pt x="123" y="608"/>
                  </a:lnTo>
                  <a:lnTo>
                    <a:pt x="128" y="604"/>
                  </a:lnTo>
                  <a:lnTo>
                    <a:pt x="137" y="595"/>
                  </a:lnTo>
                  <a:lnTo>
                    <a:pt x="137" y="590"/>
                  </a:lnTo>
                  <a:lnTo>
                    <a:pt x="142" y="576"/>
                  </a:lnTo>
                  <a:lnTo>
                    <a:pt x="151" y="576"/>
                  </a:lnTo>
                  <a:lnTo>
                    <a:pt x="155" y="572"/>
                  </a:lnTo>
                  <a:lnTo>
                    <a:pt x="165" y="567"/>
                  </a:lnTo>
                  <a:lnTo>
                    <a:pt x="169" y="563"/>
                  </a:lnTo>
                  <a:lnTo>
                    <a:pt x="169" y="558"/>
                  </a:lnTo>
                  <a:lnTo>
                    <a:pt x="174" y="544"/>
                  </a:lnTo>
                  <a:lnTo>
                    <a:pt x="178" y="535"/>
                  </a:lnTo>
                  <a:lnTo>
                    <a:pt x="183" y="521"/>
                  </a:lnTo>
                  <a:lnTo>
                    <a:pt x="178" y="517"/>
                  </a:lnTo>
                  <a:lnTo>
                    <a:pt x="178" y="503"/>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Plateau</a:t>
              </a:r>
            </a:p>
          </p:txBody>
        </p:sp>
        <p:sp>
          <p:nvSpPr>
            <p:cNvPr id="156" name="Freeform 75">
              <a:extLst>
                <a:ext uri="{FF2B5EF4-FFF2-40B4-BE49-F238E27FC236}">
                  <a16:creationId xmlns:a16="http://schemas.microsoft.com/office/drawing/2014/main" id="{66CF121C-4167-4DC0-84AB-34176716DEF1}"/>
                </a:ext>
              </a:extLst>
            </p:cNvPr>
            <p:cNvSpPr>
              <a:spLocks/>
            </p:cNvSpPr>
            <p:nvPr>
              <p:custDataLst>
                <p:tags r:id="rId68"/>
              </p:custDataLst>
            </p:nvPr>
          </p:nvSpPr>
          <p:spPr bwMode="auto">
            <a:xfrm>
              <a:off x="1353026" y="3921764"/>
              <a:ext cx="411495" cy="545065"/>
            </a:xfrm>
            <a:custGeom>
              <a:avLst/>
              <a:gdLst/>
              <a:ahLst/>
              <a:cxnLst>
                <a:cxn ang="0">
                  <a:pos x="347" y="338"/>
                </a:cxn>
                <a:cxn ang="0">
                  <a:pos x="393" y="338"/>
                </a:cxn>
                <a:cxn ang="0">
                  <a:pos x="434" y="347"/>
                </a:cxn>
                <a:cxn ang="0">
                  <a:pos x="452" y="370"/>
                </a:cxn>
                <a:cxn ang="0">
                  <a:pos x="457" y="398"/>
                </a:cxn>
                <a:cxn ang="0">
                  <a:pos x="452" y="439"/>
                </a:cxn>
                <a:cxn ang="0">
                  <a:pos x="471" y="471"/>
                </a:cxn>
                <a:cxn ang="0">
                  <a:pos x="461" y="489"/>
                </a:cxn>
                <a:cxn ang="0">
                  <a:pos x="402" y="498"/>
                </a:cxn>
                <a:cxn ang="0">
                  <a:pos x="365" y="498"/>
                </a:cxn>
                <a:cxn ang="0">
                  <a:pos x="343" y="507"/>
                </a:cxn>
                <a:cxn ang="0">
                  <a:pos x="301" y="517"/>
                </a:cxn>
                <a:cxn ang="0">
                  <a:pos x="301" y="507"/>
                </a:cxn>
                <a:cxn ang="0">
                  <a:pos x="311" y="489"/>
                </a:cxn>
                <a:cxn ang="0">
                  <a:pos x="288" y="485"/>
                </a:cxn>
                <a:cxn ang="0">
                  <a:pos x="288" y="489"/>
                </a:cxn>
                <a:cxn ang="0">
                  <a:pos x="269" y="494"/>
                </a:cxn>
                <a:cxn ang="0">
                  <a:pos x="256" y="494"/>
                </a:cxn>
                <a:cxn ang="0">
                  <a:pos x="247" y="498"/>
                </a:cxn>
                <a:cxn ang="0">
                  <a:pos x="251" y="517"/>
                </a:cxn>
                <a:cxn ang="0">
                  <a:pos x="242" y="521"/>
                </a:cxn>
                <a:cxn ang="0">
                  <a:pos x="228" y="521"/>
                </a:cxn>
                <a:cxn ang="0">
                  <a:pos x="196" y="526"/>
                </a:cxn>
                <a:cxn ang="0">
                  <a:pos x="146" y="530"/>
                </a:cxn>
                <a:cxn ang="0">
                  <a:pos x="105" y="539"/>
                </a:cxn>
                <a:cxn ang="0">
                  <a:pos x="91" y="535"/>
                </a:cxn>
                <a:cxn ang="0">
                  <a:pos x="41" y="530"/>
                </a:cxn>
                <a:cxn ang="0">
                  <a:pos x="50" y="485"/>
                </a:cxn>
                <a:cxn ang="0">
                  <a:pos x="59" y="448"/>
                </a:cxn>
                <a:cxn ang="0">
                  <a:pos x="59" y="411"/>
                </a:cxn>
                <a:cxn ang="0">
                  <a:pos x="64" y="384"/>
                </a:cxn>
                <a:cxn ang="0">
                  <a:pos x="23" y="379"/>
                </a:cxn>
                <a:cxn ang="0">
                  <a:pos x="4" y="338"/>
                </a:cxn>
                <a:cxn ang="0">
                  <a:pos x="23" y="302"/>
                </a:cxn>
                <a:cxn ang="0">
                  <a:pos x="23" y="270"/>
                </a:cxn>
                <a:cxn ang="0">
                  <a:pos x="59" y="224"/>
                </a:cxn>
                <a:cxn ang="0">
                  <a:pos x="73" y="183"/>
                </a:cxn>
                <a:cxn ang="0">
                  <a:pos x="82" y="142"/>
                </a:cxn>
                <a:cxn ang="0">
                  <a:pos x="50" y="133"/>
                </a:cxn>
                <a:cxn ang="0">
                  <a:pos x="64" y="78"/>
                </a:cxn>
                <a:cxn ang="0">
                  <a:pos x="91" y="14"/>
                </a:cxn>
                <a:cxn ang="0">
                  <a:pos x="128" y="37"/>
                </a:cxn>
                <a:cxn ang="0">
                  <a:pos x="123" y="64"/>
                </a:cxn>
                <a:cxn ang="0">
                  <a:pos x="105" y="110"/>
                </a:cxn>
                <a:cxn ang="0">
                  <a:pos x="155" y="110"/>
                </a:cxn>
                <a:cxn ang="0">
                  <a:pos x="151" y="151"/>
                </a:cxn>
                <a:cxn ang="0">
                  <a:pos x="146" y="169"/>
                </a:cxn>
                <a:cxn ang="0">
                  <a:pos x="169" y="192"/>
                </a:cxn>
                <a:cxn ang="0">
                  <a:pos x="196" y="210"/>
                </a:cxn>
                <a:cxn ang="0">
                  <a:pos x="242" y="210"/>
                </a:cxn>
                <a:cxn ang="0">
                  <a:pos x="288" y="215"/>
                </a:cxn>
                <a:cxn ang="0">
                  <a:pos x="311" y="210"/>
                </a:cxn>
                <a:cxn ang="0">
                  <a:pos x="347" y="224"/>
                </a:cxn>
                <a:cxn ang="0">
                  <a:pos x="347" y="274"/>
                </a:cxn>
                <a:cxn ang="0">
                  <a:pos x="324" y="293"/>
                </a:cxn>
                <a:cxn ang="0">
                  <a:pos x="311" y="311"/>
                </a:cxn>
              </a:cxnLst>
              <a:rect l="0" t="0" r="r" b="b"/>
              <a:pathLst>
                <a:path w="471" h="539">
                  <a:moveTo>
                    <a:pt x="315" y="334"/>
                  </a:moveTo>
                  <a:lnTo>
                    <a:pt x="320" y="338"/>
                  </a:lnTo>
                  <a:lnTo>
                    <a:pt x="324" y="338"/>
                  </a:lnTo>
                  <a:lnTo>
                    <a:pt x="329" y="343"/>
                  </a:lnTo>
                  <a:lnTo>
                    <a:pt x="333" y="343"/>
                  </a:lnTo>
                  <a:lnTo>
                    <a:pt x="343" y="343"/>
                  </a:lnTo>
                  <a:lnTo>
                    <a:pt x="347" y="338"/>
                  </a:lnTo>
                  <a:lnTo>
                    <a:pt x="352" y="338"/>
                  </a:lnTo>
                  <a:lnTo>
                    <a:pt x="361" y="338"/>
                  </a:lnTo>
                  <a:lnTo>
                    <a:pt x="365" y="338"/>
                  </a:lnTo>
                  <a:lnTo>
                    <a:pt x="375" y="338"/>
                  </a:lnTo>
                  <a:lnTo>
                    <a:pt x="384" y="338"/>
                  </a:lnTo>
                  <a:lnTo>
                    <a:pt x="388" y="338"/>
                  </a:lnTo>
                  <a:lnTo>
                    <a:pt x="393" y="338"/>
                  </a:lnTo>
                  <a:lnTo>
                    <a:pt x="402" y="338"/>
                  </a:lnTo>
                  <a:lnTo>
                    <a:pt x="411" y="343"/>
                  </a:lnTo>
                  <a:lnTo>
                    <a:pt x="411" y="338"/>
                  </a:lnTo>
                  <a:lnTo>
                    <a:pt x="420" y="343"/>
                  </a:lnTo>
                  <a:lnTo>
                    <a:pt x="429" y="347"/>
                  </a:lnTo>
                  <a:lnTo>
                    <a:pt x="429" y="347"/>
                  </a:lnTo>
                  <a:lnTo>
                    <a:pt x="434" y="347"/>
                  </a:lnTo>
                  <a:lnTo>
                    <a:pt x="434" y="352"/>
                  </a:lnTo>
                  <a:lnTo>
                    <a:pt x="439" y="352"/>
                  </a:lnTo>
                  <a:lnTo>
                    <a:pt x="439" y="357"/>
                  </a:lnTo>
                  <a:lnTo>
                    <a:pt x="443" y="357"/>
                  </a:lnTo>
                  <a:lnTo>
                    <a:pt x="448" y="361"/>
                  </a:lnTo>
                  <a:lnTo>
                    <a:pt x="448" y="361"/>
                  </a:lnTo>
                  <a:lnTo>
                    <a:pt x="452" y="370"/>
                  </a:lnTo>
                  <a:lnTo>
                    <a:pt x="452" y="375"/>
                  </a:lnTo>
                  <a:lnTo>
                    <a:pt x="457" y="379"/>
                  </a:lnTo>
                  <a:lnTo>
                    <a:pt x="457" y="384"/>
                  </a:lnTo>
                  <a:lnTo>
                    <a:pt x="457" y="384"/>
                  </a:lnTo>
                  <a:lnTo>
                    <a:pt x="457" y="389"/>
                  </a:lnTo>
                  <a:lnTo>
                    <a:pt x="457" y="393"/>
                  </a:lnTo>
                  <a:lnTo>
                    <a:pt x="457" y="398"/>
                  </a:lnTo>
                  <a:lnTo>
                    <a:pt x="452" y="402"/>
                  </a:lnTo>
                  <a:lnTo>
                    <a:pt x="452" y="407"/>
                  </a:lnTo>
                  <a:lnTo>
                    <a:pt x="452" y="411"/>
                  </a:lnTo>
                  <a:lnTo>
                    <a:pt x="452" y="421"/>
                  </a:lnTo>
                  <a:lnTo>
                    <a:pt x="452" y="425"/>
                  </a:lnTo>
                  <a:lnTo>
                    <a:pt x="452" y="425"/>
                  </a:lnTo>
                  <a:lnTo>
                    <a:pt x="452" y="439"/>
                  </a:lnTo>
                  <a:lnTo>
                    <a:pt x="457" y="439"/>
                  </a:lnTo>
                  <a:lnTo>
                    <a:pt x="457" y="448"/>
                  </a:lnTo>
                  <a:lnTo>
                    <a:pt x="457" y="453"/>
                  </a:lnTo>
                  <a:lnTo>
                    <a:pt x="457" y="462"/>
                  </a:lnTo>
                  <a:lnTo>
                    <a:pt x="461" y="466"/>
                  </a:lnTo>
                  <a:lnTo>
                    <a:pt x="466" y="471"/>
                  </a:lnTo>
                  <a:lnTo>
                    <a:pt x="471" y="471"/>
                  </a:lnTo>
                  <a:lnTo>
                    <a:pt x="471" y="475"/>
                  </a:lnTo>
                  <a:lnTo>
                    <a:pt x="471" y="475"/>
                  </a:lnTo>
                  <a:lnTo>
                    <a:pt x="466" y="480"/>
                  </a:lnTo>
                  <a:lnTo>
                    <a:pt x="466" y="480"/>
                  </a:lnTo>
                  <a:lnTo>
                    <a:pt x="466" y="489"/>
                  </a:lnTo>
                  <a:lnTo>
                    <a:pt x="466" y="489"/>
                  </a:lnTo>
                  <a:lnTo>
                    <a:pt x="461" y="489"/>
                  </a:lnTo>
                  <a:lnTo>
                    <a:pt x="443" y="489"/>
                  </a:lnTo>
                  <a:lnTo>
                    <a:pt x="434" y="489"/>
                  </a:lnTo>
                  <a:lnTo>
                    <a:pt x="420" y="489"/>
                  </a:lnTo>
                  <a:lnTo>
                    <a:pt x="416" y="494"/>
                  </a:lnTo>
                  <a:lnTo>
                    <a:pt x="411" y="494"/>
                  </a:lnTo>
                  <a:lnTo>
                    <a:pt x="407" y="494"/>
                  </a:lnTo>
                  <a:lnTo>
                    <a:pt x="402" y="498"/>
                  </a:lnTo>
                  <a:lnTo>
                    <a:pt x="397" y="498"/>
                  </a:lnTo>
                  <a:lnTo>
                    <a:pt x="388" y="494"/>
                  </a:lnTo>
                  <a:lnTo>
                    <a:pt x="370" y="494"/>
                  </a:lnTo>
                  <a:lnTo>
                    <a:pt x="370" y="489"/>
                  </a:lnTo>
                  <a:lnTo>
                    <a:pt x="365" y="494"/>
                  </a:lnTo>
                  <a:lnTo>
                    <a:pt x="365" y="494"/>
                  </a:lnTo>
                  <a:lnTo>
                    <a:pt x="365" y="498"/>
                  </a:lnTo>
                  <a:lnTo>
                    <a:pt x="365" y="503"/>
                  </a:lnTo>
                  <a:lnTo>
                    <a:pt x="361" y="503"/>
                  </a:lnTo>
                  <a:lnTo>
                    <a:pt x="352" y="503"/>
                  </a:lnTo>
                  <a:lnTo>
                    <a:pt x="352" y="507"/>
                  </a:lnTo>
                  <a:lnTo>
                    <a:pt x="347" y="507"/>
                  </a:lnTo>
                  <a:lnTo>
                    <a:pt x="343" y="507"/>
                  </a:lnTo>
                  <a:lnTo>
                    <a:pt x="343" y="507"/>
                  </a:lnTo>
                  <a:lnTo>
                    <a:pt x="329" y="512"/>
                  </a:lnTo>
                  <a:lnTo>
                    <a:pt x="329" y="512"/>
                  </a:lnTo>
                  <a:lnTo>
                    <a:pt x="329" y="512"/>
                  </a:lnTo>
                  <a:lnTo>
                    <a:pt x="324" y="517"/>
                  </a:lnTo>
                  <a:lnTo>
                    <a:pt x="320" y="517"/>
                  </a:lnTo>
                  <a:lnTo>
                    <a:pt x="301" y="517"/>
                  </a:lnTo>
                  <a:lnTo>
                    <a:pt x="301" y="517"/>
                  </a:lnTo>
                  <a:lnTo>
                    <a:pt x="297" y="517"/>
                  </a:lnTo>
                  <a:lnTo>
                    <a:pt x="297" y="517"/>
                  </a:lnTo>
                  <a:lnTo>
                    <a:pt x="297" y="512"/>
                  </a:lnTo>
                  <a:lnTo>
                    <a:pt x="297" y="507"/>
                  </a:lnTo>
                  <a:lnTo>
                    <a:pt x="297" y="503"/>
                  </a:lnTo>
                  <a:lnTo>
                    <a:pt x="301" y="507"/>
                  </a:lnTo>
                  <a:lnTo>
                    <a:pt x="301" y="507"/>
                  </a:lnTo>
                  <a:lnTo>
                    <a:pt x="301" y="507"/>
                  </a:lnTo>
                  <a:lnTo>
                    <a:pt x="301" y="507"/>
                  </a:lnTo>
                  <a:lnTo>
                    <a:pt x="301" y="507"/>
                  </a:lnTo>
                  <a:lnTo>
                    <a:pt x="297" y="507"/>
                  </a:lnTo>
                  <a:lnTo>
                    <a:pt x="301" y="503"/>
                  </a:lnTo>
                  <a:lnTo>
                    <a:pt x="306" y="494"/>
                  </a:lnTo>
                  <a:lnTo>
                    <a:pt x="311" y="489"/>
                  </a:lnTo>
                  <a:lnTo>
                    <a:pt x="301" y="485"/>
                  </a:lnTo>
                  <a:lnTo>
                    <a:pt x="301" y="480"/>
                  </a:lnTo>
                  <a:lnTo>
                    <a:pt x="297" y="485"/>
                  </a:lnTo>
                  <a:lnTo>
                    <a:pt x="292" y="485"/>
                  </a:lnTo>
                  <a:lnTo>
                    <a:pt x="292" y="485"/>
                  </a:lnTo>
                  <a:lnTo>
                    <a:pt x="292" y="485"/>
                  </a:lnTo>
                  <a:lnTo>
                    <a:pt x="288" y="485"/>
                  </a:lnTo>
                  <a:lnTo>
                    <a:pt x="288" y="485"/>
                  </a:lnTo>
                  <a:lnTo>
                    <a:pt x="288" y="485"/>
                  </a:lnTo>
                  <a:lnTo>
                    <a:pt x="283" y="485"/>
                  </a:lnTo>
                  <a:lnTo>
                    <a:pt x="283" y="489"/>
                  </a:lnTo>
                  <a:lnTo>
                    <a:pt x="283" y="489"/>
                  </a:lnTo>
                  <a:lnTo>
                    <a:pt x="288" y="489"/>
                  </a:lnTo>
                  <a:lnTo>
                    <a:pt x="288" y="489"/>
                  </a:lnTo>
                  <a:lnTo>
                    <a:pt x="283" y="494"/>
                  </a:lnTo>
                  <a:lnTo>
                    <a:pt x="279" y="489"/>
                  </a:lnTo>
                  <a:lnTo>
                    <a:pt x="279" y="489"/>
                  </a:lnTo>
                  <a:lnTo>
                    <a:pt x="274" y="489"/>
                  </a:lnTo>
                  <a:lnTo>
                    <a:pt x="274" y="494"/>
                  </a:lnTo>
                  <a:lnTo>
                    <a:pt x="274" y="494"/>
                  </a:lnTo>
                  <a:lnTo>
                    <a:pt x="269" y="494"/>
                  </a:lnTo>
                  <a:lnTo>
                    <a:pt x="260" y="498"/>
                  </a:lnTo>
                  <a:lnTo>
                    <a:pt x="260" y="498"/>
                  </a:lnTo>
                  <a:lnTo>
                    <a:pt x="256" y="498"/>
                  </a:lnTo>
                  <a:lnTo>
                    <a:pt x="256" y="494"/>
                  </a:lnTo>
                  <a:lnTo>
                    <a:pt x="256" y="494"/>
                  </a:lnTo>
                  <a:lnTo>
                    <a:pt x="256" y="494"/>
                  </a:lnTo>
                  <a:lnTo>
                    <a:pt x="256" y="494"/>
                  </a:lnTo>
                  <a:lnTo>
                    <a:pt x="251" y="489"/>
                  </a:lnTo>
                  <a:lnTo>
                    <a:pt x="247" y="485"/>
                  </a:lnTo>
                  <a:lnTo>
                    <a:pt x="247" y="485"/>
                  </a:lnTo>
                  <a:lnTo>
                    <a:pt x="242" y="485"/>
                  </a:lnTo>
                  <a:lnTo>
                    <a:pt x="242" y="485"/>
                  </a:lnTo>
                  <a:lnTo>
                    <a:pt x="242" y="489"/>
                  </a:lnTo>
                  <a:lnTo>
                    <a:pt x="247" y="498"/>
                  </a:lnTo>
                  <a:lnTo>
                    <a:pt x="247" y="503"/>
                  </a:lnTo>
                  <a:lnTo>
                    <a:pt x="251" y="507"/>
                  </a:lnTo>
                  <a:lnTo>
                    <a:pt x="251" y="507"/>
                  </a:lnTo>
                  <a:lnTo>
                    <a:pt x="251" y="507"/>
                  </a:lnTo>
                  <a:lnTo>
                    <a:pt x="247" y="517"/>
                  </a:lnTo>
                  <a:lnTo>
                    <a:pt x="247" y="517"/>
                  </a:lnTo>
                  <a:lnTo>
                    <a:pt x="251" y="517"/>
                  </a:lnTo>
                  <a:lnTo>
                    <a:pt x="251" y="512"/>
                  </a:lnTo>
                  <a:lnTo>
                    <a:pt x="251" y="512"/>
                  </a:lnTo>
                  <a:lnTo>
                    <a:pt x="251" y="517"/>
                  </a:lnTo>
                  <a:lnTo>
                    <a:pt x="251" y="517"/>
                  </a:lnTo>
                  <a:lnTo>
                    <a:pt x="247" y="521"/>
                  </a:lnTo>
                  <a:lnTo>
                    <a:pt x="242" y="521"/>
                  </a:lnTo>
                  <a:lnTo>
                    <a:pt x="242" y="521"/>
                  </a:lnTo>
                  <a:lnTo>
                    <a:pt x="237" y="517"/>
                  </a:lnTo>
                  <a:lnTo>
                    <a:pt x="237" y="517"/>
                  </a:lnTo>
                  <a:lnTo>
                    <a:pt x="233" y="517"/>
                  </a:lnTo>
                  <a:lnTo>
                    <a:pt x="237" y="517"/>
                  </a:lnTo>
                  <a:lnTo>
                    <a:pt x="233" y="517"/>
                  </a:lnTo>
                  <a:lnTo>
                    <a:pt x="233" y="521"/>
                  </a:lnTo>
                  <a:lnTo>
                    <a:pt x="228" y="521"/>
                  </a:lnTo>
                  <a:lnTo>
                    <a:pt x="224" y="517"/>
                  </a:lnTo>
                  <a:lnTo>
                    <a:pt x="210" y="517"/>
                  </a:lnTo>
                  <a:lnTo>
                    <a:pt x="196" y="512"/>
                  </a:lnTo>
                  <a:lnTo>
                    <a:pt x="192" y="521"/>
                  </a:lnTo>
                  <a:lnTo>
                    <a:pt x="196" y="521"/>
                  </a:lnTo>
                  <a:lnTo>
                    <a:pt x="196" y="526"/>
                  </a:lnTo>
                  <a:lnTo>
                    <a:pt x="196" y="526"/>
                  </a:lnTo>
                  <a:lnTo>
                    <a:pt x="192" y="526"/>
                  </a:lnTo>
                  <a:lnTo>
                    <a:pt x="187" y="526"/>
                  </a:lnTo>
                  <a:lnTo>
                    <a:pt x="173" y="526"/>
                  </a:lnTo>
                  <a:lnTo>
                    <a:pt x="173" y="526"/>
                  </a:lnTo>
                  <a:lnTo>
                    <a:pt x="164" y="530"/>
                  </a:lnTo>
                  <a:lnTo>
                    <a:pt x="155" y="530"/>
                  </a:lnTo>
                  <a:lnTo>
                    <a:pt x="146" y="530"/>
                  </a:lnTo>
                  <a:lnTo>
                    <a:pt x="146" y="530"/>
                  </a:lnTo>
                  <a:lnTo>
                    <a:pt x="141" y="530"/>
                  </a:lnTo>
                  <a:lnTo>
                    <a:pt x="137" y="530"/>
                  </a:lnTo>
                  <a:lnTo>
                    <a:pt x="137" y="530"/>
                  </a:lnTo>
                  <a:lnTo>
                    <a:pt x="132" y="535"/>
                  </a:lnTo>
                  <a:lnTo>
                    <a:pt x="109" y="535"/>
                  </a:lnTo>
                  <a:lnTo>
                    <a:pt x="105" y="539"/>
                  </a:lnTo>
                  <a:lnTo>
                    <a:pt x="105" y="539"/>
                  </a:lnTo>
                  <a:lnTo>
                    <a:pt x="100" y="539"/>
                  </a:lnTo>
                  <a:lnTo>
                    <a:pt x="100" y="539"/>
                  </a:lnTo>
                  <a:lnTo>
                    <a:pt x="100" y="535"/>
                  </a:lnTo>
                  <a:lnTo>
                    <a:pt x="96" y="535"/>
                  </a:lnTo>
                  <a:lnTo>
                    <a:pt x="91" y="535"/>
                  </a:lnTo>
                  <a:lnTo>
                    <a:pt x="91" y="535"/>
                  </a:lnTo>
                  <a:lnTo>
                    <a:pt x="87" y="539"/>
                  </a:lnTo>
                  <a:lnTo>
                    <a:pt x="73" y="539"/>
                  </a:lnTo>
                  <a:lnTo>
                    <a:pt x="55" y="539"/>
                  </a:lnTo>
                  <a:lnTo>
                    <a:pt x="55" y="539"/>
                  </a:lnTo>
                  <a:lnTo>
                    <a:pt x="50" y="535"/>
                  </a:lnTo>
                  <a:lnTo>
                    <a:pt x="41" y="535"/>
                  </a:lnTo>
                  <a:lnTo>
                    <a:pt x="41" y="530"/>
                  </a:lnTo>
                  <a:lnTo>
                    <a:pt x="36" y="526"/>
                  </a:lnTo>
                  <a:lnTo>
                    <a:pt x="36" y="517"/>
                  </a:lnTo>
                  <a:lnTo>
                    <a:pt x="41" y="512"/>
                  </a:lnTo>
                  <a:lnTo>
                    <a:pt x="45" y="498"/>
                  </a:lnTo>
                  <a:lnTo>
                    <a:pt x="45" y="494"/>
                  </a:lnTo>
                  <a:lnTo>
                    <a:pt x="45" y="489"/>
                  </a:lnTo>
                  <a:lnTo>
                    <a:pt x="50" y="485"/>
                  </a:lnTo>
                  <a:lnTo>
                    <a:pt x="59" y="480"/>
                  </a:lnTo>
                  <a:lnTo>
                    <a:pt x="59" y="471"/>
                  </a:lnTo>
                  <a:lnTo>
                    <a:pt x="59" y="471"/>
                  </a:lnTo>
                  <a:lnTo>
                    <a:pt x="59" y="466"/>
                  </a:lnTo>
                  <a:lnTo>
                    <a:pt x="64" y="457"/>
                  </a:lnTo>
                  <a:lnTo>
                    <a:pt x="59" y="453"/>
                  </a:lnTo>
                  <a:lnTo>
                    <a:pt x="59" y="448"/>
                  </a:lnTo>
                  <a:lnTo>
                    <a:pt x="59" y="448"/>
                  </a:lnTo>
                  <a:lnTo>
                    <a:pt x="55" y="439"/>
                  </a:lnTo>
                  <a:lnTo>
                    <a:pt x="50" y="430"/>
                  </a:lnTo>
                  <a:lnTo>
                    <a:pt x="45" y="425"/>
                  </a:lnTo>
                  <a:lnTo>
                    <a:pt x="50" y="421"/>
                  </a:lnTo>
                  <a:lnTo>
                    <a:pt x="55" y="416"/>
                  </a:lnTo>
                  <a:lnTo>
                    <a:pt x="59" y="411"/>
                  </a:lnTo>
                  <a:lnTo>
                    <a:pt x="68" y="402"/>
                  </a:lnTo>
                  <a:lnTo>
                    <a:pt x="73" y="402"/>
                  </a:lnTo>
                  <a:lnTo>
                    <a:pt x="82" y="393"/>
                  </a:lnTo>
                  <a:lnTo>
                    <a:pt x="91" y="389"/>
                  </a:lnTo>
                  <a:lnTo>
                    <a:pt x="87" y="384"/>
                  </a:lnTo>
                  <a:lnTo>
                    <a:pt x="77" y="384"/>
                  </a:lnTo>
                  <a:lnTo>
                    <a:pt x="64" y="384"/>
                  </a:lnTo>
                  <a:lnTo>
                    <a:pt x="55" y="384"/>
                  </a:lnTo>
                  <a:lnTo>
                    <a:pt x="41" y="389"/>
                  </a:lnTo>
                  <a:lnTo>
                    <a:pt x="32" y="393"/>
                  </a:lnTo>
                  <a:lnTo>
                    <a:pt x="32" y="389"/>
                  </a:lnTo>
                  <a:lnTo>
                    <a:pt x="27" y="384"/>
                  </a:lnTo>
                  <a:lnTo>
                    <a:pt x="23" y="384"/>
                  </a:lnTo>
                  <a:lnTo>
                    <a:pt x="23" y="379"/>
                  </a:lnTo>
                  <a:lnTo>
                    <a:pt x="27" y="375"/>
                  </a:lnTo>
                  <a:lnTo>
                    <a:pt x="23" y="370"/>
                  </a:lnTo>
                  <a:lnTo>
                    <a:pt x="13" y="370"/>
                  </a:lnTo>
                  <a:lnTo>
                    <a:pt x="9" y="361"/>
                  </a:lnTo>
                  <a:lnTo>
                    <a:pt x="0" y="357"/>
                  </a:lnTo>
                  <a:lnTo>
                    <a:pt x="0" y="343"/>
                  </a:lnTo>
                  <a:lnTo>
                    <a:pt x="4" y="338"/>
                  </a:lnTo>
                  <a:lnTo>
                    <a:pt x="13" y="329"/>
                  </a:lnTo>
                  <a:lnTo>
                    <a:pt x="13" y="320"/>
                  </a:lnTo>
                  <a:lnTo>
                    <a:pt x="23" y="315"/>
                  </a:lnTo>
                  <a:lnTo>
                    <a:pt x="23" y="311"/>
                  </a:lnTo>
                  <a:lnTo>
                    <a:pt x="27" y="306"/>
                  </a:lnTo>
                  <a:lnTo>
                    <a:pt x="27" y="302"/>
                  </a:lnTo>
                  <a:lnTo>
                    <a:pt x="23" y="302"/>
                  </a:lnTo>
                  <a:lnTo>
                    <a:pt x="18" y="302"/>
                  </a:lnTo>
                  <a:lnTo>
                    <a:pt x="18" y="297"/>
                  </a:lnTo>
                  <a:lnTo>
                    <a:pt x="13" y="293"/>
                  </a:lnTo>
                  <a:lnTo>
                    <a:pt x="13" y="288"/>
                  </a:lnTo>
                  <a:lnTo>
                    <a:pt x="13" y="279"/>
                  </a:lnTo>
                  <a:lnTo>
                    <a:pt x="18" y="274"/>
                  </a:lnTo>
                  <a:lnTo>
                    <a:pt x="23" y="270"/>
                  </a:lnTo>
                  <a:lnTo>
                    <a:pt x="27" y="256"/>
                  </a:lnTo>
                  <a:lnTo>
                    <a:pt x="36" y="247"/>
                  </a:lnTo>
                  <a:lnTo>
                    <a:pt x="36" y="233"/>
                  </a:lnTo>
                  <a:lnTo>
                    <a:pt x="41" y="229"/>
                  </a:lnTo>
                  <a:lnTo>
                    <a:pt x="45" y="219"/>
                  </a:lnTo>
                  <a:lnTo>
                    <a:pt x="55" y="219"/>
                  </a:lnTo>
                  <a:lnTo>
                    <a:pt x="59" y="224"/>
                  </a:lnTo>
                  <a:lnTo>
                    <a:pt x="73" y="219"/>
                  </a:lnTo>
                  <a:lnTo>
                    <a:pt x="73" y="215"/>
                  </a:lnTo>
                  <a:lnTo>
                    <a:pt x="77" y="206"/>
                  </a:lnTo>
                  <a:lnTo>
                    <a:pt x="77" y="206"/>
                  </a:lnTo>
                  <a:lnTo>
                    <a:pt x="82" y="197"/>
                  </a:lnTo>
                  <a:lnTo>
                    <a:pt x="73" y="192"/>
                  </a:lnTo>
                  <a:lnTo>
                    <a:pt x="73" y="183"/>
                  </a:lnTo>
                  <a:lnTo>
                    <a:pt x="68" y="178"/>
                  </a:lnTo>
                  <a:lnTo>
                    <a:pt x="64" y="169"/>
                  </a:lnTo>
                  <a:lnTo>
                    <a:pt x="68" y="165"/>
                  </a:lnTo>
                  <a:lnTo>
                    <a:pt x="73" y="160"/>
                  </a:lnTo>
                  <a:lnTo>
                    <a:pt x="77" y="151"/>
                  </a:lnTo>
                  <a:lnTo>
                    <a:pt x="82" y="146"/>
                  </a:lnTo>
                  <a:lnTo>
                    <a:pt x="82" y="142"/>
                  </a:lnTo>
                  <a:lnTo>
                    <a:pt x="77" y="142"/>
                  </a:lnTo>
                  <a:lnTo>
                    <a:pt x="68" y="142"/>
                  </a:lnTo>
                  <a:lnTo>
                    <a:pt x="59" y="142"/>
                  </a:lnTo>
                  <a:lnTo>
                    <a:pt x="59" y="142"/>
                  </a:lnTo>
                  <a:lnTo>
                    <a:pt x="55" y="142"/>
                  </a:lnTo>
                  <a:lnTo>
                    <a:pt x="50" y="142"/>
                  </a:lnTo>
                  <a:lnTo>
                    <a:pt x="50" y="133"/>
                  </a:lnTo>
                  <a:lnTo>
                    <a:pt x="50" y="128"/>
                  </a:lnTo>
                  <a:lnTo>
                    <a:pt x="59" y="119"/>
                  </a:lnTo>
                  <a:lnTo>
                    <a:pt x="64" y="119"/>
                  </a:lnTo>
                  <a:lnTo>
                    <a:pt x="68" y="110"/>
                  </a:lnTo>
                  <a:lnTo>
                    <a:pt x="68" y="96"/>
                  </a:lnTo>
                  <a:lnTo>
                    <a:pt x="64" y="87"/>
                  </a:lnTo>
                  <a:lnTo>
                    <a:pt x="64" y="78"/>
                  </a:lnTo>
                  <a:lnTo>
                    <a:pt x="73" y="69"/>
                  </a:lnTo>
                  <a:lnTo>
                    <a:pt x="82" y="59"/>
                  </a:lnTo>
                  <a:lnTo>
                    <a:pt x="87" y="55"/>
                  </a:lnTo>
                  <a:lnTo>
                    <a:pt x="91" y="46"/>
                  </a:lnTo>
                  <a:lnTo>
                    <a:pt x="91" y="32"/>
                  </a:lnTo>
                  <a:lnTo>
                    <a:pt x="91" y="27"/>
                  </a:lnTo>
                  <a:lnTo>
                    <a:pt x="91" y="14"/>
                  </a:lnTo>
                  <a:lnTo>
                    <a:pt x="96" y="9"/>
                  </a:lnTo>
                  <a:lnTo>
                    <a:pt x="105" y="0"/>
                  </a:lnTo>
                  <a:lnTo>
                    <a:pt x="105" y="0"/>
                  </a:lnTo>
                  <a:lnTo>
                    <a:pt x="123" y="5"/>
                  </a:lnTo>
                  <a:lnTo>
                    <a:pt x="128" y="23"/>
                  </a:lnTo>
                  <a:lnTo>
                    <a:pt x="128" y="27"/>
                  </a:lnTo>
                  <a:lnTo>
                    <a:pt x="128" y="37"/>
                  </a:lnTo>
                  <a:lnTo>
                    <a:pt x="123" y="41"/>
                  </a:lnTo>
                  <a:lnTo>
                    <a:pt x="123" y="46"/>
                  </a:lnTo>
                  <a:lnTo>
                    <a:pt x="123" y="50"/>
                  </a:lnTo>
                  <a:lnTo>
                    <a:pt x="123" y="55"/>
                  </a:lnTo>
                  <a:lnTo>
                    <a:pt x="123" y="55"/>
                  </a:lnTo>
                  <a:lnTo>
                    <a:pt x="123" y="59"/>
                  </a:lnTo>
                  <a:lnTo>
                    <a:pt x="123" y="64"/>
                  </a:lnTo>
                  <a:lnTo>
                    <a:pt x="119" y="73"/>
                  </a:lnTo>
                  <a:lnTo>
                    <a:pt x="114" y="82"/>
                  </a:lnTo>
                  <a:lnTo>
                    <a:pt x="114" y="87"/>
                  </a:lnTo>
                  <a:lnTo>
                    <a:pt x="109" y="96"/>
                  </a:lnTo>
                  <a:lnTo>
                    <a:pt x="105" y="101"/>
                  </a:lnTo>
                  <a:lnTo>
                    <a:pt x="105" y="105"/>
                  </a:lnTo>
                  <a:lnTo>
                    <a:pt x="105" y="110"/>
                  </a:lnTo>
                  <a:lnTo>
                    <a:pt x="119" y="110"/>
                  </a:lnTo>
                  <a:lnTo>
                    <a:pt x="123" y="110"/>
                  </a:lnTo>
                  <a:lnTo>
                    <a:pt x="132" y="110"/>
                  </a:lnTo>
                  <a:lnTo>
                    <a:pt x="141" y="114"/>
                  </a:lnTo>
                  <a:lnTo>
                    <a:pt x="146" y="110"/>
                  </a:lnTo>
                  <a:lnTo>
                    <a:pt x="151" y="110"/>
                  </a:lnTo>
                  <a:lnTo>
                    <a:pt x="155" y="110"/>
                  </a:lnTo>
                  <a:lnTo>
                    <a:pt x="160" y="114"/>
                  </a:lnTo>
                  <a:lnTo>
                    <a:pt x="160" y="119"/>
                  </a:lnTo>
                  <a:lnTo>
                    <a:pt x="155" y="119"/>
                  </a:lnTo>
                  <a:lnTo>
                    <a:pt x="151" y="133"/>
                  </a:lnTo>
                  <a:lnTo>
                    <a:pt x="151" y="142"/>
                  </a:lnTo>
                  <a:lnTo>
                    <a:pt x="151" y="142"/>
                  </a:lnTo>
                  <a:lnTo>
                    <a:pt x="151" y="151"/>
                  </a:lnTo>
                  <a:lnTo>
                    <a:pt x="146" y="151"/>
                  </a:lnTo>
                  <a:lnTo>
                    <a:pt x="146" y="155"/>
                  </a:lnTo>
                  <a:lnTo>
                    <a:pt x="146" y="160"/>
                  </a:lnTo>
                  <a:lnTo>
                    <a:pt x="146" y="165"/>
                  </a:lnTo>
                  <a:lnTo>
                    <a:pt x="146" y="165"/>
                  </a:lnTo>
                  <a:lnTo>
                    <a:pt x="146" y="169"/>
                  </a:lnTo>
                  <a:lnTo>
                    <a:pt x="146" y="169"/>
                  </a:lnTo>
                  <a:lnTo>
                    <a:pt x="151" y="174"/>
                  </a:lnTo>
                  <a:lnTo>
                    <a:pt x="155" y="178"/>
                  </a:lnTo>
                  <a:lnTo>
                    <a:pt x="160" y="183"/>
                  </a:lnTo>
                  <a:lnTo>
                    <a:pt x="164" y="183"/>
                  </a:lnTo>
                  <a:lnTo>
                    <a:pt x="164" y="187"/>
                  </a:lnTo>
                  <a:lnTo>
                    <a:pt x="169" y="187"/>
                  </a:lnTo>
                  <a:lnTo>
                    <a:pt x="169" y="192"/>
                  </a:lnTo>
                  <a:lnTo>
                    <a:pt x="169" y="192"/>
                  </a:lnTo>
                  <a:lnTo>
                    <a:pt x="173" y="201"/>
                  </a:lnTo>
                  <a:lnTo>
                    <a:pt x="178" y="206"/>
                  </a:lnTo>
                  <a:lnTo>
                    <a:pt x="183" y="206"/>
                  </a:lnTo>
                  <a:lnTo>
                    <a:pt x="187" y="206"/>
                  </a:lnTo>
                  <a:lnTo>
                    <a:pt x="192" y="206"/>
                  </a:lnTo>
                  <a:lnTo>
                    <a:pt x="196" y="210"/>
                  </a:lnTo>
                  <a:lnTo>
                    <a:pt x="210" y="210"/>
                  </a:lnTo>
                  <a:lnTo>
                    <a:pt x="215" y="210"/>
                  </a:lnTo>
                  <a:lnTo>
                    <a:pt x="215" y="210"/>
                  </a:lnTo>
                  <a:lnTo>
                    <a:pt x="228" y="210"/>
                  </a:lnTo>
                  <a:lnTo>
                    <a:pt x="233" y="210"/>
                  </a:lnTo>
                  <a:lnTo>
                    <a:pt x="237" y="210"/>
                  </a:lnTo>
                  <a:lnTo>
                    <a:pt x="242" y="210"/>
                  </a:lnTo>
                  <a:lnTo>
                    <a:pt x="251" y="210"/>
                  </a:lnTo>
                  <a:lnTo>
                    <a:pt x="260" y="210"/>
                  </a:lnTo>
                  <a:lnTo>
                    <a:pt x="265" y="210"/>
                  </a:lnTo>
                  <a:lnTo>
                    <a:pt x="269" y="210"/>
                  </a:lnTo>
                  <a:lnTo>
                    <a:pt x="274" y="210"/>
                  </a:lnTo>
                  <a:lnTo>
                    <a:pt x="283" y="210"/>
                  </a:lnTo>
                  <a:lnTo>
                    <a:pt x="288" y="215"/>
                  </a:lnTo>
                  <a:lnTo>
                    <a:pt x="288" y="215"/>
                  </a:lnTo>
                  <a:lnTo>
                    <a:pt x="292" y="215"/>
                  </a:lnTo>
                  <a:lnTo>
                    <a:pt x="292" y="210"/>
                  </a:lnTo>
                  <a:lnTo>
                    <a:pt x="301" y="215"/>
                  </a:lnTo>
                  <a:lnTo>
                    <a:pt x="301" y="215"/>
                  </a:lnTo>
                  <a:lnTo>
                    <a:pt x="306" y="210"/>
                  </a:lnTo>
                  <a:lnTo>
                    <a:pt x="311" y="210"/>
                  </a:lnTo>
                  <a:lnTo>
                    <a:pt x="315" y="215"/>
                  </a:lnTo>
                  <a:lnTo>
                    <a:pt x="320" y="215"/>
                  </a:lnTo>
                  <a:lnTo>
                    <a:pt x="329" y="219"/>
                  </a:lnTo>
                  <a:lnTo>
                    <a:pt x="333" y="219"/>
                  </a:lnTo>
                  <a:lnTo>
                    <a:pt x="343" y="215"/>
                  </a:lnTo>
                  <a:lnTo>
                    <a:pt x="347" y="219"/>
                  </a:lnTo>
                  <a:lnTo>
                    <a:pt x="347" y="224"/>
                  </a:lnTo>
                  <a:lnTo>
                    <a:pt x="347" y="229"/>
                  </a:lnTo>
                  <a:lnTo>
                    <a:pt x="347" y="233"/>
                  </a:lnTo>
                  <a:lnTo>
                    <a:pt x="347" y="256"/>
                  </a:lnTo>
                  <a:lnTo>
                    <a:pt x="347" y="261"/>
                  </a:lnTo>
                  <a:lnTo>
                    <a:pt x="347" y="270"/>
                  </a:lnTo>
                  <a:lnTo>
                    <a:pt x="347" y="274"/>
                  </a:lnTo>
                  <a:lnTo>
                    <a:pt x="347" y="274"/>
                  </a:lnTo>
                  <a:lnTo>
                    <a:pt x="343" y="274"/>
                  </a:lnTo>
                  <a:lnTo>
                    <a:pt x="343" y="279"/>
                  </a:lnTo>
                  <a:lnTo>
                    <a:pt x="343" y="283"/>
                  </a:lnTo>
                  <a:lnTo>
                    <a:pt x="343" y="288"/>
                  </a:lnTo>
                  <a:lnTo>
                    <a:pt x="338" y="288"/>
                  </a:lnTo>
                  <a:lnTo>
                    <a:pt x="333" y="293"/>
                  </a:lnTo>
                  <a:lnTo>
                    <a:pt x="324" y="293"/>
                  </a:lnTo>
                  <a:lnTo>
                    <a:pt x="324" y="293"/>
                  </a:lnTo>
                  <a:lnTo>
                    <a:pt x="320" y="293"/>
                  </a:lnTo>
                  <a:lnTo>
                    <a:pt x="315" y="297"/>
                  </a:lnTo>
                  <a:lnTo>
                    <a:pt x="315" y="302"/>
                  </a:lnTo>
                  <a:lnTo>
                    <a:pt x="315" y="302"/>
                  </a:lnTo>
                  <a:lnTo>
                    <a:pt x="315" y="306"/>
                  </a:lnTo>
                  <a:lnTo>
                    <a:pt x="311" y="311"/>
                  </a:lnTo>
                  <a:lnTo>
                    <a:pt x="311" y="315"/>
                  </a:lnTo>
                  <a:lnTo>
                    <a:pt x="306" y="320"/>
                  </a:lnTo>
                  <a:lnTo>
                    <a:pt x="306" y="325"/>
                  </a:lnTo>
                  <a:lnTo>
                    <a:pt x="311" y="329"/>
                  </a:lnTo>
                  <a:lnTo>
                    <a:pt x="311" y="334"/>
                  </a:lnTo>
                  <a:lnTo>
                    <a:pt x="315" y="334"/>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endPar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endParaRP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Rivers</a:t>
              </a:r>
            </a:p>
          </p:txBody>
        </p:sp>
        <p:sp>
          <p:nvSpPr>
            <p:cNvPr id="157" name="Freeform 76">
              <a:extLst>
                <a:ext uri="{FF2B5EF4-FFF2-40B4-BE49-F238E27FC236}">
                  <a16:creationId xmlns:a16="http://schemas.microsoft.com/office/drawing/2014/main" id="{6D81DE6C-1D6B-402A-AA90-EDA4DF237B22}"/>
                </a:ext>
              </a:extLst>
            </p:cNvPr>
            <p:cNvSpPr>
              <a:spLocks/>
            </p:cNvSpPr>
            <p:nvPr>
              <p:custDataLst>
                <p:tags r:id="rId69"/>
              </p:custDataLst>
            </p:nvPr>
          </p:nvSpPr>
          <p:spPr bwMode="auto">
            <a:xfrm>
              <a:off x="619123" y="807325"/>
              <a:ext cx="897936" cy="715860"/>
            </a:xfrm>
            <a:custGeom>
              <a:avLst/>
              <a:gdLst/>
              <a:ahLst/>
              <a:cxnLst>
                <a:cxn ang="0">
                  <a:pos x="374" y="617"/>
                </a:cxn>
                <a:cxn ang="0">
                  <a:pos x="306" y="635"/>
                </a:cxn>
                <a:cxn ang="0">
                  <a:pos x="242" y="676"/>
                </a:cxn>
                <a:cxn ang="0">
                  <a:pos x="192" y="704"/>
                </a:cxn>
                <a:cxn ang="0">
                  <a:pos x="169" y="690"/>
                </a:cxn>
                <a:cxn ang="0">
                  <a:pos x="169" y="608"/>
                </a:cxn>
                <a:cxn ang="0">
                  <a:pos x="196" y="557"/>
                </a:cxn>
                <a:cxn ang="0">
                  <a:pos x="242" y="567"/>
                </a:cxn>
                <a:cxn ang="0">
                  <a:pos x="246" y="489"/>
                </a:cxn>
                <a:cxn ang="0">
                  <a:pos x="246" y="443"/>
                </a:cxn>
                <a:cxn ang="0">
                  <a:pos x="242" y="384"/>
                </a:cxn>
                <a:cxn ang="0">
                  <a:pos x="228" y="361"/>
                </a:cxn>
                <a:cxn ang="0">
                  <a:pos x="242" y="329"/>
                </a:cxn>
                <a:cxn ang="0">
                  <a:pos x="251" y="297"/>
                </a:cxn>
                <a:cxn ang="0">
                  <a:pos x="242" y="283"/>
                </a:cxn>
                <a:cxn ang="0">
                  <a:pos x="219" y="301"/>
                </a:cxn>
                <a:cxn ang="0">
                  <a:pos x="201" y="311"/>
                </a:cxn>
                <a:cxn ang="0">
                  <a:pos x="178" y="301"/>
                </a:cxn>
                <a:cxn ang="0">
                  <a:pos x="155" y="292"/>
                </a:cxn>
                <a:cxn ang="0">
                  <a:pos x="123" y="283"/>
                </a:cxn>
                <a:cxn ang="0">
                  <a:pos x="105" y="260"/>
                </a:cxn>
                <a:cxn ang="0">
                  <a:pos x="86" y="256"/>
                </a:cxn>
                <a:cxn ang="0">
                  <a:pos x="68" y="237"/>
                </a:cxn>
                <a:cxn ang="0">
                  <a:pos x="54" y="247"/>
                </a:cxn>
                <a:cxn ang="0">
                  <a:pos x="0" y="215"/>
                </a:cxn>
                <a:cxn ang="0">
                  <a:pos x="0" y="160"/>
                </a:cxn>
                <a:cxn ang="0">
                  <a:pos x="45" y="141"/>
                </a:cxn>
                <a:cxn ang="0">
                  <a:pos x="105" y="91"/>
                </a:cxn>
                <a:cxn ang="0">
                  <a:pos x="132" y="68"/>
                </a:cxn>
                <a:cxn ang="0">
                  <a:pos x="173" y="64"/>
                </a:cxn>
                <a:cxn ang="0">
                  <a:pos x="219" y="55"/>
                </a:cxn>
                <a:cxn ang="0">
                  <a:pos x="274" y="45"/>
                </a:cxn>
                <a:cxn ang="0">
                  <a:pos x="320" y="55"/>
                </a:cxn>
                <a:cxn ang="0">
                  <a:pos x="352" y="55"/>
                </a:cxn>
                <a:cxn ang="0">
                  <a:pos x="393" y="55"/>
                </a:cxn>
                <a:cxn ang="0">
                  <a:pos x="425" y="55"/>
                </a:cxn>
                <a:cxn ang="0">
                  <a:pos x="466" y="18"/>
                </a:cxn>
                <a:cxn ang="0">
                  <a:pos x="516" y="4"/>
                </a:cxn>
                <a:cxn ang="0">
                  <a:pos x="566" y="18"/>
                </a:cxn>
                <a:cxn ang="0">
                  <a:pos x="649" y="50"/>
                </a:cxn>
                <a:cxn ang="0">
                  <a:pos x="713" y="68"/>
                </a:cxn>
                <a:cxn ang="0">
                  <a:pos x="768" y="96"/>
                </a:cxn>
                <a:cxn ang="0">
                  <a:pos x="795" y="87"/>
                </a:cxn>
                <a:cxn ang="0">
                  <a:pos x="822" y="87"/>
                </a:cxn>
                <a:cxn ang="0">
                  <a:pos x="868" y="109"/>
                </a:cxn>
                <a:cxn ang="0">
                  <a:pos x="928" y="164"/>
                </a:cxn>
                <a:cxn ang="0">
                  <a:pos x="969" y="210"/>
                </a:cxn>
                <a:cxn ang="0">
                  <a:pos x="987" y="237"/>
                </a:cxn>
                <a:cxn ang="0">
                  <a:pos x="1010" y="279"/>
                </a:cxn>
                <a:cxn ang="0">
                  <a:pos x="850" y="324"/>
                </a:cxn>
                <a:cxn ang="0">
                  <a:pos x="749" y="365"/>
                </a:cxn>
                <a:cxn ang="0">
                  <a:pos x="722" y="411"/>
                </a:cxn>
                <a:cxn ang="0">
                  <a:pos x="635" y="434"/>
                </a:cxn>
                <a:cxn ang="0">
                  <a:pos x="571" y="461"/>
                </a:cxn>
                <a:cxn ang="0">
                  <a:pos x="516" y="525"/>
                </a:cxn>
                <a:cxn ang="0">
                  <a:pos x="534" y="599"/>
                </a:cxn>
                <a:cxn ang="0">
                  <a:pos x="461" y="612"/>
                </a:cxn>
              </a:cxnLst>
              <a:rect l="0" t="0" r="r" b="b"/>
              <a:pathLst>
                <a:path w="1028" h="708">
                  <a:moveTo>
                    <a:pt x="438" y="612"/>
                  </a:moveTo>
                  <a:lnTo>
                    <a:pt x="434" y="612"/>
                  </a:lnTo>
                  <a:lnTo>
                    <a:pt x="416" y="617"/>
                  </a:lnTo>
                  <a:lnTo>
                    <a:pt x="402" y="617"/>
                  </a:lnTo>
                  <a:lnTo>
                    <a:pt x="388" y="617"/>
                  </a:lnTo>
                  <a:lnTo>
                    <a:pt x="374" y="617"/>
                  </a:lnTo>
                  <a:lnTo>
                    <a:pt x="370" y="617"/>
                  </a:lnTo>
                  <a:lnTo>
                    <a:pt x="361" y="621"/>
                  </a:lnTo>
                  <a:lnTo>
                    <a:pt x="352" y="631"/>
                  </a:lnTo>
                  <a:lnTo>
                    <a:pt x="329" y="635"/>
                  </a:lnTo>
                  <a:lnTo>
                    <a:pt x="320" y="635"/>
                  </a:lnTo>
                  <a:lnTo>
                    <a:pt x="306" y="635"/>
                  </a:lnTo>
                  <a:lnTo>
                    <a:pt x="297" y="635"/>
                  </a:lnTo>
                  <a:lnTo>
                    <a:pt x="283" y="640"/>
                  </a:lnTo>
                  <a:lnTo>
                    <a:pt x="269" y="649"/>
                  </a:lnTo>
                  <a:lnTo>
                    <a:pt x="260" y="653"/>
                  </a:lnTo>
                  <a:lnTo>
                    <a:pt x="246" y="667"/>
                  </a:lnTo>
                  <a:lnTo>
                    <a:pt x="242" y="676"/>
                  </a:lnTo>
                  <a:lnTo>
                    <a:pt x="228" y="685"/>
                  </a:lnTo>
                  <a:lnTo>
                    <a:pt x="219" y="695"/>
                  </a:lnTo>
                  <a:lnTo>
                    <a:pt x="210" y="699"/>
                  </a:lnTo>
                  <a:lnTo>
                    <a:pt x="196" y="699"/>
                  </a:lnTo>
                  <a:lnTo>
                    <a:pt x="196" y="699"/>
                  </a:lnTo>
                  <a:lnTo>
                    <a:pt x="192" y="704"/>
                  </a:lnTo>
                  <a:lnTo>
                    <a:pt x="187" y="708"/>
                  </a:lnTo>
                  <a:lnTo>
                    <a:pt x="178" y="708"/>
                  </a:lnTo>
                  <a:lnTo>
                    <a:pt x="178" y="708"/>
                  </a:lnTo>
                  <a:lnTo>
                    <a:pt x="173" y="708"/>
                  </a:lnTo>
                  <a:lnTo>
                    <a:pt x="169" y="708"/>
                  </a:lnTo>
                  <a:lnTo>
                    <a:pt x="169" y="690"/>
                  </a:lnTo>
                  <a:lnTo>
                    <a:pt x="164" y="676"/>
                  </a:lnTo>
                  <a:lnTo>
                    <a:pt x="164" y="658"/>
                  </a:lnTo>
                  <a:lnTo>
                    <a:pt x="164" y="640"/>
                  </a:lnTo>
                  <a:lnTo>
                    <a:pt x="164" y="621"/>
                  </a:lnTo>
                  <a:lnTo>
                    <a:pt x="169" y="608"/>
                  </a:lnTo>
                  <a:lnTo>
                    <a:pt x="169" y="608"/>
                  </a:lnTo>
                  <a:lnTo>
                    <a:pt x="164" y="589"/>
                  </a:lnTo>
                  <a:lnTo>
                    <a:pt x="169" y="580"/>
                  </a:lnTo>
                  <a:lnTo>
                    <a:pt x="173" y="576"/>
                  </a:lnTo>
                  <a:lnTo>
                    <a:pt x="178" y="567"/>
                  </a:lnTo>
                  <a:lnTo>
                    <a:pt x="187" y="562"/>
                  </a:lnTo>
                  <a:lnTo>
                    <a:pt x="196" y="557"/>
                  </a:lnTo>
                  <a:lnTo>
                    <a:pt x="205" y="553"/>
                  </a:lnTo>
                  <a:lnTo>
                    <a:pt x="219" y="548"/>
                  </a:lnTo>
                  <a:lnTo>
                    <a:pt x="228" y="553"/>
                  </a:lnTo>
                  <a:lnTo>
                    <a:pt x="237" y="562"/>
                  </a:lnTo>
                  <a:lnTo>
                    <a:pt x="242" y="567"/>
                  </a:lnTo>
                  <a:lnTo>
                    <a:pt x="242" y="567"/>
                  </a:lnTo>
                  <a:lnTo>
                    <a:pt x="246" y="562"/>
                  </a:lnTo>
                  <a:lnTo>
                    <a:pt x="246" y="548"/>
                  </a:lnTo>
                  <a:lnTo>
                    <a:pt x="251" y="535"/>
                  </a:lnTo>
                  <a:lnTo>
                    <a:pt x="251" y="521"/>
                  </a:lnTo>
                  <a:lnTo>
                    <a:pt x="251" y="503"/>
                  </a:lnTo>
                  <a:lnTo>
                    <a:pt x="246" y="489"/>
                  </a:lnTo>
                  <a:lnTo>
                    <a:pt x="242" y="480"/>
                  </a:lnTo>
                  <a:lnTo>
                    <a:pt x="242" y="475"/>
                  </a:lnTo>
                  <a:lnTo>
                    <a:pt x="242" y="466"/>
                  </a:lnTo>
                  <a:lnTo>
                    <a:pt x="242" y="457"/>
                  </a:lnTo>
                  <a:lnTo>
                    <a:pt x="242" y="452"/>
                  </a:lnTo>
                  <a:lnTo>
                    <a:pt x="246" y="443"/>
                  </a:lnTo>
                  <a:lnTo>
                    <a:pt x="246" y="434"/>
                  </a:lnTo>
                  <a:lnTo>
                    <a:pt x="251" y="420"/>
                  </a:lnTo>
                  <a:lnTo>
                    <a:pt x="246" y="411"/>
                  </a:lnTo>
                  <a:lnTo>
                    <a:pt x="246" y="397"/>
                  </a:lnTo>
                  <a:lnTo>
                    <a:pt x="246" y="393"/>
                  </a:lnTo>
                  <a:lnTo>
                    <a:pt x="242" y="384"/>
                  </a:lnTo>
                  <a:lnTo>
                    <a:pt x="237" y="379"/>
                  </a:lnTo>
                  <a:lnTo>
                    <a:pt x="233" y="375"/>
                  </a:lnTo>
                  <a:lnTo>
                    <a:pt x="228" y="370"/>
                  </a:lnTo>
                  <a:lnTo>
                    <a:pt x="228" y="370"/>
                  </a:lnTo>
                  <a:lnTo>
                    <a:pt x="228" y="365"/>
                  </a:lnTo>
                  <a:lnTo>
                    <a:pt x="228" y="361"/>
                  </a:lnTo>
                  <a:lnTo>
                    <a:pt x="228" y="356"/>
                  </a:lnTo>
                  <a:lnTo>
                    <a:pt x="233" y="352"/>
                  </a:lnTo>
                  <a:lnTo>
                    <a:pt x="233" y="347"/>
                  </a:lnTo>
                  <a:lnTo>
                    <a:pt x="237" y="347"/>
                  </a:lnTo>
                  <a:lnTo>
                    <a:pt x="242" y="338"/>
                  </a:lnTo>
                  <a:lnTo>
                    <a:pt x="242" y="329"/>
                  </a:lnTo>
                  <a:lnTo>
                    <a:pt x="242" y="324"/>
                  </a:lnTo>
                  <a:lnTo>
                    <a:pt x="242" y="320"/>
                  </a:lnTo>
                  <a:lnTo>
                    <a:pt x="242" y="315"/>
                  </a:lnTo>
                  <a:lnTo>
                    <a:pt x="246" y="306"/>
                  </a:lnTo>
                  <a:lnTo>
                    <a:pt x="251" y="301"/>
                  </a:lnTo>
                  <a:lnTo>
                    <a:pt x="251" y="297"/>
                  </a:lnTo>
                  <a:lnTo>
                    <a:pt x="251" y="292"/>
                  </a:lnTo>
                  <a:lnTo>
                    <a:pt x="251" y="288"/>
                  </a:lnTo>
                  <a:lnTo>
                    <a:pt x="246" y="283"/>
                  </a:lnTo>
                  <a:lnTo>
                    <a:pt x="246" y="283"/>
                  </a:lnTo>
                  <a:lnTo>
                    <a:pt x="242" y="283"/>
                  </a:lnTo>
                  <a:lnTo>
                    <a:pt x="242" y="283"/>
                  </a:lnTo>
                  <a:lnTo>
                    <a:pt x="237" y="283"/>
                  </a:lnTo>
                  <a:lnTo>
                    <a:pt x="228" y="288"/>
                  </a:lnTo>
                  <a:lnTo>
                    <a:pt x="224" y="292"/>
                  </a:lnTo>
                  <a:lnTo>
                    <a:pt x="224" y="297"/>
                  </a:lnTo>
                  <a:lnTo>
                    <a:pt x="219" y="297"/>
                  </a:lnTo>
                  <a:lnTo>
                    <a:pt x="219" y="301"/>
                  </a:lnTo>
                  <a:lnTo>
                    <a:pt x="219" y="306"/>
                  </a:lnTo>
                  <a:lnTo>
                    <a:pt x="219" y="306"/>
                  </a:lnTo>
                  <a:lnTo>
                    <a:pt x="214" y="306"/>
                  </a:lnTo>
                  <a:lnTo>
                    <a:pt x="210" y="311"/>
                  </a:lnTo>
                  <a:lnTo>
                    <a:pt x="205" y="311"/>
                  </a:lnTo>
                  <a:lnTo>
                    <a:pt x="201" y="311"/>
                  </a:lnTo>
                  <a:lnTo>
                    <a:pt x="196" y="311"/>
                  </a:lnTo>
                  <a:lnTo>
                    <a:pt x="192" y="311"/>
                  </a:lnTo>
                  <a:lnTo>
                    <a:pt x="187" y="306"/>
                  </a:lnTo>
                  <a:lnTo>
                    <a:pt x="182" y="306"/>
                  </a:lnTo>
                  <a:lnTo>
                    <a:pt x="178" y="301"/>
                  </a:lnTo>
                  <a:lnTo>
                    <a:pt x="178" y="301"/>
                  </a:lnTo>
                  <a:lnTo>
                    <a:pt x="173" y="297"/>
                  </a:lnTo>
                  <a:lnTo>
                    <a:pt x="169" y="297"/>
                  </a:lnTo>
                  <a:lnTo>
                    <a:pt x="164" y="297"/>
                  </a:lnTo>
                  <a:lnTo>
                    <a:pt x="164" y="292"/>
                  </a:lnTo>
                  <a:lnTo>
                    <a:pt x="160" y="292"/>
                  </a:lnTo>
                  <a:lnTo>
                    <a:pt x="155" y="292"/>
                  </a:lnTo>
                  <a:lnTo>
                    <a:pt x="150" y="288"/>
                  </a:lnTo>
                  <a:lnTo>
                    <a:pt x="146" y="288"/>
                  </a:lnTo>
                  <a:lnTo>
                    <a:pt x="132" y="288"/>
                  </a:lnTo>
                  <a:lnTo>
                    <a:pt x="132" y="283"/>
                  </a:lnTo>
                  <a:lnTo>
                    <a:pt x="128" y="283"/>
                  </a:lnTo>
                  <a:lnTo>
                    <a:pt x="123" y="283"/>
                  </a:lnTo>
                  <a:lnTo>
                    <a:pt x="118" y="283"/>
                  </a:lnTo>
                  <a:lnTo>
                    <a:pt x="114" y="279"/>
                  </a:lnTo>
                  <a:lnTo>
                    <a:pt x="114" y="274"/>
                  </a:lnTo>
                  <a:lnTo>
                    <a:pt x="109" y="274"/>
                  </a:lnTo>
                  <a:lnTo>
                    <a:pt x="109" y="265"/>
                  </a:lnTo>
                  <a:lnTo>
                    <a:pt x="105" y="260"/>
                  </a:lnTo>
                  <a:lnTo>
                    <a:pt x="100" y="260"/>
                  </a:lnTo>
                  <a:lnTo>
                    <a:pt x="100" y="260"/>
                  </a:lnTo>
                  <a:lnTo>
                    <a:pt x="91" y="260"/>
                  </a:lnTo>
                  <a:lnTo>
                    <a:pt x="86" y="260"/>
                  </a:lnTo>
                  <a:lnTo>
                    <a:pt x="86" y="256"/>
                  </a:lnTo>
                  <a:lnTo>
                    <a:pt x="86" y="256"/>
                  </a:lnTo>
                  <a:lnTo>
                    <a:pt x="82" y="251"/>
                  </a:lnTo>
                  <a:lnTo>
                    <a:pt x="82" y="247"/>
                  </a:lnTo>
                  <a:lnTo>
                    <a:pt x="77" y="247"/>
                  </a:lnTo>
                  <a:lnTo>
                    <a:pt x="77" y="242"/>
                  </a:lnTo>
                  <a:lnTo>
                    <a:pt x="73" y="242"/>
                  </a:lnTo>
                  <a:lnTo>
                    <a:pt x="68" y="237"/>
                  </a:lnTo>
                  <a:lnTo>
                    <a:pt x="68" y="242"/>
                  </a:lnTo>
                  <a:lnTo>
                    <a:pt x="68" y="242"/>
                  </a:lnTo>
                  <a:lnTo>
                    <a:pt x="64" y="242"/>
                  </a:lnTo>
                  <a:lnTo>
                    <a:pt x="64" y="247"/>
                  </a:lnTo>
                  <a:lnTo>
                    <a:pt x="59" y="247"/>
                  </a:lnTo>
                  <a:lnTo>
                    <a:pt x="54" y="247"/>
                  </a:lnTo>
                  <a:lnTo>
                    <a:pt x="50" y="247"/>
                  </a:lnTo>
                  <a:lnTo>
                    <a:pt x="41" y="247"/>
                  </a:lnTo>
                  <a:lnTo>
                    <a:pt x="32" y="247"/>
                  </a:lnTo>
                  <a:lnTo>
                    <a:pt x="27" y="247"/>
                  </a:lnTo>
                  <a:lnTo>
                    <a:pt x="0" y="247"/>
                  </a:lnTo>
                  <a:lnTo>
                    <a:pt x="0" y="215"/>
                  </a:lnTo>
                  <a:lnTo>
                    <a:pt x="0" y="210"/>
                  </a:lnTo>
                  <a:lnTo>
                    <a:pt x="0" y="196"/>
                  </a:lnTo>
                  <a:lnTo>
                    <a:pt x="0" y="173"/>
                  </a:lnTo>
                  <a:lnTo>
                    <a:pt x="0" y="169"/>
                  </a:lnTo>
                  <a:lnTo>
                    <a:pt x="0" y="160"/>
                  </a:lnTo>
                  <a:lnTo>
                    <a:pt x="0" y="160"/>
                  </a:lnTo>
                  <a:lnTo>
                    <a:pt x="18" y="160"/>
                  </a:lnTo>
                  <a:lnTo>
                    <a:pt x="22" y="160"/>
                  </a:lnTo>
                  <a:lnTo>
                    <a:pt x="27" y="160"/>
                  </a:lnTo>
                  <a:lnTo>
                    <a:pt x="27" y="160"/>
                  </a:lnTo>
                  <a:lnTo>
                    <a:pt x="32" y="155"/>
                  </a:lnTo>
                  <a:lnTo>
                    <a:pt x="45" y="141"/>
                  </a:lnTo>
                  <a:lnTo>
                    <a:pt x="64" y="128"/>
                  </a:lnTo>
                  <a:lnTo>
                    <a:pt x="68" y="123"/>
                  </a:lnTo>
                  <a:lnTo>
                    <a:pt x="73" y="119"/>
                  </a:lnTo>
                  <a:lnTo>
                    <a:pt x="77" y="119"/>
                  </a:lnTo>
                  <a:lnTo>
                    <a:pt x="86" y="109"/>
                  </a:lnTo>
                  <a:lnTo>
                    <a:pt x="105" y="91"/>
                  </a:lnTo>
                  <a:lnTo>
                    <a:pt x="109" y="91"/>
                  </a:lnTo>
                  <a:lnTo>
                    <a:pt x="118" y="82"/>
                  </a:lnTo>
                  <a:lnTo>
                    <a:pt x="128" y="73"/>
                  </a:lnTo>
                  <a:lnTo>
                    <a:pt x="128" y="73"/>
                  </a:lnTo>
                  <a:lnTo>
                    <a:pt x="132" y="73"/>
                  </a:lnTo>
                  <a:lnTo>
                    <a:pt x="132" y="68"/>
                  </a:lnTo>
                  <a:lnTo>
                    <a:pt x="141" y="68"/>
                  </a:lnTo>
                  <a:lnTo>
                    <a:pt x="155" y="68"/>
                  </a:lnTo>
                  <a:lnTo>
                    <a:pt x="160" y="64"/>
                  </a:lnTo>
                  <a:lnTo>
                    <a:pt x="164" y="64"/>
                  </a:lnTo>
                  <a:lnTo>
                    <a:pt x="169" y="64"/>
                  </a:lnTo>
                  <a:lnTo>
                    <a:pt x="173" y="64"/>
                  </a:lnTo>
                  <a:lnTo>
                    <a:pt x="178" y="64"/>
                  </a:lnTo>
                  <a:lnTo>
                    <a:pt x="178" y="64"/>
                  </a:lnTo>
                  <a:lnTo>
                    <a:pt x="187" y="59"/>
                  </a:lnTo>
                  <a:lnTo>
                    <a:pt x="192" y="59"/>
                  </a:lnTo>
                  <a:lnTo>
                    <a:pt x="205" y="55"/>
                  </a:lnTo>
                  <a:lnTo>
                    <a:pt x="219" y="55"/>
                  </a:lnTo>
                  <a:lnTo>
                    <a:pt x="228" y="55"/>
                  </a:lnTo>
                  <a:lnTo>
                    <a:pt x="233" y="50"/>
                  </a:lnTo>
                  <a:lnTo>
                    <a:pt x="237" y="50"/>
                  </a:lnTo>
                  <a:lnTo>
                    <a:pt x="246" y="50"/>
                  </a:lnTo>
                  <a:lnTo>
                    <a:pt x="251" y="50"/>
                  </a:lnTo>
                  <a:lnTo>
                    <a:pt x="274" y="45"/>
                  </a:lnTo>
                  <a:lnTo>
                    <a:pt x="283" y="41"/>
                  </a:lnTo>
                  <a:lnTo>
                    <a:pt x="283" y="45"/>
                  </a:lnTo>
                  <a:lnTo>
                    <a:pt x="292" y="55"/>
                  </a:lnTo>
                  <a:lnTo>
                    <a:pt x="297" y="55"/>
                  </a:lnTo>
                  <a:lnTo>
                    <a:pt x="310" y="55"/>
                  </a:lnTo>
                  <a:lnTo>
                    <a:pt x="320" y="55"/>
                  </a:lnTo>
                  <a:lnTo>
                    <a:pt x="324" y="59"/>
                  </a:lnTo>
                  <a:lnTo>
                    <a:pt x="329" y="59"/>
                  </a:lnTo>
                  <a:lnTo>
                    <a:pt x="333" y="59"/>
                  </a:lnTo>
                  <a:lnTo>
                    <a:pt x="333" y="59"/>
                  </a:lnTo>
                  <a:lnTo>
                    <a:pt x="342" y="55"/>
                  </a:lnTo>
                  <a:lnTo>
                    <a:pt x="352" y="55"/>
                  </a:lnTo>
                  <a:lnTo>
                    <a:pt x="365" y="55"/>
                  </a:lnTo>
                  <a:lnTo>
                    <a:pt x="370" y="55"/>
                  </a:lnTo>
                  <a:lnTo>
                    <a:pt x="379" y="55"/>
                  </a:lnTo>
                  <a:lnTo>
                    <a:pt x="384" y="55"/>
                  </a:lnTo>
                  <a:lnTo>
                    <a:pt x="388" y="55"/>
                  </a:lnTo>
                  <a:lnTo>
                    <a:pt x="393" y="55"/>
                  </a:lnTo>
                  <a:lnTo>
                    <a:pt x="397" y="55"/>
                  </a:lnTo>
                  <a:lnTo>
                    <a:pt x="397" y="55"/>
                  </a:lnTo>
                  <a:lnTo>
                    <a:pt x="402" y="55"/>
                  </a:lnTo>
                  <a:lnTo>
                    <a:pt x="406" y="55"/>
                  </a:lnTo>
                  <a:lnTo>
                    <a:pt x="420" y="55"/>
                  </a:lnTo>
                  <a:lnTo>
                    <a:pt x="425" y="55"/>
                  </a:lnTo>
                  <a:lnTo>
                    <a:pt x="434" y="55"/>
                  </a:lnTo>
                  <a:lnTo>
                    <a:pt x="438" y="50"/>
                  </a:lnTo>
                  <a:lnTo>
                    <a:pt x="443" y="45"/>
                  </a:lnTo>
                  <a:lnTo>
                    <a:pt x="448" y="36"/>
                  </a:lnTo>
                  <a:lnTo>
                    <a:pt x="461" y="23"/>
                  </a:lnTo>
                  <a:lnTo>
                    <a:pt x="466" y="18"/>
                  </a:lnTo>
                  <a:lnTo>
                    <a:pt x="489" y="13"/>
                  </a:lnTo>
                  <a:lnTo>
                    <a:pt x="498" y="9"/>
                  </a:lnTo>
                  <a:lnTo>
                    <a:pt x="502" y="9"/>
                  </a:lnTo>
                  <a:lnTo>
                    <a:pt x="502" y="9"/>
                  </a:lnTo>
                  <a:lnTo>
                    <a:pt x="502" y="9"/>
                  </a:lnTo>
                  <a:lnTo>
                    <a:pt x="516" y="4"/>
                  </a:lnTo>
                  <a:lnTo>
                    <a:pt x="516" y="4"/>
                  </a:lnTo>
                  <a:lnTo>
                    <a:pt x="530" y="0"/>
                  </a:lnTo>
                  <a:lnTo>
                    <a:pt x="534" y="4"/>
                  </a:lnTo>
                  <a:lnTo>
                    <a:pt x="553" y="9"/>
                  </a:lnTo>
                  <a:lnTo>
                    <a:pt x="562" y="13"/>
                  </a:lnTo>
                  <a:lnTo>
                    <a:pt x="566" y="18"/>
                  </a:lnTo>
                  <a:lnTo>
                    <a:pt x="608" y="36"/>
                  </a:lnTo>
                  <a:lnTo>
                    <a:pt x="608" y="36"/>
                  </a:lnTo>
                  <a:lnTo>
                    <a:pt x="612" y="36"/>
                  </a:lnTo>
                  <a:lnTo>
                    <a:pt x="617" y="36"/>
                  </a:lnTo>
                  <a:lnTo>
                    <a:pt x="635" y="45"/>
                  </a:lnTo>
                  <a:lnTo>
                    <a:pt x="649" y="50"/>
                  </a:lnTo>
                  <a:lnTo>
                    <a:pt x="662" y="55"/>
                  </a:lnTo>
                  <a:lnTo>
                    <a:pt x="667" y="55"/>
                  </a:lnTo>
                  <a:lnTo>
                    <a:pt x="676" y="59"/>
                  </a:lnTo>
                  <a:lnTo>
                    <a:pt x="704" y="68"/>
                  </a:lnTo>
                  <a:lnTo>
                    <a:pt x="704" y="68"/>
                  </a:lnTo>
                  <a:lnTo>
                    <a:pt x="713" y="68"/>
                  </a:lnTo>
                  <a:lnTo>
                    <a:pt x="717" y="73"/>
                  </a:lnTo>
                  <a:lnTo>
                    <a:pt x="726" y="77"/>
                  </a:lnTo>
                  <a:lnTo>
                    <a:pt x="740" y="82"/>
                  </a:lnTo>
                  <a:lnTo>
                    <a:pt x="754" y="91"/>
                  </a:lnTo>
                  <a:lnTo>
                    <a:pt x="763" y="91"/>
                  </a:lnTo>
                  <a:lnTo>
                    <a:pt x="768" y="96"/>
                  </a:lnTo>
                  <a:lnTo>
                    <a:pt x="768" y="96"/>
                  </a:lnTo>
                  <a:lnTo>
                    <a:pt x="768" y="96"/>
                  </a:lnTo>
                  <a:lnTo>
                    <a:pt x="777" y="91"/>
                  </a:lnTo>
                  <a:lnTo>
                    <a:pt x="781" y="91"/>
                  </a:lnTo>
                  <a:lnTo>
                    <a:pt x="786" y="87"/>
                  </a:lnTo>
                  <a:lnTo>
                    <a:pt x="795" y="87"/>
                  </a:lnTo>
                  <a:lnTo>
                    <a:pt x="809" y="87"/>
                  </a:lnTo>
                  <a:lnTo>
                    <a:pt x="809" y="87"/>
                  </a:lnTo>
                  <a:lnTo>
                    <a:pt x="809" y="87"/>
                  </a:lnTo>
                  <a:lnTo>
                    <a:pt x="818" y="87"/>
                  </a:lnTo>
                  <a:lnTo>
                    <a:pt x="822" y="87"/>
                  </a:lnTo>
                  <a:lnTo>
                    <a:pt x="822" y="87"/>
                  </a:lnTo>
                  <a:lnTo>
                    <a:pt x="827" y="91"/>
                  </a:lnTo>
                  <a:lnTo>
                    <a:pt x="827" y="91"/>
                  </a:lnTo>
                  <a:lnTo>
                    <a:pt x="841" y="96"/>
                  </a:lnTo>
                  <a:lnTo>
                    <a:pt x="864" y="109"/>
                  </a:lnTo>
                  <a:lnTo>
                    <a:pt x="868" y="109"/>
                  </a:lnTo>
                  <a:lnTo>
                    <a:pt x="868" y="109"/>
                  </a:lnTo>
                  <a:lnTo>
                    <a:pt x="868" y="109"/>
                  </a:lnTo>
                  <a:lnTo>
                    <a:pt x="873" y="114"/>
                  </a:lnTo>
                  <a:lnTo>
                    <a:pt x="882" y="119"/>
                  </a:lnTo>
                  <a:lnTo>
                    <a:pt x="896" y="137"/>
                  </a:lnTo>
                  <a:lnTo>
                    <a:pt x="923" y="160"/>
                  </a:lnTo>
                  <a:lnTo>
                    <a:pt x="928" y="164"/>
                  </a:lnTo>
                  <a:lnTo>
                    <a:pt x="928" y="169"/>
                  </a:lnTo>
                  <a:lnTo>
                    <a:pt x="950" y="187"/>
                  </a:lnTo>
                  <a:lnTo>
                    <a:pt x="955" y="196"/>
                  </a:lnTo>
                  <a:lnTo>
                    <a:pt x="960" y="201"/>
                  </a:lnTo>
                  <a:lnTo>
                    <a:pt x="964" y="205"/>
                  </a:lnTo>
                  <a:lnTo>
                    <a:pt x="969" y="210"/>
                  </a:lnTo>
                  <a:lnTo>
                    <a:pt x="973" y="215"/>
                  </a:lnTo>
                  <a:lnTo>
                    <a:pt x="973" y="219"/>
                  </a:lnTo>
                  <a:lnTo>
                    <a:pt x="978" y="224"/>
                  </a:lnTo>
                  <a:lnTo>
                    <a:pt x="978" y="228"/>
                  </a:lnTo>
                  <a:lnTo>
                    <a:pt x="982" y="228"/>
                  </a:lnTo>
                  <a:lnTo>
                    <a:pt x="987" y="237"/>
                  </a:lnTo>
                  <a:lnTo>
                    <a:pt x="987" y="242"/>
                  </a:lnTo>
                  <a:lnTo>
                    <a:pt x="992" y="251"/>
                  </a:lnTo>
                  <a:lnTo>
                    <a:pt x="996" y="260"/>
                  </a:lnTo>
                  <a:lnTo>
                    <a:pt x="1010" y="274"/>
                  </a:lnTo>
                  <a:lnTo>
                    <a:pt x="1010" y="279"/>
                  </a:lnTo>
                  <a:lnTo>
                    <a:pt x="1010" y="279"/>
                  </a:lnTo>
                  <a:lnTo>
                    <a:pt x="1014" y="288"/>
                  </a:lnTo>
                  <a:lnTo>
                    <a:pt x="1019" y="292"/>
                  </a:lnTo>
                  <a:lnTo>
                    <a:pt x="1028" y="306"/>
                  </a:lnTo>
                  <a:lnTo>
                    <a:pt x="1019" y="311"/>
                  </a:lnTo>
                  <a:lnTo>
                    <a:pt x="932" y="320"/>
                  </a:lnTo>
                  <a:lnTo>
                    <a:pt x="850" y="324"/>
                  </a:lnTo>
                  <a:lnTo>
                    <a:pt x="790" y="333"/>
                  </a:lnTo>
                  <a:lnTo>
                    <a:pt x="768" y="338"/>
                  </a:lnTo>
                  <a:lnTo>
                    <a:pt x="768" y="338"/>
                  </a:lnTo>
                  <a:lnTo>
                    <a:pt x="768" y="343"/>
                  </a:lnTo>
                  <a:lnTo>
                    <a:pt x="763" y="347"/>
                  </a:lnTo>
                  <a:lnTo>
                    <a:pt x="749" y="365"/>
                  </a:lnTo>
                  <a:lnTo>
                    <a:pt x="745" y="379"/>
                  </a:lnTo>
                  <a:lnTo>
                    <a:pt x="745" y="393"/>
                  </a:lnTo>
                  <a:lnTo>
                    <a:pt x="740" y="393"/>
                  </a:lnTo>
                  <a:lnTo>
                    <a:pt x="731" y="402"/>
                  </a:lnTo>
                  <a:lnTo>
                    <a:pt x="726" y="411"/>
                  </a:lnTo>
                  <a:lnTo>
                    <a:pt x="722" y="411"/>
                  </a:lnTo>
                  <a:lnTo>
                    <a:pt x="704" y="416"/>
                  </a:lnTo>
                  <a:lnTo>
                    <a:pt x="690" y="416"/>
                  </a:lnTo>
                  <a:lnTo>
                    <a:pt x="681" y="425"/>
                  </a:lnTo>
                  <a:lnTo>
                    <a:pt x="662" y="425"/>
                  </a:lnTo>
                  <a:lnTo>
                    <a:pt x="653" y="425"/>
                  </a:lnTo>
                  <a:lnTo>
                    <a:pt x="635" y="434"/>
                  </a:lnTo>
                  <a:lnTo>
                    <a:pt x="621" y="439"/>
                  </a:lnTo>
                  <a:lnTo>
                    <a:pt x="617" y="443"/>
                  </a:lnTo>
                  <a:lnTo>
                    <a:pt x="612" y="443"/>
                  </a:lnTo>
                  <a:lnTo>
                    <a:pt x="598" y="448"/>
                  </a:lnTo>
                  <a:lnTo>
                    <a:pt x="585" y="457"/>
                  </a:lnTo>
                  <a:lnTo>
                    <a:pt x="571" y="461"/>
                  </a:lnTo>
                  <a:lnTo>
                    <a:pt x="553" y="480"/>
                  </a:lnTo>
                  <a:lnTo>
                    <a:pt x="544" y="489"/>
                  </a:lnTo>
                  <a:lnTo>
                    <a:pt x="530" y="498"/>
                  </a:lnTo>
                  <a:lnTo>
                    <a:pt x="521" y="503"/>
                  </a:lnTo>
                  <a:lnTo>
                    <a:pt x="516" y="516"/>
                  </a:lnTo>
                  <a:lnTo>
                    <a:pt x="516" y="525"/>
                  </a:lnTo>
                  <a:lnTo>
                    <a:pt x="525" y="539"/>
                  </a:lnTo>
                  <a:lnTo>
                    <a:pt x="530" y="553"/>
                  </a:lnTo>
                  <a:lnTo>
                    <a:pt x="530" y="576"/>
                  </a:lnTo>
                  <a:lnTo>
                    <a:pt x="534" y="589"/>
                  </a:lnTo>
                  <a:lnTo>
                    <a:pt x="534" y="594"/>
                  </a:lnTo>
                  <a:lnTo>
                    <a:pt x="534" y="599"/>
                  </a:lnTo>
                  <a:lnTo>
                    <a:pt x="525" y="608"/>
                  </a:lnTo>
                  <a:lnTo>
                    <a:pt x="521" y="612"/>
                  </a:lnTo>
                  <a:lnTo>
                    <a:pt x="507" y="612"/>
                  </a:lnTo>
                  <a:lnTo>
                    <a:pt x="489" y="612"/>
                  </a:lnTo>
                  <a:lnTo>
                    <a:pt x="470" y="612"/>
                  </a:lnTo>
                  <a:lnTo>
                    <a:pt x="461" y="612"/>
                  </a:lnTo>
                  <a:lnTo>
                    <a:pt x="448" y="612"/>
                  </a:lnTo>
                  <a:lnTo>
                    <a:pt x="438" y="612"/>
                  </a:lnTo>
                  <a:close/>
                </a:path>
              </a:pathLst>
            </a:custGeom>
            <a:blipFill>
              <a:blip r:embed="rId77"/>
              <a:tile tx="0" ty="0" sx="100000" sy="100000" flip="none" algn="tl"/>
            </a:blip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Sokoto</a:t>
              </a:r>
            </a:p>
          </p:txBody>
        </p:sp>
        <p:sp>
          <p:nvSpPr>
            <p:cNvPr id="158" name="Freeform 77">
              <a:extLst>
                <a:ext uri="{FF2B5EF4-FFF2-40B4-BE49-F238E27FC236}">
                  <a16:creationId xmlns:a16="http://schemas.microsoft.com/office/drawing/2014/main" id="{77B828CE-472A-4157-B51B-B6A81FB5B706}"/>
                </a:ext>
              </a:extLst>
            </p:cNvPr>
            <p:cNvSpPr>
              <a:spLocks/>
            </p:cNvSpPr>
            <p:nvPr>
              <p:custDataLst>
                <p:tags r:id="rId70"/>
              </p:custDataLst>
            </p:nvPr>
          </p:nvSpPr>
          <p:spPr bwMode="auto">
            <a:xfrm>
              <a:off x="2286314" y="2466280"/>
              <a:ext cx="897936" cy="1170328"/>
            </a:xfrm>
            <a:custGeom>
              <a:avLst/>
              <a:gdLst/>
              <a:ahLst/>
              <a:cxnLst>
                <a:cxn ang="0">
                  <a:pos x="924" y="987"/>
                </a:cxn>
                <a:cxn ang="0">
                  <a:pos x="910" y="1038"/>
                </a:cxn>
                <a:cxn ang="0">
                  <a:pos x="901" y="1079"/>
                </a:cxn>
                <a:cxn ang="0">
                  <a:pos x="883" y="1115"/>
                </a:cxn>
                <a:cxn ang="0">
                  <a:pos x="842" y="1143"/>
                </a:cxn>
                <a:cxn ang="0">
                  <a:pos x="791" y="1143"/>
                </a:cxn>
                <a:cxn ang="0">
                  <a:pos x="746" y="1134"/>
                </a:cxn>
                <a:cxn ang="0">
                  <a:pos x="718" y="1074"/>
                </a:cxn>
                <a:cxn ang="0">
                  <a:pos x="672" y="1083"/>
                </a:cxn>
                <a:cxn ang="0">
                  <a:pos x="636" y="1038"/>
                </a:cxn>
                <a:cxn ang="0">
                  <a:pos x="631" y="992"/>
                </a:cxn>
                <a:cxn ang="0">
                  <a:pos x="599" y="983"/>
                </a:cxn>
                <a:cxn ang="0">
                  <a:pos x="558" y="951"/>
                </a:cxn>
                <a:cxn ang="0">
                  <a:pos x="526" y="933"/>
                </a:cxn>
                <a:cxn ang="0">
                  <a:pos x="508" y="997"/>
                </a:cxn>
                <a:cxn ang="0">
                  <a:pos x="416" y="1006"/>
                </a:cxn>
                <a:cxn ang="0">
                  <a:pos x="380" y="960"/>
                </a:cxn>
                <a:cxn ang="0">
                  <a:pos x="343" y="978"/>
                </a:cxn>
                <a:cxn ang="0">
                  <a:pos x="266" y="1056"/>
                </a:cxn>
                <a:cxn ang="0">
                  <a:pos x="229" y="1047"/>
                </a:cxn>
                <a:cxn ang="0">
                  <a:pos x="220" y="1097"/>
                </a:cxn>
                <a:cxn ang="0">
                  <a:pos x="197" y="1152"/>
                </a:cxn>
                <a:cxn ang="0">
                  <a:pos x="197" y="1024"/>
                </a:cxn>
                <a:cxn ang="0">
                  <a:pos x="220" y="965"/>
                </a:cxn>
                <a:cxn ang="0">
                  <a:pos x="275" y="914"/>
                </a:cxn>
                <a:cxn ang="0">
                  <a:pos x="284" y="768"/>
                </a:cxn>
                <a:cxn ang="0">
                  <a:pos x="220" y="695"/>
                </a:cxn>
                <a:cxn ang="0">
                  <a:pos x="165" y="654"/>
                </a:cxn>
                <a:cxn ang="0">
                  <a:pos x="42" y="667"/>
                </a:cxn>
                <a:cxn ang="0">
                  <a:pos x="5" y="658"/>
                </a:cxn>
                <a:cxn ang="0">
                  <a:pos x="46" y="622"/>
                </a:cxn>
                <a:cxn ang="0">
                  <a:pos x="92" y="585"/>
                </a:cxn>
                <a:cxn ang="0">
                  <a:pos x="74" y="507"/>
                </a:cxn>
                <a:cxn ang="0">
                  <a:pos x="133" y="489"/>
                </a:cxn>
                <a:cxn ang="0">
                  <a:pos x="197" y="462"/>
                </a:cxn>
                <a:cxn ang="0">
                  <a:pos x="270" y="439"/>
                </a:cxn>
                <a:cxn ang="0">
                  <a:pos x="320" y="407"/>
                </a:cxn>
                <a:cxn ang="0">
                  <a:pos x="366" y="375"/>
                </a:cxn>
                <a:cxn ang="0">
                  <a:pos x="416" y="329"/>
                </a:cxn>
                <a:cxn ang="0">
                  <a:pos x="480" y="270"/>
                </a:cxn>
                <a:cxn ang="0">
                  <a:pos x="567" y="242"/>
                </a:cxn>
                <a:cxn ang="0">
                  <a:pos x="540" y="146"/>
                </a:cxn>
                <a:cxn ang="0">
                  <a:pos x="558" y="36"/>
                </a:cxn>
                <a:cxn ang="0">
                  <a:pos x="627" y="14"/>
                </a:cxn>
                <a:cxn ang="0">
                  <a:pos x="746" y="9"/>
                </a:cxn>
                <a:cxn ang="0">
                  <a:pos x="842" y="18"/>
                </a:cxn>
                <a:cxn ang="0">
                  <a:pos x="892" y="64"/>
                </a:cxn>
                <a:cxn ang="0">
                  <a:pos x="942" y="100"/>
                </a:cxn>
                <a:cxn ang="0">
                  <a:pos x="965" y="151"/>
                </a:cxn>
                <a:cxn ang="0">
                  <a:pos x="1006" y="233"/>
                </a:cxn>
                <a:cxn ang="0">
                  <a:pos x="1006" y="311"/>
                </a:cxn>
                <a:cxn ang="0">
                  <a:pos x="988" y="398"/>
                </a:cxn>
                <a:cxn ang="0">
                  <a:pos x="938" y="443"/>
                </a:cxn>
                <a:cxn ang="0">
                  <a:pos x="896" y="498"/>
                </a:cxn>
                <a:cxn ang="0">
                  <a:pos x="864" y="539"/>
                </a:cxn>
                <a:cxn ang="0">
                  <a:pos x="855" y="594"/>
                </a:cxn>
                <a:cxn ang="0">
                  <a:pos x="901" y="658"/>
                </a:cxn>
                <a:cxn ang="0">
                  <a:pos x="947" y="622"/>
                </a:cxn>
                <a:cxn ang="0">
                  <a:pos x="997" y="672"/>
                </a:cxn>
                <a:cxn ang="0">
                  <a:pos x="1015" y="768"/>
                </a:cxn>
                <a:cxn ang="0">
                  <a:pos x="997" y="855"/>
                </a:cxn>
                <a:cxn ang="0">
                  <a:pos x="1006" y="942"/>
                </a:cxn>
              </a:cxnLst>
              <a:rect l="0" t="0" r="r" b="b"/>
              <a:pathLst>
                <a:path w="1029" h="1157">
                  <a:moveTo>
                    <a:pt x="960" y="955"/>
                  </a:moveTo>
                  <a:lnTo>
                    <a:pt x="960" y="955"/>
                  </a:lnTo>
                  <a:lnTo>
                    <a:pt x="956" y="955"/>
                  </a:lnTo>
                  <a:lnTo>
                    <a:pt x="956" y="955"/>
                  </a:lnTo>
                  <a:lnTo>
                    <a:pt x="951" y="960"/>
                  </a:lnTo>
                  <a:lnTo>
                    <a:pt x="947" y="965"/>
                  </a:lnTo>
                  <a:lnTo>
                    <a:pt x="947" y="969"/>
                  </a:lnTo>
                  <a:lnTo>
                    <a:pt x="942" y="969"/>
                  </a:lnTo>
                  <a:lnTo>
                    <a:pt x="942" y="969"/>
                  </a:lnTo>
                  <a:lnTo>
                    <a:pt x="942" y="969"/>
                  </a:lnTo>
                  <a:lnTo>
                    <a:pt x="938" y="969"/>
                  </a:lnTo>
                  <a:lnTo>
                    <a:pt x="933" y="974"/>
                  </a:lnTo>
                  <a:lnTo>
                    <a:pt x="928" y="974"/>
                  </a:lnTo>
                  <a:lnTo>
                    <a:pt x="928" y="978"/>
                  </a:lnTo>
                  <a:lnTo>
                    <a:pt x="928" y="983"/>
                  </a:lnTo>
                  <a:lnTo>
                    <a:pt x="924" y="987"/>
                  </a:lnTo>
                  <a:lnTo>
                    <a:pt x="924" y="997"/>
                  </a:lnTo>
                  <a:lnTo>
                    <a:pt x="924" y="1001"/>
                  </a:lnTo>
                  <a:lnTo>
                    <a:pt x="919" y="1001"/>
                  </a:lnTo>
                  <a:lnTo>
                    <a:pt x="915" y="1001"/>
                  </a:lnTo>
                  <a:lnTo>
                    <a:pt x="910" y="1001"/>
                  </a:lnTo>
                  <a:lnTo>
                    <a:pt x="906" y="1010"/>
                  </a:lnTo>
                  <a:lnTo>
                    <a:pt x="906" y="1015"/>
                  </a:lnTo>
                  <a:lnTo>
                    <a:pt x="901" y="1019"/>
                  </a:lnTo>
                  <a:lnTo>
                    <a:pt x="901" y="1019"/>
                  </a:lnTo>
                  <a:lnTo>
                    <a:pt x="901" y="1024"/>
                  </a:lnTo>
                  <a:lnTo>
                    <a:pt x="906" y="1024"/>
                  </a:lnTo>
                  <a:lnTo>
                    <a:pt x="910" y="1024"/>
                  </a:lnTo>
                  <a:lnTo>
                    <a:pt x="910" y="1024"/>
                  </a:lnTo>
                  <a:lnTo>
                    <a:pt x="910" y="1029"/>
                  </a:lnTo>
                  <a:lnTo>
                    <a:pt x="910" y="1033"/>
                  </a:lnTo>
                  <a:lnTo>
                    <a:pt x="910" y="1038"/>
                  </a:lnTo>
                  <a:lnTo>
                    <a:pt x="915" y="1038"/>
                  </a:lnTo>
                  <a:lnTo>
                    <a:pt x="915" y="1038"/>
                  </a:lnTo>
                  <a:lnTo>
                    <a:pt x="919" y="1042"/>
                  </a:lnTo>
                  <a:lnTo>
                    <a:pt x="910" y="1047"/>
                  </a:lnTo>
                  <a:lnTo>
                    <a:pt x="910" y="1051"/>
                  </a:lnTo>
                  <a:lnTo>
                    <a:pt x="906" y="1051"/>
                  </a:lnTo>
                  <a:lnTo>
                    <a:pt x="910" y="1051"/>
                  </a:lnTo>
                  <a:lnTo>
                    <a:pt x="910" y="1056"/>
                  </a:lnTo>
                  <a:lnTo>
                    <a:pt x="915" y="1061"/>
                  </a:lnTo>
                  <a:lnTo>
                    <a:pt x="915" y="1065"/>
                  </a:lnTo>
                  <a:lnTo>
                    <a:pt x="915" y="1070"/>
                  </a:lnTo>
                  <a:lnTo>
                    <a:pt x="910" y="1070"/>
                  </a:lnTo>
                  <a:lnTo>
                    <a:pt x="906" y="1070"/>
                  </a:lnTo>
                  <a:lnTo>
                    <a:pt x="906" y="1070"/>
                  </a:lnTo>
                  <a:lnTo>
                    <a:pt x="901" y="1074"/>
                  </a:lnTo>
                  <a:lnTo>
                    <a:pt x="901" y="1079"/>
                  </a:lnTo>
                  <a:lnTo>
                    <a:pt x="901" y="1083"/>
                  </a:lnTo>
                  <a:lnTo>
                    <a:pt x="901" y="1088"/>
                  </a:lnTo>
                  <a:lnTo>
                    <a:pt x="901" y="1088"/>
                  </a:lnTo>
                  <a:lnTo>
                    <a:pt x="901" y="1093"/>
                  </a:lnTo>
                  <a:lnTo>
                    <a:pt x="901" y="1093"/>
                  </a:lnTo>
                  <a:lnTo>
                    <a:pt x="896" y="1097"/>
                  </a:lnTo>
                  <a:lnTo>
                    <a:pt x="896" y="1097"/>
                  </a:lnTo>
                  <a:lnTo>
                    <a:pt x="896" y="1097"/>
                  </a:lnTo>
                  <a:lnTo>
                    <a:pt x="892" y="1102"/>
                  </a:lnTo>
                  <a:lnTo>
                    <a:pt x="892" y="1102"/>
                  </a:lnTo>
                  <a:lnTo>
                    <a:pt x="892" y="1102"/>
                  </a:lnTo>
                  <a:lnTo>
                    <a:pt x="887" y="1106"/>
                  </a:lnTo>
                  <a:lnTo>
                    <a:pt x="887" y="1111"/>
                  </a:lnTo>
                  <a:lnTo>
                    <a:pt x="887" y="1115"/>
                  </a:lnTo>
                  <a:lnTo>
                    <a:pt x="883" y="1115"/>
                  </a:lnTo>
                  <a:lnTo>
                    <a:pt x="883" y="1115"/>
                  </a:lnTo>
                  <a:lnTo>
                    <a:pt x="878" y="1115"/>
                  </a:lnTo>
                  <a:lnTo>
                    <a:pt x="878" y="1120"/>
                  </a:lnTo>
                  <a:lnTo>
                    <a:pt x="874" y="1120"/>
                  </a:lnTo>
                  <a:lnTo>
                    <a:pt x="869" y="1120"/>
                  </a:lnTo>
                  <a:lnTo>
                    <a:pt x="864" y="1115"/>
                  </a:lnTo>
                  <a:lnTo>
                    <a:pt x="860" y="1115"/>
                  </a:lnTo>
                  <a:lnTo>
                    <a:pt x="860" y="1120"/>
                  </a:lnTo>
                  <a:lnTo>
                    <a:pt x="855" y="1120"/>
                  </a:lnTo>
                  <a:lnTo>
                    <a:pt x="855" y="1120"/>
                  </a:lnTo>
                  <a:lnTo>
                    <a:pt x="855" y="1120"/>
                  </a:lnTo>
                  <a:lnTo>
                    <a:pt x="851" y="1120"/>
                  </a:lnTo>
                  <a:lnTo>
                    <a:pt x="855" y="1129"/>
                  </a:lnTo>
                  <a:lnTo>
                    <a:pt x="855" y="1138"/>
                  </a:lnTo>
                  <a:lnTo>
                    <a:pt x="851" y="1143"/>
                  </a:lnTo>
                  <a:lnTo>
                    <a:pt x="855" y="1143"/>
                  </a:lnTo>
                  <a:lnTo>
                    <a:pt x="842" y="1143"/>
                  </a:lnTo>
                  <a:lnTo>
                    <a:pt x="837" y="1147"/>
                  </a:lnTo>
                  <a:lnTo>
                    <a:pt x="832" y="1147"/>
                  </a:lnTo>
                  <a:lnTo>
                    <a:pt x="828" y="1147"/>
                  </a:lnTo>
                  <a:lnTo>
                    <a:pt x="823" y="1147"/>
                  </a:lnTo>
                  <a:lnTo>
                    <a:pt x="823" y="1152"/>
                  </a:lnTo>
                  <a:lnTo>
                    <a:pt x="823" y="1152"/>
                  </a:lnTo>
                  <a:lnTo>
                    <a:pt x="823" y="1157"/>
                  </a:lnTo>
                  <a:lnTo>
                    <a:pt x="823" y="1157"/>
                  </a:lnTo>
                  <a:lnTo>
                    <a:pt x="814" y="1152"/>
                  </a:lnTo>
                  <a:lnTo>
                    <a:pt x="814" y="1152"/>
                  </a:lnTo>
                  <a:lnTo>
                    <a:pt x="810" y="1152"/>
                  </a:lnTo>
                  <a:lnTo>
                    <a:pt x="810" y="1147"/>
                  </a:lnTo>
                  <a:lnTo>
                    <a:pt x="800" y="1143"/>
                  </a:lnTo>
                  <a:lnTo>
                    <a:pt x="800" y="1143"/>
                  </a:lnTo>
                  <a:lnTo>
                    <a:pt x="796" y="1143"/>
                  </a:lnTo>
                  <a:lnTo>
                    <a:pt x="791" y="1143"/>
                  </a:lnTo>
                  <a:lnTo>
                    <a:pt x="791" y="1147"/>
                  </a:lnTo>
                  <a:lnTo>
                    <a:pt x="787" y="1147"/>
                  </a:lnTo>
                  <a:lnTo>
                    <a:pt x="782" y="1147"/>
                  </a:lnTo>
                  <a:lnTo>
                    <a:pt x="782" y="1147"/>
                  </a:lnTo>
                  <a:lnTo>
                    <a:pt x="778" y="1143"/>
                  </a:lnTo>
                  <a:lnTo>
                    <a:pt x="773" y="1143"/>
                  </a:lnTo>
                  <a:lnTo>
                    <a:pt x="768" y="1143"/>
                  </a:lnTo>
                  <a:lnTo>
                    <a:pt x="764" y="1143"/>
                  </a:lnTo>
                  <a:lnTo>
                    <a:pt x="764" y="1143"/>
                  </a:lnTo>
                  <a:lnTo>
                    <a:pt x="759" y="1138"/>
                  </a:lnTo>
                  <a:lnTo>
                    <a:pt x="759" y="1138"/>
                  </a:lnTo>
                  <a:lnTo>
                    <a:pt x="759" y="1138"/>
                  </a:lnTo>
                  <a:lnTo>
                    <a:pt x="755" y="1134"/>
                  </a:lnTo>
                  <a:lnTo>
                    <a:pt x="750" y="1134"/>
                  </a:lnTo>
                  <a:lnTo>
                    <a:pt x="750" y="1134"/>
                  </a:lnTo>
                  <a:lnTo>
                    <a:pt x="746" y="1134"/>
                  </a:lnTo>
                  <a:lnTo>
                    <a:pt x="741" y="1138"/>
                  </a:lnTo>
                  <a:lnTo>
                    <a:pt x="741" y="1143"/>
                  </a:lnTo>
                  <a:lnTo>
                    <a:pt x="736" y="1143"/>
                  </a:lnTo>
                  <a:lnTo>
                    <a:pt x="732" y="1143"/>
                  </a:lnTo>
                  <a:lnTo>
                    <a:pt x="732" y="1143"/>
                  </a:lnTo>
                  <a:lnTo>
                    <a:pt x="727" y="1138"/>
                  </a:lnTo>
                  <a:lnTo>
                    <a:pt x="727" y="1138"/>
                  </a:lnTo>
                  <a:lnTo>
                    <a:pt x="727" y="1125"/>
                  </a:lnTo>
                  <a:lnTo>
                    <a:pt x="727" y="1111"/>
                  </a:lnTo>
                  <a:lnTo>
                    <a:pt x="727" y="1102"/>
                  </a:lnTo>
                  <a:lnTo>
                    <a:pt x="732" y="1088"/>
                  </a:lnTo>
                  <a:lnTo>
                    <a:pt x="732" y="1088"/>
                  </a:lnTo>
                  <a:lnTo>
                    <a:pt x="727" y="1083"/>
                  </a:lnTo>
                  <a:lnTo>
                    <a:pt x="723" y="1079"/>
                  </a:lnTo>
                  <a:lnTo>
                    <a:pt x="718" y="1074"/>
                  </a:lnTo>
                  <a:lnTo>
                    <a:pt x="718" y="1074"/>
                  </a:lnTo>
                  <a:lnTo>
                    <a:pt x="718" y="1074"/>
                  </a:lnTo>
                  <a:lnTo>
                    <a:pt x="714" y="1074"/>
                  </a:lnTo>
                  <a:lnTo>
                    <a:pt x="714" y="1074"/>
                  </a:lnTo>
                  <a:lnTo>
                    <a:pt x="709" y="1074"/>
                  </a:lnTo>
                  <a:lnTo>
                    <a:pt x="704" y="1074"/>
                  </a:lnTo>
                  <a:lnTo>
                    <a:pt x="704" y="1074"/>
                  </a:lnTo>
                  <a:lnTo>
                    <a:pt x="700" y="1079"/>
                  </a:lnTo>
                  <a:lnTo>
                    <a:pt x="695" y="1083"/>
                  </a:lnTo>
                  <a:lnTo>
                    <a:pt x="691" y="1088"/>
                  </a:lnTo>
                  <a:lnTo>
                    <a:pt x="686" y="1083"/>
                  </a:lnTo>
                  <a:lnTo>
                    <a:pt x="686" y="1088"/>
                  </a:lnTo>
                  <a:lnTo>
                    <a:pt x="686" y="1088"/>
                  </a:lnTo>
                  <a:lnTo>
                    <a:pt x="682" y="1083"/>
                  </a:lnTo>
                  <a:lnTo>
                    <a:pt x="682" y="1083"/>
                  </a:lnTo>
                  <a:lnTo>
                    <a:pt x="682" y="1088"/>
                  </a:lnTo>
                  <a:lnTo>
                    <a:pt x="672" y="1083"/>
                  </a:lnTo>
                  <a:lnTo>
                    <a:pt x="672" y="1083"/>
                  </a:lnTo>
                  <a:lnTo>
                    <a:pt x="672" y="1088"/>
                  </a:lnTo>
                  <a:lnTo>
                    <a:pt x="659" y="1079"/>
                  </a:lnTo>
                  <a:lnTo>
                    <a:pt x="659" y="1079"/>
                  </a:lnTo>
                  <a:lnTo>
                    <a:pt x="659" y="1065"/>
                  </a:lnTo>
                  <a:lnTo>
                    <a:pt x="659" y="1061"/>
                  </a:lnTo>
                  <a:lnTo>
                    <a:pt x="659" y="1056"/>
                  </a:lnTo>
                  <a:lnTo>
                    <a:pt x="659" y="1056"/>
                  </a:lnTo>
                  <a:lnTo>
                    <a:pt x="654" y="1056"/>
                  </a:lnTo>
                  <a:lnTo>
                    <a:pt x="654" y="1056"/>
                  </a:lnTo>
                  <a:lnTo>
                    <a:pt x="654" y="1056"/>
                  </a:lnTo>
                  <a:lnTo>
                    <a:pt x="654" y="1056"/>
                  </a:lnTo>
                  <a:lnTo>
                    <a:pt x="650" y="1056"/>
                  </a:lnTo>
                  <a:lnTo>
                    <a:pt x="650" y="1056"/>
                  </a:lnTo>
                  <a:lnTo>
                    <a:pt x="645" y="1042"/>
                  </a:lnTo>
                  <a:lnTo>
                    <a:pt x="636" y="1038"/>
                  </a:lnTo>
                  <a:lnTo>
                    <a:pt x="636" y="1042"/>
                  </a:lnTo>
                  <a:lnTo>
                    <a:pt x="636" y="1042"/>
                  </a:lnTo>
                  <a:lnTo>
                    <a:pt x="631" y="1038"/>
                  </a:lnTo>
                  <a:lnTo>
                    <a:pt x="631" y="1038"/>
                  </a:lnTo>
                  <a:lnTo>
                    <a:pt x="627" y="1038"/>
                  </a:lnTo>
                  <a:lnTo>
                    <a:pt x="627" y="1033"/>
                  </a:lnTo>
                  <a:lnTo>
                    <a:pt x="627" y="1029"/>
                  </a:lnTo>
                  <a:lnTo>
                    <a:pt x="622" y="1024"/>
                  </a:lnTo>
                  <a:lnTo>
                    <a:pt x="622" y="1024"/>
                  </a:lnTo>
                  <a:lnTo>
                    <a:pt x="622" y="1024"/>
                  </a:lnTo>
                  <a:lnTo>
                    <a:pt x="622" y="1019"/>
                  </a:lnTo>
                  <a:lnTo>
                    <a:pt x="622" y="1019"/>
                  </a:lnTo>
                  <a:lnTo>
                    <a:pt x="622" y="1019"/>
                  </a:lnTo>
                  <a:lnTo>
                    <a:pt x="622" y="1015"/>
                  </a:lnTo>
                  <a:lnTo>
                    <a:pt x="631" y="992"/>
                  </a:lnTo>
                  <a:lnTo>
                    <a:pt x="631" y="992"/>
                  </a:lnTo>
                  <a:lnTo>
                    <a:pt x="631" y="992"/>
                  </a:lnTo>
                  <a:lnTo>
                    <a:pt x="631" y="992"/>
                  </a:lnTo>
                  <a:lnTo>
                    <a:pt x="622" y="987"/>
                  </a:lnTo>
                  <a:lnTo>
                    <a:pt x="622" y="987"/>
                  </a:lnTo>
                  <a:lnTo>
                    <a:pt x="618" y="983"/>
                  </a:lnTo>
                  <a:lnTo>
                    <a:pt x="618" y="983"/>
                  </a:lnTo>
                  <a:lnTo>
                    <a:pt x="618" y="983"/>
                  </a:lnTo>
                  <a:lnTo>
                    <a:pt x="613" y="983"/>
                  </a:lnTo>
                  <a:lnTo>
                    <a:pt x="613" y="983"/>
                  </a:lnTo>
                  <a:lnTo>
                    <a:pt x="608" y="978"/>
                  </a:lnTo>
                  <a:lnTo>
                    <a:pt x="608" y="978"/>
                  </a:lnTo>
                  <a:lnTo>
                    <a:pt x="608" y="978"/>
                  </a:lnTo>
                  <a:lnTo>
                    <a:pt x="604" y="983"/>
                  </a:lnTo>
                  <a:lnTo>
                    <a:pt x="604" y="983"/>
                  </a:lnTo>
                  <a:lnTo>
                    <a:pt x="604" y="983"/>
                  </a:lnTo>
                  <a:lnTo>
                    <a:pt x="599" y="983"/>
                  </a:lnTo>
                  <a:lnTo>
                    <a:pt x="595" y="978"/>
                  </a:lnTo>
                  <a:lnTo>
                    <a:pt x="595" y="974"/>
                  </a:lnTo>
                  <a:lnTo>
                    <a:pt x="595" y="969"/>
                  </a:lnTo>
                  <a:lnTo>
                    <a:pt x="590" y="969"/>
                  </a:lnTo>
                  <a:lnTo>
                    <a:pt x="586" y="969"/>
                  </a:lnTo>
                  <a:lnTo>
                    <a:pt x="581" y="969"/>
                  </a:lnTo>
                  <a:lnTo>
                    <a:pt x="581" y="965"/>
                  </a:lnTo>
                  <a:lnTo>
                    <a:pt x="576" y="960"/>
                  </a:lnTo>
                  <a:lnTo>
                    <a:pt x="572" y="960"/>
                  </a:lnTo>
                  <a:lnTo>
                    <a:pt x="572" y="960"/>
                  </a:lnTo>
                  <a:lnTo>
                    <a:pt x="572" y="955"/>
                  </a:lnTo>
                  <a:lnTo>
                    <a:pt x="572" y="951"/>
                  </a:lnTo>
                  <a:lnTo>
                    <a:pt x="572" y="951"/>
                  </a:lnTo>
                  <a:lnTo>
                    <a:pt x="563" y="946"/>
                  </a:lnTo>
                  <a:lnTo>
                    <a:pt x="563" y="951"/>
                  </a:lnTo>
                  <a:lnTo>
                    <a:pt x="558" y="951"/>
                  </a:lnTo>
                  <a:lnTo>
                    <a:pt x="554" y="946"/>
                  </a:lnTo>
                  <a:lnTo>
                    <a:pt x="549" y="946"/>
                  </a:lnTo>
                  <a:lnTo>
                    <a:pt x="540" y="937"/>
                  </a:lnTo>
                  <a:lnTo>
                    <a:pt x="540" y="937"/>
                  </a:lnTo>
                  <a:lnTo>
                    <a:pt x="544" y="928"/>
                  </a:lnTo>
                  <a:lnTo>
                    <a:pt x="544" y="928"/>
                  </a:lnTo>
                  <a:lnTo>
                    <a:pt x="540" y="923"/>
                  </a:lnTo>
                  <a:lnTo>
                    <a:pt x="540" y="914"/>
                  </a:lnTo>
                  <a:lnTo>
                    <a:pt x="540" y="910"/>
                  </a:lnTo>
                  <a:lnTo>
                    <a:pt x="535" y="910"/>
                  </a:lnTo>
                  <a:lnTo>
                    <a:pt x="531" y="905"/>
                  </a:lnTo>
                  <a:lnTo>
                    <a:pt x="531" y="905"/>
                  </a:lnTo>
                  <a:lnTo>
                    <a:pt x="531" y="905"/>
                  </a:lnTo>
                  <a:lnTo>
                    <a:pt x="526" y="914"/>
                  </a:lnTo>
                  <a:lnTo>
                    <a:pt x="526" y="923"/>
                  </a:lnTo>
                  <a:lnTo>
                    <a:pt x="526" y="933"/>
                  </a:lnTo>
                  <a:lnTo>
                    <a:pt x="526" y="933"/>
                  </a:lnTo>
                  <a:lnTo>
                    <a:pt x="526" y="933"/>
                  </a:lnTo>
                  <a:lnTo>
                    <a:pt x="526" y="933"/>
                  </a:lnTo>
                  <a:lnTo>
                    <a:pt x="526" y="942"/>
                  </a:lnTo>
                  <a:lnTo>
                    <a:pt x="526" y="946"/>
                  </a:lnTo>
                  <a:lnTo>
                    <a:pt x="526" y="951"/>
                  </a:lnTo>
                  <a:lnTo>
                    <a:pt x="522" y="969"/>
                  </a:lnTo>
                  <a:lnTo>
                    <a:pt x="522" y="969"/>
                  </a:lnTo>
                  <a:lnTo>
                    <a:pt x="522" y="974"/>
                  </a:lnTo>
                  <a:lnTo>
                    <a:pt x="522" y="974"/>
                  </a:lnTo>
                  <a:lnTo>
                    <a:pt x="517" y="978"/>
                  </a:lnTo>
                  <a:lnTo>
                    <a:pt x="517" y="983"/>
                  </a:lnTo>
                  <a:lnTo>
                    <a:pt x="517" y="987"/>
                  </a:lnTo>
                  <a:lnTo>
                    <a:pt x="512" y="992"/>
                  </a:lnTo>
                  <a:lnTo>
                    <a:pt x="512" y="997"/>
                  </a:lnTo>
                  <a:lnTo>
                    <a:pt x="508" y="997"/>
                  </a:lnTo>
                  <a:lnTo>
                    <a:pt x="503" y="997"/>
                  </a:lnTo>
                  <a:lnTo>
                    <a:pt x="503" y="997"/>
                  </a:lnTo>
                  <a:lnTo>
                    <a:pt x="499" y="1001"/>
                  </a:lnTo>
                  <a:lnTo>
                    <a:pt x="499" y="1006"/>
                  </a:lnTo>
                  <a:lnTo>
                    <a:pt x="499" y="1006"/>
                  </a:lnTo>
                  <a:lnTo>
                    <a:pt x="494" y="1006"/>
                  </a:lnTo>
                  <a:lnTo>
                    <a:pt x="490" y="997"/>
                  </a:lnTo>
                  <a:lnTo>
                    <a:pt x="476" y="1001"/>
                  </a:lnTo>
                  <a:lnTo>
                    <a:pt x="476" y="1001"/>
                  </a:lnTo>
                  <a:lnTo>
                    <a:pt x="462" y="1001"/>
                  </a:lnTo>
                  <a:lnTo>
                    <a:pt x="462" y="1001"/>
                  </a:lnTo>
                  <a:lnTo>
                    <a:pt x="453" y="1001"/>
                  </a:lnTo>
                  <a:lnTo>
                    <a:pt x="453" y="1001"/>
                  </a:lnTo>
                  <a:lnTo>
                    <a:pt x="444" y="1001"/>
                  </a:lnTo>
                  <a:lnTo>
                    <a:pt x="444" y="1006"/>
                  </a:lnTo>
                  <a:lnTo>
                    <a:pt x="416" y="1006"/>
                  </a:lnTo>
                  <a:lnTo>
                    <a:pt x="394" y="1010"/>
                  </a:lnTo>
                  <a:lnTo>
                    <a:pt x="394" y="1006"/>
                  </a:lnTo>
                  <a:lnTo>
                    <a:pt x="380" y="987"/>
                  </a:lnTo>
                  <a:lnTo>
                    <a:pt x="380" y="987"/>
                  </a:lnTo>
                  <a:lnTo>
                    <a:pt x="380" y="987"/>
                  </a:lnTo>
                  <a:lnTo>
                    <a:pt x="380" y="983"/>
                  </a:lnTo>
                  <a:lnTo>
                    <a:pt x="384" y="978"/>
                  </a:lnTo>
                  <a:lnTo>
                    <a:pt x="380" y="978"/>
                  </a:lnTo>
                  <a:lnTo>
                    <a:pt x="380" y="974"/>
                  </a:lnTo>
                  <a:lnTo>
                    <a:pt x="380" y="969"/>
                  </a:lnTo>
                  <a:lnTo>
                    <a:pt x="380" y="969"/>
                  </a:lnTo>
                  <a:lnTo>
                    <a:pt x="380" y="969"/>
                  </a:lnTo>
                  <a:lnTo>
                    <a:pt x="380" y="969"/>
                  </a:lnTo>
                  <a:lnTo>
                    <a:pt x="375" y="965"/>
                  </a:lnTo>
                  <a:lnTo>
                    <a:pt x="380" y="965"/>
                  </a:lnTo>
                  <a:lnTo>
                    <a:pt x="380" y="960"/>
                  </a:lnTo>
                  <a:lnTo>
                    <a:pt x="380" y="960"/>
                  </a:lnTo>
                  <a:lnTo>
                    <a:pt x="380" y="960"/>
                  </a:lnTo>
                  <a:lnTo>
                    <a:pt x="375" y="960"/>
                  </a:lnTo>
                  <a:lnTo>
                    <a:pt x="375" y="960"/>
                  </a:lnTo>
                  <a:lnTo>
                    <a:pt x="375" y="955"/>
                  </a:lnTo>
                  <a:lnTo>
                    <a:pt x="375" y="955"/>
                  </a:lnTo>
                  <a:lnTo>
                    <a:pt x="375" y="951"/>
                  </a:lnTo>
                  <a:lnTo>
                    <a:pt x="371" y="951"/>
                  </a:lnTo>
                  <a:lnTo>
                    <a:pt x="366" y="960"/>
                  </a:lnTo>
                  <a:lnTo>
                    <a:pt x="362" y="960"/>
                  </a:lnTo>
                  <a:lnTo>
                    <a:pt x="357" y="965"/>
                  </a:lnTo>
                  <a:lnTo>
                    <a:pt x="357" y="969"/>
                  </a:lnTo>
                  <a:lnTo>
                    <a:pt x="357" y="969"/>
                  </a:lnTo>
                  <a:lnTo>
                    <a:pt x="348" y="974"/>
                  </a:lnTo>
                  <a:lnTo>
                    <a:pt x="343" y="978"/>
                  </a:lnTo>
                  <a:lnTo>
                    <a:pt x="343" y="978"/>
                  </a:lnTo>
                  <a:lnTo>
                    <a:pt x="339" y="983"/>
                  </a:lnTo>
                  <a:lnTo>
                    <a:pt x="334" y="987"/>
                  </a:lnTo>
                  <a:lnTo>
                    <a:pt x="330" y="992"/>
                  </a:lnTo>
                  <a:lnTo>
                    <a:pt x="320" y="997"/>
                  </a:lnTo>
                  <a:lnTo>
                    <a:pt x="316" y="1006"/>
                  </a:lnTo>
                  <a:lnTo>
                    <a:pt x="311" y="1006"/>
                  </a:lnTo>
                  <a:lnTo>
                    <a:pt x="311" y="1006"/>
                  </a:lnTo>
                  <a:lnTo>
                    <a:pt x="302" y="1015"/>
                  </a:lnTo>
                  <a:lnTo>
                    <a:pt x="298" y="1024"/>
                  </a:lnTo>
                  <a:lnTo>
                    <a:pt x="293" y="1024"/>
                  </a:lnTo>
                  <a:lnTo>
                    <a:pt x="293" y="1029"/>
                  </a:lnTo>
                  <a:lnTo>
                    <a:pt x="284" y="1038"/>
                  </a:lnTo>
                  <a:lnTo>
                    <a:pt x="279" y="1038"/>
                  </a:lnTo>
                  <a:lnTo>
                    <a:pt x="275" y="1042"/>
                  </a:lnTo>
                  <a:lnTo>
                    <a:pt x="270" y="1051"/>
                  </a:lnTo>
                  <a:lnTo>
                    <a:pt x="266" y="1056"/>
                  </a:lnTo>
                  <a:lnTo>
                    <a:pt x="261" y="1051"/>
                  </a:lnTo>
                  <a:lnTo>
                    <a:pt x="261" y="1051"/>
                  </a:lnTo>
                  <a:lnTo>
                    <a:pt x="256" y="1051"/>
                  </a:lnTo>
                  <a:lnTo>
                    <a:pt x="247" y="1047"/>
                  </a:lnTo>
                  <a:lnTo>
                    <a:pt x="243" y="1047"/>
                  </a:lnTo>
                  <a:lnTo>
                    <a:pt x="243" y="1047"/>
                  </a:lnTo>
                  <a:lnTo>
                    <a:pt x="238" y="1047"/>
                  </a:lnTo>
                  <a:lnTo>
                    <a:pt x="238" y="1047"/>
                  </a:lnTo>
                  <a:lnTo>
                    <a:pt x="238" y="1047"/>
                  </a:lnTo>
                  <a:lnTo>
                    <a:pt x="238" y="1047"/>
                  </a:lnTo>
                  <a:lnTo>
                    <a:pt x="234" y="1047"/>
                  </a:lnTo>
                  <a:lnTo>
                    <a:pt x="234" y="1047"/>
                  </a:lnTo>
                  <a:lnTo>
                    <a:pt x="234" y="1047"/>
                  </a:lnTo>
                  <a:lnTo>
                    <a:pt x="229" y="1042"/>
                  </a:lnTo>
                  <a:lnTo>
                    <a:pt x="229" y="1047"/>
                  </a:lnTo>
                  <a:lnTo>
                    <a:pt x="229" y="1047"/>
                  </a:lnTo>
                  <a:lnTo>
                    <a:pt x="229" y="1051"/>
                  </a:lnTo>
                  <a:lnTo>
                    <a:pt x="224" y="1056"/>
                  </a:lnTo>
                  <a:lnTo>
                    <a:pt x="229" y="1061"/>
                  </a:lnTo>
                  <a:lnTo>
                    <a:pt x="229" y="1061"/>
                  </a:lnTo>
                  <a:lnTo>
                    <a:pt x="229" y="1061"/>
                  </a:lnTo>
                  <a:lnTo>
                    <a:pt x="224" y="1065"/>
                  </a:lnTo>
                  <a:lnTo>
                    <a:pt x="224" y="1070"/>
                  </a:lnTo>
                  <a:lnTo>
                    <a:pt x="220" y="1074"/>
                  </a:lnTo>
                  <a:lnTo>
                    <a:pt x="220" y="1079"/>
                  </a:lnTo>
                  <a:lnTo>
                    <a:pt x="220" y="1083"/>
                  </a:lnTo>
                  <a:lnTo>
                    <a:pt x="220" y="1083"/>
                  </a:lnTo>
                  <a:lnTo>
                    <a:pt x="220" y="1093"/>
                  </a:lnTo>
                  <a:lnTo>
                    <a:pt x="220" y="1093"/>
                  </a:lnTo>
                  <a:lnTo>
                    <a:pt x="220" y="1093"/>
                  </a:lnTo>
                  <a:lnTo>
                    <a:pt x="220" y="1097"/>
                  </a:lnTo>
                  <a:lnTo>
                    <a:pt x="220" y="1097"/>
                  </a:lnTo>
                  <a:lnTo>
                    <a:pt x="220" y="1097"/>
                  </a:lnTo>
                  <a:lnTo>
                    <a:pt x="215" y="1102"/>
                  </a:lnTo>
                  <a:lnTo>
                    <a:pt x="215" y="1102"/>
                  </a:lnTo>
                  <a:lnTo>
                    <a:pt x="215" y="1106"/>
                  </a:lnTo>
                  <a:lnTo>
                    <a:pt x="215" y="1111"/>
                  </a:lnTo>
                  <a:lnTo>
                    <a:pt x="211" y="1115"/>
                  </a:lnTo>
                  <a:lnTo>
                    <a:pt x="206" y="1129"/>
                  </a:lnTo>
                  <a:lnTo>
                    <a:pt x="206" y="1129"/>
                  </a:lnTo>
                  <a:lnTo>
                    <a:pt x="206" y="1134"/>
                  </a:lnTo>
                  <a:lnTo>
                    <a:pt x="206" y="1134"/>
                  </a:lnTo>
                  <a:lnTo>
                    <a:pt x="202" y="1147"/>
                  </a:lnTo>
                  <a:lnTo>
                    <a:pt x="202" y="1152"/>
                  </a:lnTo>
                  <a:lnTo>
                    <a:pt x="202" y="1152"/>
                  </a:lnTo>
                  <a:lnTo>
                    <a:pt x="202" y="1152"/>
                  </a:lnTo>
                  <a:lnTo>
                    <a:pt x="197" y="1152"/>
                  </a:lnTo>
                  <a:lnTo>
                    <a:pt x="197" y="1152"/>
                  </a:lnTo>
                  <a:lnTo>
                    <a:pt x="197" y="1152"/>
                  </a:lnTo>
                  <a:lnTo>
                    <a:pt x="197" y="1152"/>
                  </a:lnTo>
                  <a:lnTo>
                    <a:pt x="192" y="1152"/>
                  </a:lnTo>
                  <a:lnTo>
                    <a:pt x="192" y="1152"/>
                  </a:lnTo>
                  <a:lnTo>
                    <a:pt x="192" y="1147"/>
                  </a:lnTo>
                  <a:lnTo>
                    <a:pt x="192" y="1143"/>
                  </a:lnTo>
                  <a:lnTo>
                    <a:pt x="197" y="1134"/>
                  </a:lnTo>
                  <a:lnTo>
                    <a:pt x="197" y="1120"/>
                  </a:lnTo>
                  <a:lnTo>
                    <a:pt x="202" y="1102"/>
                  </a:lnTo>
                  <a:lnTo>
                    <a:pt x="202" y="1097"/>
                  </a:lnTo>
                  <a:lnTo>
                    <a:pt x="202" y="1074"/>
                  </a:lnTo>
                  <a:lnTo>
                    <a:pt x="202" y="1065"/>
                  </a:lnTo>
                  <a:lnTo>
                    <a:pt x="202" y="1056"/>
                  </a:lnTo>
                  <a:lnTo>
                    <a:pt x="197" y="1051"/>
                  </a:lnTo>
                  <a:lnTo>
                    <a:pt x="197" y="1047"/>
                  </a:lnTo>
                  <a:lnTo>
                    <a:pt x="197" y="1024"/>
                  </a:lnTo>
                  <a:lnTo>
                    <a:pt x="197" y="1019"/>
                  </a:lnTo>
                  <a:lnTo>
                    <a:pt x="197" y="1019"/>
                  </a:lnTo>
                  <a:lnTo>
                    <a:pt x="197" y="1010"/>
                  </a:lnTo>
                  <a:lnTo>
                    <a:pt x="197" y="1010"/>
                  </a:lnTo>
                  <a:lnTo>
                    <a:pt x="202" y="1010"/>
                  </a:lnTo>
                  <a:lnTo>
                    <a:pt x="202" y="1006"/>
                  </a:lnTo>
                  <a:lnTo>
                    <a:pt x="206" y="1001"/>
                  </a:lnTo>
                  <a:lnTo>
                    <a:pt x="206" y="997"/>
                  </a:lnTo>
                  <a:lnTo>
                    <a:pt x="211" y="997"/>
                  </a:lnTo>
                  <a:lnTo>
                    <a:pt x="211" y="992"/>
                  </a:lnTo>
                  <a:lnTo>
                    <a:pt x="215" y="987"/>
                  </a:lnTo>
                  <a:lnTo>
                    <a:pt x="215" y="987"/>
                  </a:lnTo>
                  <a:lnTo>
                    <a:pt x="220" y="983"/>
                  </a:lnTo>
                  <a:lnTo>
                    <a:pt x="220" y="974"/>
                  </a:lnTo>
                  <a:lnTo>
                    <a:pt x="220" y="969"/>
                  </a:lnTo>
                  <a:lnTo>
                    <a:pt x="220" y="965"/>
                  </a:lnTo>
                  <a:lnTo>
                    <a:pt x="224" y="960"/>
                  </a:lnTo>
                  <a:lnTo>
                    <a:pt x="224" y="951"/>
                  </a:lnTo>
                  <a:lnTo>
                    <a:pt x="229" y="946"/>
                  </a:lnTo>
                  <a:lnTo>
                    <a:pt x="234" y="937"/>
                  </a:lnTo>
                  <a:lnTo>
                    <a:pt x="238" y="937"/>
                  </a:lnTo>
                  <a:lnTo>
                    <a:pt x="238" y="933"/>
                  </a:lnTo>
                  <a:lnTo>
                    <a:pt x="238" y="928"/>
                  </a:lnTo>
                  <a:lnTo>
                    <a:pt x="243" y="928"/>
                  </a:lnTo>
                  <a:lnTo>
                    <a:pt x="247" y="923"/>
                  </a:lnTo>
                  <a:lnTo>
                    <a:pt x="256" y="923"/>
                  </a:lnTo>
                  <a:lnTo>
                    <a:pt x="261" y="923"/>
                  </a:lnTo>
                  <a:lnTo>
                    <a:pt x="261" y="923"/>
                  </a:lnTo>
                  <a:lnTo>
                    <a:pt x="266" y="919"/>
                  </a:lnTo>
                  <a:lnTo>
                    <a:pt x="270" y="919"/>
                  </a:lnTo>
                  <a:lnTo>
                    <a:pt x="270" y="914"/>
                  </a:lnTo>
                  <a:lnTo>
                    <a:pt x="275" y="914"/>
                  </a:lnTo>
                  <a:lnTo>
                    <a:pt x="275" y="910"/>
                  </a:lnTo>
                  <a:lnTo>
                    <a:pt x="279" y="901"/>
                  </a:lnTo>
                  <a:lnTo>
                    <a:pt x="279" y="878"/>
                  </a:lnTo>
                  <a:lnTo>
                    <a:pt x="284" y="850"/>
                  </a:lnTo>
                  <a:lnTo>
                    <a:pt x="284" y="837"/>
                  </a:lnTo>
                  <a:lnTo>
                    <a:pt x="288" y="823"/>
                  </a:lnTo>
                  <a:lnTo>
                    <a:pt x="288" y="814"/>
                  </a:lnTo>
                  <a:lnTo>
                    <a:pt x="288" y="805"/>
                  </a:lnTo>
                  <a:lnTo>
                    <a:pt x="288" y="795"/>
                  </a:lnTo>
                  <a:lnTo>
                    <a:pt x="288" y="791"/>
                  </a:lnTo>
                  <a:lnTo>
                    <a:pt x="288" y="791"/>
                  </a:lnTo>
                  <a:lnTo>
                    <a:pt x="288" y="786"/>
                  </a:lnTo>
                  <a:lnTo>
                    <a:pt x="288" y="777"/>
                  </a:lnTo>
                  <a:lnTo>
                    <a:pt x="284" y="777"/>
                  </a:lnTo>
                  <a:lnTo>
                    <a:pt x="284" y="773"/>
                  </a:lnTo>
                  <a:lnTo>
                    <a:pt x="284" y="768"/>
                  </a:lnTo>
                  <a:lnTo>
                    <a:pt x="284" y="768"/>
                  </a:lnTo>
                  <a:lnTo>
                    <a:pt x="275" y="759"/>
                  </a:lnTo>
                  <a:lnTo>
                    <a:pt x="275" y="754"/>
                  </a:lnTo>
                  <a:lnTo>
                    <a:pt x="270" y="750"/>
                  </a:lnTo>
                  <a:lnTo>
                    <a:pt x="266" y="750"/>
                  </a:lnTo>
                  <a:lnTo>
                    <a:pt x="266" y="745"/>
                  </a:lnTo>
                  <a:lnTo>
                    <a:pt x="261" y="745"/>
                  </a:lnTo>
                  <a:lnTo>
                    <a:pt x="261" y="741"/>
                  </a:lnTo>
                  <a:lnTo>
                    <a:pt x="261" y="736"/>
                  </a:lnTo>
                  <a:lnTo>
                    <a:pt x="256" y="731"/>
                  </a:lnTo>
                  <a:lnTo>
                    <a:pt x="252" y="727"/>
                  </a:lnTo>
                  <a:lnTo>
                    <a:pt x="247" y="722"/>
                  </a:lnTo>
                  <a:lnTo>
                    <a:pt x="238" y="713"/>
                  </a:lnTo>
                  <a:lnTo>
                    <a:pt x="229" y="704"/>
                  </a:lnTo>
                  <a:lnTo>
                    <a:pt x="224" y="704"/>
                  </a:lnTo>
                  <a:lnTo>
                    <a:pt x="220" y="695"/>
                  </a:lnTo>
                  <a:lnTo>
                    <a:pt x="215" y="690"/>
                  </a:lnTo>
                  <a:lnTo>
                    <a:pt x="206" y="686"/>
                  </a:lnTo>
                  <a:lnTo>
                    <a:pt x="206" y="681"/>
                  </a:lnTo>
                  <a:lnTo>
                    <a:pt x="202" y="681"/>
                  </a:lnTo>
                  <a:lnTo>
                    <a:pt x="197" y="681"/>
                  </a:lnTo>
                  <a:lnTo>
                    <a:pt x="197" y="681"/>
                  </a:lnTo>
                  <a:lnTo>
                    <a:pt x="197" y="677"/>
                  </a:lnTo>
                  <a:lnTo>
                    <a:pt x="192" y="672"/>
                  </a:lnTo>
                  <a:lnTo>
                    <a:pt x="188" y="667"/>
                  </a:lnTo>
                  <a:lnTo>
                    <a:pt x="183" y="663"/>
                  </a:lnTo>
                  <a:lnTo>
                    <a:pt x="179" y="663"/>
                  </a:lnTo>
                  <a:lnTo>
                    <a:pt x="174" y="658"/>
                  </a:lnTo>
                  <a:lnTo>
                    <a:pt x="174" y="658"/>
                  </a:lnTo>
                  <a:lnTo>
                    <a:pt x="174" y="658"/>
                  </a:lnTo>
                  <a:lnTo>
                    <a:pt x="170" y="654"/>
                  </a:lnTo>
                  <a:lnTo>
                    <a:pt x="165" y="654"/>
                  </a:lnTo>
                  <a:lnTo>
                    <a:pt x="160" y="654"/>
                  </a:lnTo>
                  <a:lnTo>
                    <a:pt x="156" y="649"/>
                  </a:lnTo>
                  <a:lnTo>
                    <a:pt x="151" y="649"/>
                  </a:lnTo>
                  <a:lnTo>
                    <a:pt x="151" y="649"/>
                  </a:lnTo>
                  <a:lnTo>
                    <a:pt x="142" y="645"/>
                  </a:lnTo>
                  <a:lnTo>
                    <a:pt x="128" y="645"/>
                  </a:lnTo>
                  <a:lnTo>
                    <a:pt x="124" y="645"/>
                  </a:lnTo>
                  <a:lnTo>
                    <a:pt x="119" y="649"/>
                  </a:lnTo>
                  <a:lnTo>
                    <a:pt x="96" y="654"/>
                  </a:lnTo>
                  <a:lnTo>
                    <a:pt x="87" y="658"/>
                  </a:lnTo>
                  <a:lnTo>
                    <a:pt x="64" y="663"/>
                  </a:lnTo>
                  <a:lnTo>
                    <a:pt x="60" y="663"/>
                  </a:lnTo>
                  <a:lnTo>
                    <a:pt x="55" y="663"/>
                  </a:lnTo>
                  <a:lnTo>
                    <a:pt x="51" y="663"/>
                  </a:lnTo>
                  <a:lnTo>
                    <a:pt x="42" y="667"/>
                  </a:lnTo>
                  <a:lnTo>
                    <a:pt x="42" y="667"/>
                  </a:lnTo>
                  <a:lnTo>
                    <a:pt x="37" y="672"/>
                  </a:lnTo>
                  <a:lnTo>
                    <a:pt x="32" y="677"/>
                  </a:lnTo>
                  <a:lnTo>
                    <a:pt x="23" y="681"/>
                  </a:lnTo>
                  <a:lnTo>
                    <a:pt x="19" y="681"/>
                  </a:lnTo>
                  <a:lnTo>
                    <a:pt x="14" y="686"/>
                  </a:lnTo>
                  <a:lnTo>
                    <a:pt x="14" y="690"/>
                  </a:lnTo>
                  <a:lnTo>
                    <a:pt x="5" y="690"/>
                  </a:lnTo>
                  <a:lnTo>
                    <a:pt x="0" y="690"/>
                  </a:lnTo>
                  <a:lnTo>
                    <a:pt x="0" y="690"/>
                  </a:lnTo>
                  <a:lnTo>
                    <a:pt x="0" y="686"/>
                  </a:lnTo>
                  <a:lnTo>
                    <a:pt x="0" y="681"/>
                  </a:lnTo>
                  <a:lnTo>
                    <a:pt x="0" y="681"/>
                  </a:lnTo>
                  <a:lnTo>
                    <a:pt x="0" y="677"/>
                  </a:lnTo>
                  <a:lnTo>
                    <a:pt x="0" y="672"/>
                  </a:lnTo>
                  <a:lnTo>
                    <a:pt x="0" y="663"/>
                  </a:lnTo>
                  <a:lnTo>
                    <a:pt x="5" y="658"/>
                  </a:lnTo>
                  <a:lnTo>
                    <a:pt x="5" y="658"/>
                  </a:lnTo>
                  <a:lnTo>
                    <a:pt x="10" y="654"/>
                  </a:lnTo>
                  <a:lnTo>
                    <a:pt x="10" y="649"/>
                  </a:lnTo>
                  <a:lnTo>
                    <a:pt x="10" y="645"/>
                  </a:lnTo>
                  <a:lnTo>
                    <a:pt x="14" y="640"/>
                  </a:lnTo>
                  <a:lnTo>
                    <a:pt x="14" y="640"/>
                  </a:lnTo>
                  <a:lnTo>
                    <a:pt x="10" y="640"/>
                  </a:lnTo>
                  <a:lnTo>
                    <a:pt x="10" y="635"/>
                  </a:lnTo>
                  <a:lnTo>
                    <a:pt x="10" y="631"/>
                  </a:lnTo>
                  <a:lnTo>
                    <a:pt x="14" y="635"/>
                  </a:lnTo>
                  <a:lnTo>
                    <a:pt x="19" y="635"/>
                  </a:lnTo>
                  <a:lnTo>
                    <a:pt x="19" y="635"/>
                  </a:lnTo>
                  <a:lnTo>
                    <a:pt x="28" y="635"/>
                  </a:lnTo>
                  <a:lnTo>
                    <a:pt x="42" y="626"/>
                  </a:lnTo>
                  <a:lnTo>
                    <a:pt x="42" y="622"/>
                  </a:lnTo>
                  <a:lnTo>
                    <a:pt x="46" y="622"/>
                  </a:lnTo>
                  <a:lnTo>
                    <a:pt x="46" y="617"/>
                  </a:lnTo>
                  <a:lnTo>
                    <a:pt x="51" y="617"/>
                  </a:lnTo>
                  <a:lnTo>
                    <a:pt x="51" y="617"/>
                  </a:lnTo>
                  <a:lnTo>
                    <a:pt x="55" y="617"/>
                  </a:lnTo>
                  <a:lnTo>
                    <a:pt x="60" y="613"/>
                  </a:lnTo>
                  <a:lnTo>
                    <a:pt x="60" y="608"/>
                  </a:lnTo>
                  <a:lnTo>
                    <a:pt x="64" y="608"/>
                  </a:lnTo>
                  <a:lnTo>
                    <a:pt x="64" y="603"/>
                  </a:lnTo>
                  <a:lnTo>
                    <a:pt x="64" y="603"/>
                  </a:lnTo>
                  <a:lnTo>
                    <a:pt x="74" y="594"/>
                  </a:lnTo>
                  <a:lnTo>
                    <a:pt x="78" y="594"/>
                  </a:lnTo>
                  <a:lnTo>
                    <a:pt x="83" y="594"/>
                  </a:lnTo>
                  <a:lnTo>
                    <a:pt x="87" y="590"/>
                  </a:lnTo>
                  <a:lnTo>
                    <a:pt x="87" y="585"/>
                  </a:lnTo>
                  <a:lnTo>
                    <a:pt x="87" y="585"/>
                  </a:lnTo>
                  <a:lnTo>
                    <a:pt x="92" y="585"/>
                  </a:lnTo>
                  <a:lnTo>
                    <a:pt x="92" y="581"/>
                  </a:lnTo>
                  <a:lnTo>
                    <a:pt x="92" y="576"/>
                  </a:lnTo>
                  <a:lnTo>
                    <a:pt x="96" y="576"/>
                  </a:lnTo>
                  <a:lnTo>
                    <a:pt x="92" y="571"/>
                  </a:lnTo>
                  <a:lnTo>
                    <a:pt x="92" y="562"/>
                  </a:lnTo>
                  <a:lnTo>
                    <a:pt x="92" y="558"/>
                  </a:lnTo>
                  <a:lnTo>
                    <a:pt x="92" y="553"/>
                  </a:lnTo>
                  <a:lnTo>
                    <a:pt x="87" y="549"/>
                  </a:lnTo>
                  <a:lnTo>
                    <a:pt x="87" y="549"/>
                  </a:lnTo>
                  <a:lnTo>
                    <a:pt x="87" y="544"/>
                  </a:lnTo>
                  <a:lnTo>
                    <a:pt x="87" y="535"/>
                  </a:lnTo>
                  <a:lnTo>
                    <a:pt x="83" y="530"/>
                  </a:lnTo>
                  <a:lnTo>
                    <a:pt x="78" y="530"/>
                  </a:lnTo>
                  <a:lnTo>
                    <a:pt x="78" y="526"/>
                  </a:lnTo>
                  <a:lnTo>
                    <a:pt x="74" y="517"/>
                  </a:lnTo>
                  <a:lnTo>
                    <a:pt x="74" y="507"/>
                  </a:lnTo>
                  <a:lnTo>
                    <a:pt x="69" y="507"/>
                  </a:lnTo>
                  <a:lnTo>
                    <a:pt x="69" y="494"/>
                  </a:lnTo>
                  <a:lnTo>
                    <a:pt x="74" y="485"/>
                  </a:lnTo>
                  <a:lnTo>
                    <a:pt x="78" y="480"/>
                  </a:lnTo>
                  <a:lnTo>
                    <a:pt x="87" y="480"/>
                  </a:lnTo>
                  <a:lnTo>
                    <a:pt x="87" y="475"/>
                  </a:lnTo>
                  <a:lnTo>
                    <a:pt x="92" y="475"/>
                  </a:lnTo>
                  <a:lnTo>
                    <a:pt x="101" y="480"/>
                  </a:lnTo>
                  <a:lnTo>
                    <a:pt x="106" y="480"/>
                  </a:lnTo>
                  <a:lnTo>
                    <a:pt x="110" y="480"/>
                  </a:lnTo>
                  <a:lnTo>
                    <a:pt x="110" y="485"/>
                  </a:lnTo>
                  <a:lnTo>
                    <a:pt x="115" y="485"/>
                  </a:lnTo>
                  <a:lnTo>
                    <a:pt x="119" y="485"/>
                  </a:lnTo>
                  <a:lnTo>
                    <a:pt x="128" y="485"/>
                  </a:lnTo>
                  <a:lnTo>
                    <a:pt x="128" y="485"/>
                  </a:lnTo>
                  <a:lnTo>
                    <a:pt x="133" y="489"/>
                  </a:lnTo>
                  <a:lnTo>
                    <a:pt x="138" y="489"/>
                  </a:lnTo>
                  <a:lnTo>
                    <a:pt x="142" y="489"/>
                  </a:lnTo>
                  <a:lnTo>
                    <a:pt x="151" y="489"/>
                  </a:lnTo>
                  <a:lnTo>
                    <a:pt x="156" y="489"/>
                  </a:lnTo>
                  <a:lnTo>
                    <a:pt x="165" y="489"/>
                  </a:lnTo>
                  <a:lnTo>
                    <a:pt x="165" y="485"/>
                  </a:lnTo>
                  <a:lnTo>
                    <a:pt x="170" y="485"/>
                  </a:lnTo>
                  <a:lnTo>
                    <a:pt x="174" y="485"/>
                  </a:lnTo>
                  <a:lnTo>
                    <a:pt x="174" y="480"/>
                  </a:lnTo>
                  <a:lnTo>
                    <a:pt x="174" y="475"/>
                  </a:lnTo>
                  <a:lnTo>
                    <a:pt x="174" y="471"/>
                  </a:lnTo>
                  <a:lnTo>
                    <a:pt x="179" y="466"/>
                  </a:lnTo>
                  <a:lnTo>
                    <a:pt x="183" y="462"/>
                  </a:lnTo>
                  <a:lnTo>
                    <a:pt x="188" y="462"/>
                  </a:lnTo>
                  <a:lnTo>
                    <a:pt x="197" y="462"/>
                  </a:lnTo>
                  <a:lnTo>
                    <a:pt x="197" y="462"/>
                  </a:lnTo>
                  <a:lnTo>
                    <a:pt x="206" y="462"/>
                  </a:lnTo>
                  <a:lnTo>
                    <a:pt x="211" y="462"/>
                  </a:lnTo>
                  <a:lnTo>
                    <a:pt x="220" y="462"/>
                  </a:lnTo>
                  <a:lnTo>
                    <a:pt x="220" y="462"/>
                  </a:lnTo>
                  <a:lnTo>
                    <a:pt x="224" y="457"/>
                  </a:lnTo>
                  <a:lnTo>
                    <a:pt x="229" y="457"/>
                  </a:lnTo>
                  <a:lnTo>
                    <a:pt x="238" y="457"/>
                  </a:lnTo>
                  <a:lnTo>
                    <a:pt x="238" y="457"/>
                  </a:lnTo>
                  <a:lnTo>
                    <a:pt x="243" y="453"/>
                  </a:lnTo>
                  <a:lnTo>
                    <a:pt x="247" y="453"/>
                  </a:lnTo>
                  <a:lnTo>
                    <a:pt x="247" y="448"/>
                  </a:lnTo>
                  <a:lnTo>
                    <a:pt x="252" y="448"/>
                  </a:lnTo>
                  <a:lnTo>
                    <a:pt x="261" y="443"/>
                  </a:lnTo>
                  <a:lnTo>
                    <a:pt x="261" y="443"/>
                  </a:lnTo>
                  <a:lnTo>
                    <a:pt x="266" y="439"/>
                  </a:lnTo>
                  <a:lnTo>
                    <a:pt x="270" y="439"/>
                  </a:lnTo>
                  <a:lnTo>
                    <a:pt x="275" y="439"/>
                  </a:lnTo>
                  <a:lnTo>
                    <a:pt x="279" y="439"/>
                  </a:lnTo>
                  <a:lnTo>
                    <a:pt x="279" y="434"/>
                  </a:lnTo>
                  <a:lnTo>
                    <a:pt x="284" y="434"/>
                  </a:lnTo>
                  <a:lnTo>
                    <a:pt x="284" y="430"/>
                  </a:lnTo>
                  <a:lnTo>
                    <a:pt x="288" y="430"/>
                  </a:lnTo>
                  <a:lnTo>
                    <a:pt x="293" y="425"/>
                  </a:lnTo>
                  <a:lnTo>
                    <a:pt x="298" y="421"/>
                  </a:lnTo>
                  <a:lnTo>
                    <a:pt x="302" y="421"/>
                  </a:lnTo>
                  <a:lnTo>
                    <a:pt x="307" y="421"/>
                  </a:lnTo>
                  <a:lnTo>
                    <a:pt x="307" y="416"/>
                  </a:lnTo>
                  <a:lnTo>
                    <a:pt x="307" y="416"/>
                  </a:lnTo>
                  <a:lnTo>
                    <a:pt x="311" y="411"/>
                  </a:lnTo>
                  <a:lnTo>
                    <a:pt x="316" y="411"/>
                  </a:lnTo>
                  <a:lnTo>
                    <a:pt x="316" y="407"/>
                  </a:lnTo>
                  <a:lnTo>
                    <a:pt x="320" y="407"/>
                  </a:lnTo>
                  <a:lnTo>
                    <a:pt x="325" y="402"/>
                  </a:lnTo>
                  <a:lnTo>
                    <a:pt x="330" y="402"/>
                  </a:lnTo>
                  <a:lnTo>
                    <a:pt x="330" y="398"/>
                  </a:lnTo>
                  <a:lnTo>
                    <a:pt x="334" y="398"/>
                  </a:lnTo>
                  <a:lnTo>
                    <a:pt x="339" y="398"/>
                  </a:lnTo>
                  <a:lnTo>
                    <a:pt x="339" y="393"/>
                  </a:lnTo>
                  <a:lnTo>
                    <a:pt x="343" y="393"/>
                  </a:lnTo>
                  <a:lnTo>
                    <a:pt x="348" y="393"/>
                  </a:lnTo>
                  <a:lnTo>
                    <a:pt x="348" y="389"/>
                  </a:lnTo>
                  <a:lnTo>
                    <a:pt x="348" y="389"/>
                  </a:lnTo>
                  <a:lnTo>
                    <a:pt x="348" y="384"/>
                  </a:lnTo>
                  <a:lnTo>
                    <a:pt x="352" y="384"/>
                  </a:lnTo>
                  <a:lnTo>
                    <a:pt x="357" y="384"/>
                  </a:lnTo>
                  <a:lnTo>
                    <a:pt x="357" y="379"/>
                  </a:lnTo>
                  <a:lnTo>
                    <a:pt x="362" y="375"/>
                  </a:lnTo>
                  <a:lnTo>
                    <a:pt x="366" y="375"/>
                  </a:lnTo>
                  <a:lnTo>
                    <a:pt x="366" y="375"/>
                  </a:lnTo>
                  <a:lnTo>
                    <a:pt x="371" y="375"/>
                  </a:lnTo>
                  <a:lnTo>
                    <a:pt x="371" y="370"/>
                  </a:lnTo>
                  <a:lnTo>
                    <a:pt x="371" y="366"/>
                  </a:lnTo>
                  <a:lnTo>
                    <a:pt x="375" y="366"/>
                  </a:lnTo>
                  <a:lnTo>
                    <a:pt x="380" y="366"/>
                  </a:lnTo>
                  <a:lnTo>
                    <a:pt x="380" y="361"/>
                  </a:lnTo>
                  <a:lnTo>
                    <a:pt x="384" y="357"/>
                  </a:lnTo>
                  <a:lnTo>
                    <a:pt x="389" y="357"/>
                  </a:lnTo>
                  <a:lnTo>
                    <a:pt x="389" y="352"/>
                  </a:lnTo>
                  <a:lnTo>
                    <a:pt x="394" y="352"/>
                  </a:lnTo>
                  <a:lnTo>
                    <a:pt x="394" y="347"/>
                  </a:lnTo>
                  <a:lnTo>
                    <a:pt x="398" y="347"/>
                  </a:lnTo>
                  <a:lnTo>
                    <a:pt x="398" y="343"/>
                  </a:lnTo>
                  <a:lnTo>
                    <a:pt x="412" y="329"/>
                  </a:lnTo>
                  <a:lnTo>
                    <a:pt x="416" y="329"/>
                  </a:lnTo>
                  <a:lnTo>
                    <a:pt x="416" y="329"/>
                  </a:lnTo>
                  <a:lnTo>
                    <a:pt x="416" y="329"/>
                  </a:lnTo>
                  <a:lnTo>
                    <a:pt x="416" y="325"/>
                  </a:lnTo>
                  <a:lnTo>
                    <a:pt x="421" y="320"/>
                  </a:lnTo>
                  <a:lnTo>
                    <a:pt x="430" y="311"/>
                  </a:lnTo>
                  <a:lnTo>
                    <a:pt x="439" y="311"/>
                  </a:lnTo>
                  <a:lnTo>
                    <a:pt x="444" y="302"/>
                  </a:lnTo>
                  <a:lnTo>
                    <a:pt x="448" y="297"/>
                  </a:lnTo>
                  <a:lnTo>
                    <a:pt x="453" y="293"/>
                  </a:lnTo>
                  <a:lnTo>
                    <a:pt x="458" y="293"/>
                  </a:lnTo>
                  <a:lnTo>
                    <a:pt x="458" y="288"/>
                  </a:lnTo>
                  <a:lnTo>
                    <a:pt x="467" y="283"/>
                  </a:lnTo>
                  <a:lnTo>
                    <a:pt x="471" y="279"/>
                  </a:lnTo>
                  <a:lnTo>
                    <a:pt x="476" y="274"/>
                  </a:lnTo>
                  <a:lnTo>
                    <a:pt x="480" y="274"/>
                  </a:lnTo>
                  <a:lnTo>
                    <a:pt x="480" y="270"/>
                  </a:lnTo>
                  <a:lnTo>
                    <a:pt x="485" y="270"/>
                  </a:lnTo>
                  <a:lnTo>
                    <a:pt x="485" y="265"/>
                  </a:lnTo>
                  <a:lnTo>
                    <a:pt x="490" y="265"/>
                  </a:lnTo>
                  <a:lnTo>
                    <a:pt x="494" y="265"/>
                  </a:lnTo>
                  <a:lnTo>
                    <a:pt x="499" y="265"/>
                  </a:lnTo>
                  <a:lnTo>
                    <a:pt x="503" y="265"/>
                  </a:lnTo>
                  <a:lnTo>
                    <a:pt x="508" y="261"/>
                  </a:lnTo>
                  <a:lnTo>
                    <a:pt x="517" y="261"/>
                  </a:lnTo>
                  <a:lnTo>
                    <a:pt x="535" y="261"/>
                  </a:lnTo>
                  <a:lnTo>
                    <a:pt x="549" y="256"/>
                  </a:lnTo>
                  <a:lnTo>
                    <a:pt x="549" y="256"/>
                  </a:lnTo>
                  <a:lnTo>
                    <a:pt x="554" y="251"/>
                  </a:lnTo>
                  <a:lnTo>
                    <a:pt x="558" y="251"/>
                  </a:lnTo>
                  <a:lnTo>
                    <a:pt x="563" y="247"/>
                  </a:lnTo>
                  <a:lnTo>
                    <a:pt x="567" y="242"/>
                  </a:lnTo>
                  <a:lnTo>
                    <a:pt x="567" y="242"/>
                  </a:lnTo>
                  <a:lnTo>
                    <a:pt x="572" y="238"/>
                  </a:lnTo>
                  <a:lnTo>
                    <a:pt x="572" y="229"/>
                  </a:lnTo>
                  <a:lnTo>
                    <a:pt x="572" y="224"/>
                  </a:lnTo>
                  <a:lnTo>
                    <a:pt x="572" y="219"/>
                  </a:lnTo>
                  <a:lnTo>
                    <a:pt x="567" y="219"/>
                  </a:lnTo>
                  <a:lnTo>
                    <a:pt x="567" y="215"/>
                  </a:lnTo>
                  <a:lnTo>
                    <a:pt x="567" y="210"/>
                  </a:lnTo>
                  <a:lnTo>
                    <a:pt x="567" y="206"/>
                  </a:lnTo>
                  <a:lnTo>
                    <a:pt x="563" y="206"/>
                  </a:lnTo>
                  <a:lnTo>
                    <a:pt x="563" y="201"/>
                  </a:lnTo>
                  <a:lnTo>
                    <a:pt x="558" y="201"/>
                  </a:lnTo>
                  <a:lnTo>
                    <a:pt x="558" y="197"/>
                  </a:lnTo>
                  <a:lnTo>
                    <a:pt x="554" y="187"/>
                  </a:lnTo>
                  <a:lnTo>
                    <a:pt x="549" y="178"/>
                  </a:lnTo>
                  <a:lnTo>
                    <a:pt x="544" y="160"/>
                  </a:lnTo>
                  <a:lnTo>
                    <a:pt x="540" y="146"/>
                  </a:lnTo>
                  <a:lnTo>
                    <a:pt x="540" y="132"/>
                  </a:lnTo>
                  <a:lnTo>
                    <a:pt x="535" y="119"/>
                  </a:lnTo>
                  <a:lnTo>
                    <a:pt x="535" y="105"/>
                  </a:lnTo>
                  <a:lnTo>
                    <a:pt x="531" y="96"/>
                  </a:lnTo>
                  <a:lnTo>
                    <a:pt x="531" y="87"/>
                  </a:lnTo>
                  <a:lnTo>
                    <a:pt x="531" y="82"/>
                  </a:lnTo>
                  <a:lnTo>
                    <a:pt x="531" y="78"/>
                  </a:lnTo>
                  <a:lnTo>
                    <a:pt x="535" y="73"/>
                  </a:lnTo>
                  <a:lnTo>
                    <a:pt x="535" y="68"/>
                  </a:lnTo>
                  <a:lnTo>
                    <a:pt x="535" y="64"/>
                  </a:lnTo>
                  <a:lnTo>
                    <a:pt x="540" y="64"/>
                  </a:lnTo>
                  <a:lnTo>
                    <a:pt x="540" y="59"/>
                  </a:lnTo>
                  <a:lnTo>
                    <a:pt x="540" y="55"/>
                  </a:lnTo>
                  <a:lnTo>
                    <a:pt x="544" y="50"/>
                  </a:lnTo>
                  <a:lnTo>
                    <a:pt x="544" y="46"/>
                  </a:lnTo>
                  <a:lnTo>
                    <a:pt x="558" y="36"/>
                  </a:lnTo>
                  <a:lnTo>
                    <a:pt x="563" y="36"/>
                  </a:lnTo>
                  <a:lnTo>
                    <a:pt x="567" y="36"/>
                  </a:lnTo>
                  <a:lnTo>
                    <a:pt x="572" y="36"/>
                  </a:lnTo>
                  <a:lnTo>
                    <a:pt x="586" y="36"/>
                  </a:lnTo>
                  <a:lnTo>
                    <a:pt x="590" y="32"/>
                  </a:lnTo>
                  <a:lnTo>
                    <a:pt x="595" y="32"/>
                  </a:lnTo>
                  <a:lnTo>
                    <a:pt x="599" y="27"/>
                  </a:lnTo>
                  <a:lnTo>
                    <a:pt x="604" y="27"/>
                  </a:lnTo>
                  <a:lnTo>
                    <a:pt x="608" y="27"/>
                  </a:lnTo>
                  <a:lnTo>
                    <a:pt x="608" y="23"/>
                  </a:lnTo>
                  <a:lnTo>
                    <a:pt x="613" y="23"/>
                  </a:lnTo>
                  <a:lnTo>
                    <a:pt x="613" y="23"/>
                  </a:lnTo>
                  <a:lnTo>
                    <a:pt x="618" y="18"/>
                  </a:lnTo>
                  <a:lnTo>
                    <a:pt x="622" y="18"/>
                  </a:lnTo>
                  <a:lnTo>
                    <a:pt x="627" y="18"/>
                  </a:lnTo>
                  <a:lnTo>
                    <a:pt x="627" y="14"/>
                  </a:lnTo>
                  <a:lnTo>
                    <a:pt x="631" y="14"/>
                  </a:lnTo>
                  <a:lnTo>
                    <a:pt x="636" y="9"/>
                  </a:lnTo>
                  <a:lnTo>
                    <a:pt x="636" y="9"/>
                  </a:lnTo>
                  <a:lnTo>
                    <a:pt x="645" y="4"/>
                  </a:lnTo>
                  <a:lnTo>
                    <a:pt x="650" y="4"/>
                  </a:lnTo>
                  <a:lnTo>
                    <a:pt x="654" y="0"/>
                  </a:lnTo>
                  <a:lnTo>
                    <a:pt x="659" y="0"/>
                  </a:lnTo>
                  <a:lnTo>
                    <a:pt x="663" y="0"/>
                  </a:lnTo>
                  <a:lnTo>
                    <a:pt x="668" y="0"/>
                  </a:lnTo>
                  <a:lnTo>
                    <a:pt x="677" y="0"/>
                  </a:lnTo>
                  <a:lnTo>
                    <a:pt x="686" y="0"/>
                  </a:lnTo>
                  <a:lnTo>
                    <a:pt x="700" y="0"/>
                  </a:lnTo>
                  <a:lnTo>
                    <a:pt x="709" y="0"/>
                  </a:lnTo>
                  <a:lnTo>
                    <a:pt x="723" y="4"/>
                  </a:lnTo>
                  <a:lnTo>
                    <a:pt x="727" y="4"/>
                  </a:lnTo>
                  <a:lnTo>
                    <a:pt x="746" y="9"/>
                  </a:lnTo>
                  <a:lnTo>
                    <a:pt x="759" y="9"/>
                  </a:lnTo>
                  <a:lnTo>
                    <a:pt x="778" y="9"/>
                  </a:lnTo>
                  <a:lnTo>
                    <a:pt x="782" y="9"/>
                  </a:lnTo>
                  <a:lnTo>
                    <a:pt x="787" y="9"/>
                  </a:lnTo>
                  <a:lnTo>
                    <a:pt x="791" y="9"/>
                  </a:lnTo>
                  <a:lnTo>
                    <a:pt x="796" y="14"/>
                  </a:lnTo>
                  <a:lnTo>
                    <a:pt x="800" y="14"/>
                  </a:lnTo>
                  <a:lnTo>
                    <a:pt x="810" y="18"/>
                  </a:lnTo>
                  <a:lnTo>
                    <a:pt x="819" y="23"/>
                  </a:lnTo>
                  <a:lnTo>
                    <a:pt x="823" y="18"/>
                  </a:lnTo>
                  <a:lnTo>
                    <a:pt x="823" y="23"/>
                  </a:lnTo>
                  <a:lnTo>
                    <a:pt x="828" y="23"/>
                  </a:lnTo>
                  <a:lnTo>
                    <a:pt x="832" y="23"/>
                  </a:lnTo>
                  <a:lnTo>
                    <a:pt x="832" y="18"/>
                  </a:lnTo>
                  <a:lnTo>
                    <a:pt x="837" y="18"/>
                  </a:lnTo>
                  <a:lnTo>
                    <a:pt x="842" y="18"/>
                  </a:lnTo>
                  <a:lnTo>
                    <a:pt x="846" y="18"/>
                  </a:lnTo>
                  <a:lnTo>
                    <a:pt x="851" y="14"/>
                  </a:lnTo>
                  <a:lnTo>
                    <a:pt x="855" y="9"/>
                  </a:lnTo>
                  <a:lnTo>
                    <a:pt x="869" y="23"/>
                  </a:lnTo>
                  <a:lnTo>
                    <a:pt x="874" y="23"/>
                  </a:lnTo>
                  <a:lnTo>
                    <a:pt x="874" y="27"/>
                  </a:lnTo>
                  <a:lnTo>
                    <a:pt x="878" y="32"/>
                  </a:lnTo>
                  <a:lnTo>
                    <a:pt x="878" y="41"/>
                  </a:lnTo>
                  <a:lnTo>
                    <a:pt x="878" y="41"/>
                  </a:lnTo>
                  <a:lnTo>
                    <a:pt x="878" y="46"/>
                  </a:lnTo>
                  <a:lnTo>
                    <a:pt x="883" y="46"/>
                  </a:lnTo>
                  <a:lnTo>
                    <a:pt x="883" y="50"/>
                  </a:lnTo>
                  <a:lnTo>
                    <a:pt x="887" y="55"/>
                  </a:lnTo>
                  <a:lnTo>
                    <a:pt x="887" y="59"/>
                  </a:lnTo>
                  <a:lnTo>
                    <a:pt x="887" y="64"/>
                  </a:lnTo>
                  <a:lnTo>
                    <a:pt x="892" y="64"/>
                  </a:lnTo>
                  <a:lnTo>
                    <a:pt x="892" y="68"/>
                  </a:lnTo>
                  <a:lnTo>
                    <a:pt x="896" y="68"/>
                  </a:lnTo>
                  <a:lnTo>
                    <a:pt x="896" y="68"/>
                  </a:lnTo>
                  <a:lnTo>
                    <a:pt x="906" y="73"/>
                  </a:lnTo>
                  <a:lnTo>
                    <a:pt x="915" y="78"/>
                  </a:lnTo>
                  <a:lnTo>
                    <a:pt x="919" y="78"/>
                  </a:lnTo>
                  <a:lnTo>
                    <a:pt x="919" y="78"/>
                  </a:lnTo>
                  <a:lnTo>
                    <a:pt x="919" y="82"/>
                  </a:lnTo>
                  <a:lnTo>
                    <a:pt x="924" y="82"/>
                  </a:lnTo>
                  <a:lnTo>
                    <a:pt x="928" y="87"/>
                  </a:lnTo>
                  <a:lnTo>
                    <a:pt x="933" y="87"/>
                  </a:lnTo>
                  <a:lnTo>
                    <a:pt x="933" y="91"/>
                  </a:lnTo>
                  <a:lnTo>
                    <a:pt x="938" y="91"/>
                  </a:lnTo>
                  <a:lnTo>
                    <a:pt x="938" y="91"/>
                  </a:lnTo>
                  <a:lnTo>
                    <a:pt x="942" y="96"/>
                  </a:lnTo>
                  <a:lnTo>
                    <a:pt x="942" y="100"/>
                  </a:lnTo>
                  <a:lnTo>
                    <a:pt x="942" y="100"/>
                  </a:lnTo>
                  <a:lnTo>
                    <a:pt x="947" y="105"/>
                  </a:lnTo>
                  <a:lnTo>
                    <a:pt x="947" y="110"/>
                  </a:lnTo>
                  <a:lnTo>
                    <a:pt x="951" y="110"/>
                  </a:lnTo>
                  <a:lnTo>
                    <a:pt x="951" y="110"/>
                  </a:lnTo>
                  <a:lnTo>
                    <a:pt x="956" y="110"/>
                  </a:lnTo>
                  <a:lnTo>
                    <a:pt x="956" y="114"/>
                  </a:lnTo>
                  <a:lnTo>
                    <a:pt x="956" y="119"/>
                  </a:lnTo>
                  <a:lnTo>
                    <a:pt x="960" y="119"/>
                  </a:lnTo>
                  <a:lnTo>
                    <a:pt x="960" y="123"/>
                  </a:lnTo>
                  <a:lnTo>
                    <a:pt x="965" y="128"/>
                  </a:lnTo>
                  <a:lnTo>
                    <a:pt x="965" y="132"/>
                  </a:lnTo>
                  <a:lnTo>
                    <a:pt x="965" y="132"/>
                  </a:lnTo>
                  <a:lnTo>
                    <a:pt x="965" y="137"/>
                  </a:lnTo>
                  <a:lnTo>
                    <a:pt x="965" y="146"/>
                  </a:lnTo>
                  <a:lnTo>
                    <a:pt x="965" y="151"/>
                  </a:lnTo>
                  <a:lnTo>
                    <a:pt x="965" y="155"/>
                  </a:lnTo>
                  <a:lnTo>
                    <a:pt x="965" y="169"/>
                  </a:lnTo>
                  <a:lnTo>
                    <a:pt x="965" y="178"/>
                  </a:lnTo>
                  <a:lnTo>
                    <a:pt x="965" y="183"/>
                  </a:lnTo>
                  <a:lnTo>
                    <a:pt x="965" y="192"/>
                  </a:lnTo>
                  <a:lnTo>
                    <a:pt x="970" y="197"/>
                  </a:lnTo>
                  <a:lnTo>
                    <a:pt x="970" y="201"/>
                  </a:lnTo>
                  <a:lnTo>
                    <a:pt x="974" y="201"/>
                  </a:lnTo>
                  <a:lnTo>
                    <a:pt x="974" y="201"/>
                  </a:lnTo>
                  <a:lnTo>
                    <a:pt x="979" y="206"/>
                  </a:lnTo>
                  <a:lnTo>
                    <a:pt x="988" y="210"/>
                  </a:lnTo>
                  <a:lnTo>
                    <a:pt x="988" y="215"/>
                  </a:lnTo>
                  <a:lnTo>
                    <a:pt x="992" y="219"/>
                  </a:lnTo>
                  <a:lnTo>
                    <a:pt x="997" y="224"/>
                  </a:lnTo>
                  <a:lnTo>
                    <a:pt x="1006" y="229"/>
                  </a:lnTo>
                  <a:lnTo>
                    <a:pt x="1006" y="233"/>
                  </a:lnTo>
                  <a:lnTo>
                    <a:pt x="1015" y="238"/>
                  </a:lnTo>
                  <a:lnTo>
                    <a:pt x="1024" y="242"/>
                  </a:lnTo>
                  <a:lnTo>
                    <a:pt x="1024" y="242"/>
                  </a:lnTo>
                  <a:lnTo>
                    <a:pt x="1029" y="242"/>
                  </a:lnTo>
                  <a:lnTo>
                    <a:pt x="1029" y="247"/>
                  </a:lnTo>
                  <a:lnTo>
                    <a:pt x="1029" y="251"/>
                  </a:lnTo>
                  <a:lnTo>
                    <a:pt x="1029" y="261"/>
                  </a:lnTo>
                  <a:lnTo>
                    <a:pt x="1029" y="265"/>
                  </a:lnTo>
                  <a:lnTo>
                    <a:pt x="1029" y="265"/>
                  </a:lnTo>
                  <a:lnTo>
                    <a:pt x="1029" y="279"/>
                  </a:lnTo>
                  <a:lnTo>
                    <a:pt x="1029" y="283"/>
                  </a:lnTo>
                  <a:lnTo>
                    <a:pt x="1024" y="283"/>
                  </a:lnTo>
                  <a:lnTo>
                    <a:pt x="1024" y="288"/>
                  </a:lnTo>
                  <a:lnTo>
                    <a:pt x="1024" y="288"/>
                  </a:lnTo>
                  <a:lnTo>
                    <a:pt x="1015" y="297"/>
                  </a:lnTo>
                  <a:lnTo>
                    <a:pt x="1006" y="311"/>
                  </a:lnTo>
                  <a:lnTo>
                    <a:pt x="1006" y="311"/>
                  </a:lnTo>
                  <a:lnTo>
                    <a:pt x="1006" y="311"/>
                  </a:lnTo>
                  <a:lnTo>
                    <a:pt x="1006" y="315"/>
                  </a:lnTo>
                  <a:lnTo>
                    <a:pt x="1006" y="320"/>
                  </a:lnTo>
                  <a:lnTo>
                    <a:pt x="1002" y="320"/>
                  </a:lnTo>
                  <a:lnTo>
                    <a:pt x="1002" y="329"/>
                  </a:lnTo>
                  <a:lnTo>
                    <a:pt x="1002" y="329"/>
                  </a:lnTo>
                  <a:lnTo>
                    <a:pt x="997" y="329"/>
                  </a:lnTo>
                  <a:lnTo>
                    <a:pt x="997" y="334"/>
                  </a:lnTo>
                  <a:lnTo>
                    <a:pt x="992" y="343"/>
                  </a:lnTo>
                  <a:lnTo>
                    <a:pt x="992" y="352"/>
                  </a:lnTo>
                  <a:lnTo>
                    <a:pt x="988" y="357"/>
                  </a:lnTo>
                  <a:lnTo>
                    <a:pt x="988" y="379"/>
                  </a:lnTo>
                  <a:lnTo>
                    <a:pt x="988" y="393"/>
                  </a:lnTo>
                  <a:lnTo>
                    <a:pt x="988" y="398"/>
                  </a:lnTo>
                  <a:lnTo>
                    <a:pt x="988" y="398"/>
                  </a:lnTo>
                  <a:lnTo>
                    <a:pt x="988" y="402"/>
                  </a:lnTo>
                  <a:lnTo>
                    <a:pt x="988" y="407"/>
                  </a:lnTo>
                  <a:lnTo>
                    <a:pt x="983" y="407"/>
                  </a:lnTo>
                  <a:lnTo>
                    <a:pt x="983" y="411"/>
                  </a:lnTo>
                  <a:lnTo>
                    <a:pt x="979" y="416"/>
                  </a:lnTo>
                  <a:lnTo>
                    <a:pt x="979" y="421"/>
                  </a:lnTo>
                  <a:lnTo>
                    <a:pt x="974" y="421"/>
                  </a:lnTo>
                  <a:lnTo>
                    <a:pt x="970" y="425"/>
                  </a:lnTo>
                  <a:lnTo>
                    <a:pt x="965" y="425"/>
                  </a:lnTo>
                  <a:lnTo>
                    <a:pt x="965" y="430"/>
                  </a:lnTo>
                  <a:lnTo>
                    <a:pt x="960" y="434"/>
                  </a:lnTo>
                  <a:lnTo>
                    <a:pt x="951" y="439"/>
                  </a:lnTo>
                  <a:lnTo>
                    <a:pt x="942" y="439"/>
                  </a:lnTo>
                  <a:lnTo>
                    <a:pt x="942" y="439"/>
                  </a:lnTo>
                  <a:lnTo>
                    <a:pt x="938" y="439"/>
                  </a:lnTo>
                  <a:lnTo>
                    <a:pt x="938" y="443"/>
                  </a:lnTo>
                  <a:lnTo>
                    <a:pt x="933" y="443"/>
                  </a:lnTo>
                  <a:lnTo>
                    <a:pt x="928" y="448"/>
                  </a:lnTo>
                  <a:lnTo>
                    <a:pt x="919" y="457"/>
                  </a:lnTo>
                  <a:lnTo>
                    <a:pt x="919" y="462"/>
                  </a:lnTo>
                  <a:lnTo>
                    <a:pt x="919" y="462"/>
                  </a:lnTo>
                  <a:lnTo>
                    <a:pt x="919" y="462"/>
                  </a:lnTo>
                  <a:lnTo>
                    <a:pt x="915" y="462"/>
                  </a:lnTo>
                  <a:lnTo>
                    <a:pt x="915" y="466"/>
                  </a:lnTo>
                  <a:lnTo>
                    <a:pt x="915" y="471"/>
                  </a:lnTo>
                  <a:lnTo>
                    <a:pt x="910" y="471"/>
                  </a:lnTo>
                  <a:lnTo>
                    <a:pt x="910" y="475"/>
                  </a:lnTo>
                  <a:lnTo>
                    <a:pt x="906" y="485"/>
                  </a:lnTo>
                  <a:lnTo>
                    <a:pt x="901" y="485"/>
                  </a:lnTo>
                  <a:lnTo>
                    <a:pt x="901" y="489"/>
                  </a:lnTo>
                  <a:lnTo>
                    <a:pt x="896" y="494"/>
                  </a:lnTo>
                  <a:lnTo>
                    <a:pt x="896" y="498"/>
                  </a:lnTo>
                  <a:lnTo>
                    <a:pt x="892" y="503"/>
                  </a:lnTo>
                  <a:lnTo>
                    <a:pt x="892" y="507"/>
                  </a:lnTo>
                  <a:lnTo>
                    <a:pt x="887" y="507"/>
                  </a:lnTo>
                  <a:lnTo>
                    <a:pt x="887" y="507"/>
                  </a:lnTo>
                  <a:lnTo>
                    <a:pt x="887" y="512"/>
                  </a:lnTo>
                  <a:lnTo>
                    <a:pt x="883" y="512"/>
                  </a:lnTo>
                  <a:lnTo>
                    <a:pt x="883" y="517"/>
                  </a:lnTo>
                  <a:lnTo>
                    <a:pt x="878" y="517"/>
                  </a:lnTo>
                  <a:lnTo>
                    <a:pt x="878" y="521"/>
                  </a:lnTo>
                  <a:lnTo>
                    <a:pt x="878" y="526"/>
                  </a:lnTo>
                  <a:lnTo>
                    <a:pt x="878" y="530"/>
                  </a:lnTo>
                  <a:lnTo>
                    <a:pt x="874" y="530"/>
                  </a:lnTo>
                  <a:lnTo>
                    <a:pt x="869" y="530"/>
                  </a:lnTo>
                  <a:lnTo>
                    <a:pt x="869" y="535"/>
                  </a:lnTo>
                  <a:lnTo>
                    <a:pt x="864" y="535"/>
                  </a:lnTo>
                  <a:lnTo>
                    <a:pt x="864" y="539"/>
                  </a:lnTo>
                  <a:lnTo>
                    <a:pt x="860" y="539"/>
                  </a:lnTo>
                  <a:lnTo>
                    <a:pt x="860" y="544"/>
                  </a:lnTo>
                  <a:lnTo>
                    <a:pt x="855" y="549"/>
                  </a:lnTo>
                  <a:lnTo>
                    <a:pt x="855" y="549"/>
                  </a:lnTo>
                  <a:lnTo>
                    <a:pt x="851" y="553"/>
                  </a:lnTo>
                  <a:lnTo>
                    <a:pt x="846" y="558"/>
                  </a:lnTo>
                  <a:lnTo>
                    <a:pt x="846" y="562"/>
                  </a:lnTo>
                  <a:lnTo>
                    <a:pt x="842" y="567"/>
                  </a:lnTo>
                  <a:lnTo>
                    <a:pt x="832" y="571"/>
                  </a:lnTo>
                  <a:lnTo>
                    <a:pt x="832" y="571"/>
                  </a:lnTo>
                  <a:lnTo>
                    <a:pt x="832" y="576"/>
                  </a:lnTo>
                  <a:lnTo>
                    <a:pt x="832" y="581"/>
                  </a:lnTo>
                  <a:lnTo>
                    <a:pt x="842" y="581"/>
                  </a:lnTo>
                  <a:lnTo>
                    <a:pt x="846" y="585"/>
                  </a:lnTo>
                  <a:lnTo>
                    <a:pt x="851" y="590"/>
                  </a:lnTo>
                  <a:lnTo>
                    <a:pt x="855" y="594"/>
                  </a:lnTo>
                  <a:lnTo>
                    <a:pt x="860" y="603"/>
                  </a:lnTo>
                  <a:lnTo>
                    <a:pt x="860" y="608"/>
                  </a:lnTo>
                  <a:lnTo>
                    <a:pt x="864" y="613"/>
                  </a:lnTo>
                  <a:lnTo>
                    <a:pt x="864" y="617"/>
                  </a:lnTo>
                  <a:lnTo>
                    <a:pt x="864" y="617"/>
                  </a:lnTo>
                  <a:lnTo>
                    <a:pt x="869" y="617"/>
                  </a:lnTo>
                  <a:lnTo>
                    <a:pt x="874" y="631"/>
                  </a:lnTo>
                  <a:lnTo>
                    <a:pt x="874" y="635"/>
                  </a:lnTo>
                  <a:lnTo>
                    <a:pt x="878" y="640"/>
                  </a:lnTo>
                  <a:lnTo>
                    <a:pt x="878" y="654"/>
                  </a:lnTo>
                  <a:lnTo>
                    <a:pt x="883" y="658"/>
                  </a:lnTo>
                  <a:lnTo>
                    <a:pt x="887" y="658"/>
                  </a:lnTo>
                  <a:lnTo>
                    <a:pt x="887" y="658"/>
                  </a:lnTo>
                  <a:lnTo>
                    <a:pt x="892" y="658"/>
                  </a:lnTo>
                  <a:lnTo>
                    <a:pt x="896" y="663"/>
                  </a:lnTo>
                  <a:lnTo>
                    <a:pt x="901" y="658"/>
                  </a:lnTo>
                  <a:lnTo>
                    <a:pt x="906" y="658"/>
                  </a:lnTo>
                  <a:lnTo>
                    <a:pt x="910" y="649"/>
                  </a:lnTo>
                  <a:lnTo>
                    <a:pt x="915" y="645"/>
                  </a:lnTo>
                  <a:lnTo>
                    <a:pt x="915" y="640"/>
                  </a:lnTo>
                  <a:lnTo>
                    <a:pt x="915" y="640"/>
                  </a:lnTo>
                  <a:lnTo>
                    <a:pt x="919" y="635"/>
                  </a:lnTo>
                  <a:lnTo>
                    <a:pt x="919" y="631"/>
                  </a:lnTo>
                  <a:lnTo>
                    <a:pt x="919" y="626"/>
                  </a:lnTo>
                  <a:lnTo>
                    <a:pt x="924" y="622"/>
                  </a:lnTo>
                  <a:lnTo>
                    <a:pt x="924" y="617"/>
                  </a:lnTo>
                  <a:lnTo>
                    <a:pt x="928" y="617"/>
                  </a:lnTo>
                  <a:lnTo>
                    <a:pt x="933" y="617"/>
                  </a:lnTo>
                  <a:lnTo>
                    <a:pt x="938" y="617"/>
                  </a:lnTo>
                  <a:lnTo>
                    <a:pt x="942" y="617"/>
                  </a:lnTo>
                  <a:lnTo>
                    <a:pt x="942" y="622"/>
                  </a:lnTo>
                  <a:lnTo>
                    <a:pt x="947" y="622"/>
                  </a:lnTo>
                  <a:lnTo>
                    <a:pt x="947" y="626"/>
                  </a:lnTo>
                  <a:lnTo>
                    <a:pt x="951" y="626"/>
                  </a:lnTo>
                  <a:lnTo>
                    <a:pt x="951" y="631"/>
                  </a:lnTo>
                  <a:lnTo>
                    <a:pt x="960" y="640"/>
                  </a:lnTo>
                  <a:lnTo>
                    <a:pt x="965" y="640"/>
                  </a:lnTo>
                  <a:lnTo>
                    <a:pt x="965" y="645"/>
                  </a:lnTo>
                  <a:lnTo>
                    <a:pt x="965" y="645"/>
                  </a:lnTo>
                  <a:lnTo>
                    <a:pt x="970" y="654"/>
                  </a:lnTo>
                  <a:lnTo>
                    <a:pt x="974" y="658"/>
                  </a:lnTo>
                  <a:lnTo>
                    <a:pt x="983" y="663"/>
                  </a:lnTo>
                  <a:lnTo>
                    <a:pt x="988" y="663"/>
                  </a:lnTo>
                  <a:lnTo>
                    <a:pt x="988" y="667"/>
                  </a:lnTo>
                  <a:lnTo>
                    <a:pt x="988" y="667"/>
                  </a:lnTo>
                  <a:lnTo>
                    <a:pt x="992" y="667"/>
                  </a:lnTo>
                  <a:lnTo>
                    <a:pt x="992" y="672"/>
                  </a:lnTo>
                  <a:lnTo>
                    <a:pt x="997" y="672"/>
                  </a:lnTo>
                  <a:lnTo>
                    <a:pt x="997" y="677"/>
                  </a:lnTo>
                  <a:lnTo>
                    <a:pt x="1002" y="681"/>
                  </a:lnTo>
                  <a:lnTo>
                    <a:pt x="1006" y="681"/>
                  </a:lnTo>
                  <a:lnTo>
                    <a:pt x="1006" y="686"/>
                  </a:lnTo>
                  <a:lnTo>
                    <a:pt x="1011" y="695"/>
                  </a:lnTo>
                  <a:lnTo>
                    <a:pt x="1011" y="704"/>
                  </a:lnTo>
                  <a:lnTo>
                    <a:pt x="1011" y="709"/>
                  </a:lnTo>
                  <a:lnTo>
                    <a:pt x="1011" y="718"/>
                  </a:lnTo>
                  <a:lnTo>
                    <a:pt x="1011" y="722"/>
                  </a:lnTo>
                  <a:lnTo>
                    <a:pt x="1011" y="727"/>
                  </a:lnTo>
                  <a:lnTo>
                    <a:pt x="1011" y="731"/>
                  </a:lnTo>
                  <a:lnTo>
                    <a:pt x="1011" y="736"/>
                  </a:lnTo>
                  <a:lnTo>
                    <a:pt x="1011" y="750"/>
                  </a:lnTo>
                  <a:lnTo>
                    <a:pt x="1015" y="763"/>
                  </a:lnTo>
                  <a:lnTo>
                    <a:pt x="1015" y="768"/>
                  </a:lnTo>
                  <a:lnTo>
                    <a:pt x="1015" y="768"/>
                  </a:lnTo>
                  <a:lnTo>
                    <a:pt x="1020" y="768"/>
                  </a:lnTo>
                  <a:lnTo>
                    <a:pt x="1020" y="782"/>
                  </a:lnTo>
                  <a:lnTo>
                    <a:pt x="1024" y="791"/>
                  </a:lnTo>
                  <a:lnTo>
                    <a:pt x="1029" y="795"/>
                  </a:lnTo>
                  <a:lnTo>
                    <a:pt x="1029" y="805"/>
                  </a:lnTo>
                  <a:lnTo>
                    <a:pt x="1029" y="805"/>
                  </a:lnTo>
                  <a:lnTo>
                    <a:pt x="1029" y="805"/>
                  </a:lnTo>
                  <a:lnTo>
                    <a:pt x="1029" y="809"/>
                  </a:lnTo>
                  <a:lnTo>
                    <a:pt x="1024" y="809"/>
                  </a:lnTo>
                  <a:lnTo>
                    <a:pt x="1011" y="827"/>
                  </a:lnTo>
                  <a:lnTo>
                    <a:pt x="1006" y="832"/>
                  </a:lnTo>
                  <a:lnTo>
                    <a:pt x="1006" y="837"/>
                  </a:lnTo>
                  <a:lnTo>
                    <a:pt x="1002" y="841"/>
                  </a:lnTo>
                  <a:lnTo>
                    <a:pt x="1002" y="841"/>
                  </a:lnTo>
                  <a:lnTo>
                    <a:pt x="1002" y="846"/>
                  </a:lnTo>
                  <a:lnTo>
                    <a:pt x="997" y="855"/>
                  </a:lnTo>
                  <a:lnTo>
                    <a:pt x="997" y="864"/>
                  </a:lnTo>
                  <a:lnTo>
                    <a:pt x="992" y="869"/>
                  </a:lnTo>
                  <a:lnTo>
                    <a:pt x="992" y="878"/>
                  </a:lnTo>
                  <a:lnTo>
                    <a:pt x="997" y="882"/>
                  </a:lnTo>
                  <a:lnTo>
                    <a:pt x="997" y="887"/>
                  </a:lnTo>
                  <a:lnTo>
                    <a:pt x="997" y="887"/>
                  </a:lnTo>
                  <a:lnTo>
                    <a:pt x="997" y="896"/>
                  </a:lnTo>
                  <a:lnTo>
                    <a:pt x="1002" y="910"/>
                  </a:lnTo>
                  <a:lnTo>
                    <a:pt x="1002" y="919"/>
                  </a:lnTo>
                  <a:lnTo>
                    <a:pt x="1011" y="928"/>
                  </a:lnTo>
                  <a:lnTo>
                    <a:pt x="1011" y="933"/>
                  </a:lnTo>
                  <a:lnTo>
                    <a:pt x="1011" y="933"/>
                  </a:lnTo>
                  <a:lnTo>
                    <a:pt x="1011" y="933"/>
                  </a:lnTo>
                  <a:lnTo>
                    <a:pt x="1011" y="937"/>
                  </a:lnTo>
                  <a:lnTo>
                    <a:pt x="1011" y="937"/>
                  </a:lnTo>
                  <a:lnTo>
                    <a:pt x="1006" y="942"/>
                  </a:lnTo>
                  <a:lnTo>
                    <a:pt x="1006" y="942"/>
                  </a:lnTo>
                  <a:lnTo>
                    <a:pt x="1002" y="942"/>
                  </a:lnTo>
                  <a:lnTo>
                    <a:pt x="997" y="946"/>
                  </a:lnTo>
                  <a:lnTo>
                    <a:pt x="983" y="942"/>
                  </a:lnTo>
                  <a:lnTo>
                    <a:pt x="979" y="942"/>
                  </a:lnTo>
                  <a:lnTo>
                    <a:pt x="974" y="946"/>
                  </a:lnTo>
                  <a:lnTo>
                    <a:pt x="974" y="946"/>
                  </a:lnTo>
                  <a:lnTo>
                    <a:pt x="974" y="946"/>
                  </a:lnTo>
                  <a:lnTo>
                    <a:pt x="970" y="942"/>
                  </a:lnTo>
                  <a:lnTo>
                    <a:pt x="970" y="946"/>
                  </a:lnTo>
                  <a:lnTo>
                    <a:pt x="960" y="946"/>
                  </a:lnTo>
                  <a:lnTo>
                    <a:pt x="960" y="946"/>
                  </a:lnTo>
                  <a:lnTo>
                    <a:pt x="960" y="955"/>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Taraba</a:t>
              </a:r>
            </a:p>
          </p:txBody>
        </p:sp>
        <p:sp>
          <p:nvSpPr>
            <p:cNvPr id="159" name="Freeform 78">
              <a:extLst>
                <a:ext uri="{FF2B5EF4-FFF2-40B4-BE49-F238E27FC236}">
                  <a16:creationId xmlns:a16="http://schemas.microsoft.com/office/drawing/2014/main" id="{5D1F27E4-96DF-4B8B-87C8-97B002F0BDDF}"/>
                </a:ext>
              </a:extLst>
            </p:cNvPr>
            <p:cNvSpPr>
              <a:spLocks/>
            </p:cNvSpPr>
            <p:nvPr>
              <p:custDataLst>
                <p:tags r:id="rId71"/>
              </p:custDataLst>
            </p:nvPr>
          </p:nvSpPr>
          <p:spPr bwMode="auto">
            <a:xfrm>
              <a:off x="2430485" y="1033806"/>
              <a:ext cx="946015" cy="1076762"/>
            </a:xfrm>
            <a:custGeom>
              <a:avLst/>
              <a:gdLst/>
              <a:ahLst/>
              <a:cxnLst>
                <a:cxn ang="0">
                  <a:pos x="649" y="0"/>
                </a:cxn>
                <a:cxn ang="0">
                  <a:pos x="731" y="9"/>
                </a:cxn>
                <a:cxn ang="0">
                  <a:pos x="800" y="32"/>
                </a:cxn>
                <a:cxn ang="0">
                  <a:pos x="868" y="51"/>
                </a:cxn>
                <a:cxn ang="0">
                  <a:pos x="932" y="96"/>
                </a:cxn>
                <a:cxn ang="0">
                  <a:pos x="969" y="105"/>
                </a:cxn>
                <a:cxn ang="0">
                  <a:pos x="978" y="96"/>
                </a:cxn>
                <a:cxn ang="0">
                  <a:pos x="1006" y="96"/>
                </a:cxn>
                <a:cxn ang="0">
                  <a:pos x="1019" y="110"/>
                </a:cxn>
                <a:cxn ang="0">
                  <a:pos x="1038" y="110"/>
                </a:cxn>
                <a:cxn ang="0">
                  <a:pos x="1051" y="110"/>
                </a:cxn>
                <a:cxn ang="0">
                  <a:pos x="1051" y="160"/>
                </a:cxn>
                <a:cxn ang="0">
                  <a:pos x="1047" y="206"/>
                </a:cxn>
                <a:cxn ang="0">
                  <a:pos x="1070" y="238"/>
                </a:cxn>
                <a:cxn ang="0">
                  <a:pos x="1079" y="279"/>
                </a:cxn>
                <a:cxn ang="0">
                  <a:pos x="1051" y="316"/>
                </a:cxn>
                <a:cxn ang="0">
                  <a:pos x="1028" y="343"/>
                </a:cxn>
                <a:cxn ang="0">
                  <a:pos x="1006" y="371"/>
                </a:cxn>
                <a:cxn ang="0">
                  <a:pos x="1010" y="471"/>
                </a:cxn>
                <a:cxn ang="0">
                  <a:pos x="996" y="590"/>
                </a:cxn>
                <a:cxn ang="0">
                  <a:pos x="974" y="636"/>
                </a:cxn>
                <a:cxn ang="0">
                  <a:pos x="1006" y="668"/>
                </a:cxn>
                <a:cxn ang="0">
                  <a:pos x="1015" y="723"/>
                </a:cxn>
                <a:cxn ang="0">
                  <a:pos x="983" y="759"/>
                </a:cxn>
                <a:cxn ang="0">
                  <a:pos x="960" y="791"/>
                </a:cxn>
                <a:cxn ang="0">
                  <a:pos x="955" y="860"/>
                </a:cxn>
                <a:cxn ang="0">
                  <a:pos x="914" y="905"/>
                </a:cxn>
                <a:cxn ang="0">
                  <a:pos x="873" y="919"/>
                </a:cxn>
                <a:cxn ang="0">
                  <a:pos x="823" y="942"/>
                </a:cxn>
                <a:cxn ang="0">
                  <a:pos x="791" y="988"/>
                </a:cxn>
                <a:cxn ang="0">
                  <a:pos x="786" y="1047"/>
                </a:cxn>
                <a:cxn ang="0">
                  <a:pos x="740" y="1061"/>
                </a:cxn>
                <a:cxn ang="0">
                  <a:pos x="740" y="947"/>
                </a:cxn>
                <a:cxn ang="0">
                  <a:pos x="722" y="910"/>
                </a:cxn>
                <a:cxn ang="0">
                  <a:pos x="667" y="855"/>
                </a:cxn>
                <a:cxn ang="0">
                  <a:pos x="612" y="809"/>
                </a:cxn>
                <a:cxn ang="0">
                  <a:pos x="521" y="796"/>
                </a:cxn>
                <a:cxn ang="0">
                  <a:pos x="489" y="768"/>
                </a:cxn>
                <a:cxn ang="0">
                  <a:pos x="507" y="727"/>
                </a:cxn>
                <a:cxn ang="0">
                  <a:pos x="489" y="636"/>
                </a:cxn>
                <a:cxn ang="0">
                  <a:pos x="466" y="590"/>
                </a:cxn>
                <a:cxn ang="0">
                  <a:pos x="457" y="535"/>
                </a:cxn>
                <a:cxn ang="0">
                  <a:pos x="439" y="462"/>
                </a:cxn>
                <a:cxn ang="0">
                  <a:pos x="430" y="380"/>
                </a:cxn>
                <a:cxn ang="0">
                  <a:pos x="393" y="329"/>
                </a:cxn>
                <a:cxn ang="0">
                  <a:pos x="352" y="220"/>
                </a:cxn>
                <a:cxn ang="0">
                  <a:pos x="283" y="220"/>
                </a:cxn>
                <a:cxn ang="0">
                  <a:pos x="251" y="165"/>
                </a:cxn>
                <a:cxn ang="0">
                  <a:pos x="210" y="142"/>
                </a:cxn>
                <a:cxn ang="0">
                  <a:pos x="151" y="160"/>
                </a:cxn>
                <a:cxn ang="0">
                  <a:pos x="114" y="206"/>
                </a:cxn>
                <a:cxn ang="0">
                  <a:pos x="50" y="220"/>
                </a:cxn>
                <a:cxn ang="0">
                  <a:pos x="41" y="201"/>
                </a:cxn>
                <a:cxn ang="0">
                  <a:pos x="105" y="128"/>
                </a:cxn>
                <a:cxn ang="0">
                  <a:pos x="155" y="78"/>
                </a:cxn>
                <a:cxn ang="0">
                  <a:pos x="228" y="41"/>
                </a:cxn>
                <a:cxn ang="0">
                  <a:pos x="311" y="37"/>
                </a:cxn>
                <a:cxn ang="0">
                  <a:pos x="388" y="14"/>
                </a:cxn>
                <a:cxn ang="0">
                  <a:pos x="489" y="5"/>
                </a:cxn>
                <a:cxn ang="0">
                  <a:pos x="567" y="0"/>
                </a:cxn>
              </a:cxnLst>
              <a:rect l="0" t="0" r="r" b="b"/>
              <a:pathLst>
                <a:path w="1083" h="1065">
                  <a:moveTo>
                    <a:pt x="585" y="0"/>
                  </a:moveTo>
                  <a:lnTo>
                    <a:pt x="590" y="0"/>
                  </a:lnTo>
                  <a:lnTo>
                    <a:pt x="599" y="0"/>
                  </a:lnTo>
                  <a:lnTo>
                    <a:pt x="599" y="0"/>
                  </a:lnTo>
                  <a:lnTo>
                    <a:pt x="603" y="0"/>
                  </a:lnTo>
                  <a:lnTo>
                    <a:pt x="612" y="0"/>
                  </a:lnTo>
                  <a:lnTo>
                    <a:pt x="617" y="0"/>
                  </a:lnTo>
                  <a:lnTo>
                    <a:pt x="617" y="0"/>
                  </a:lnTo>
                  <a:lnTo>
                    <a:pt x="635" y="0"/>
                  </a:lnTo>
                  <a:lnTo>
                    <a:pt x="640" y="0"/>
                  </a:lnTo>
                  <a:lnTo>
                    <a:pt x="644" y="0"/>
                  </a:lnTo>
                  <a:lnTo>
                    <a:pt x="649" y="0"/>
                  </a:lnTo>
                  <a:lnTo>
                    <a:pt x="649" y="0"/>
                  </a:lnTo>
                  <a:lnTo>
                    <a:pt x="658" y="0"/>
                  </a:lnTo>
                  <a:lnTo>
                    <a:pt x="672" y="0"/>
                  </a:lnTo>
                  <a:lnTo>
                    <a:pt x="686" y="0"/>
                  </a:lnTo>
                  <a:lnTo>
                    <a:pt x="699" y="5"/>
                  </a:lnTo>
                  <a:lnTo>
                    <a:pt x="704" y="5"/>
                  </a:lnTo>
                  <a:lnTo>
                    <a:pt x="708" y="5"/>
                  </a:lnTo>
                  <a:lnTo>
                    <a:pt x="713" y="5"/>
                  </a:lnTo>
                  <a:lnTo>
                    <a:pt x="718" y="9"/>
                  </a:lnTo>
                  <a:lnTo>
                    <a:pt x="718" y="5"/>
                  </a:lnTo>
                  <a:lnTo>
                    <a:pt x="731" y="9"/>
                  </a:lnTo>
                  <a:lnTo>
                    <a:pt x="731" y="9"/>
                  </a:lnTo>
                  <a:lnTo>
                    <a:pt x="731" y="9"/>
                  </a:lnTo>
                  <a:lnTo>
                    <a:pt x="740" y="9"/>
                  </a:lnTo>
                  <a:lnTo>
                    <a:pt x="759" y="19"/>
                  </a:lnTo>
                  <a:lnTo>
                    <a:pt x="763" y="23"/>
                  </a:lnTo>
                  <a:lnTo>
                    <a:pt x="763" y="23"/>
                  </a:lnTo>
                  <a:lnTo>
                    <a:pt x="772" y="23"/>
                  </a:lnTo>
                  <a:lnTo>
                    <a:pt x="777" y="28"/>
                  </a:lnTo>
                  <a:lnTo>
                    <a:pt x="782" y="28"/>
                  </a:lnTo>
                  <a:lnTo>
                    <a:pt x="786" y="28"/>
                  </a:lnTo>
                  <a:lnTo>
                    <a:pt x="786" y="32"/>
                  </a:lnTo>
                  <a:lnTo>
                    <a:pt x="791" y="32"/>
                  </a:lnTo>
                  <a:lnTo>
                    <a:pt x="800" y="32"/>
                  </a:lnTo>
                  <a:lnTo>
                    <a:pt x="809" y="37"/>
                  </a:lnTo>
                  <a:lnTo>
                    <a:pt x="814" y="37"/>
                  </a:lnTo>
                  <a:lnTo>
                    <a:pt x="818" y="37"/>
                  </a:lnTo>
                  <a:lnTo>
                    <a:pt x="818" y="37"/>
                  </a:lnTo>
                  <a:lnTo>
                    <a:pt x="823" y="37"/>
                  </a:lnTo>
                  <a:lnTo>
                    <a:pt x="827" y="37"/>
                  </a:lnTo>
                  <a:lnTo>
                    <a:pt x="827" y="41"/>
                  </a:lnTo>
                  <a:lnTo>
                    <a:pt x="832" y="41"/>
                  </a:lnTo>
                  <a:lnTo>
                    <a:pt x="841" y="41"/>
                  </a:lnTo>
                  <a:lnTo>
                    <a:pt x="846" y="41"/>
                  </a:lnTo>
                  <a:lnTo>
                    <a:pt x="864" y="46"/>
                  </a:lnTo>
                  <a:lnTo>
                    <a:pt x="868" y="51"/>
                  </a:lnTo>
                  <a:lnTo>
                    <a:pt x="868" y="51"/>
                  </a:lnTo>
                  <a:lnTo>
                    <a:pt x="878" y="55"/>
                  </a:lnTo>
                  <a:lnTo>
                    <a:pt x="887" y="60"/>
                  </a:lnTo>
                  <a:lnTo>
                    <a:pt x="887" y="60"/>
                  </a:lnTo>
                  <a:lnTo>
                    <a:pt x="910" y="73"/>
                  </a:lnTo>
                  <a:lnTo>
                    <a:pt x="910" y="78"/>
                  </a:lnTo>
                  <a:lnTo>
                    <a:pt x="919" y="83"/>
                  </a:lnTo>
                  <a:lnTo>
                    <a:pt x="919" y="83"/>
                  </a:lnTo>
                  <a:lnTo>
                    <a:pt x="923" y="87"/>
                  </a:lnTo>
                  <a:lnTo>
                    <a:pt x="928" y="92"/>
                  </a:lnTo>
                  <a:lnTo>
                    <a:pt x="928" y="92"/>
                  </a:lnTo>
                  <a:lnTo>
                    <a:pt x="932" y="96"/>
                  </a:lnTo>
                  <a:lnTo>
                    <a:pt x="942" y="101"/>
                  </a:lnTo>
                  <a:lnTo>
                    <a:pt x="951" y="105"/>
                  </a:lnTo>
                  <a:lnTo>
                    <a:pt x="955" y="110"/>
                  </a:lnTo>
                  <a:lnTo>
                    <a:pt x="955" y="105"/>
                  </a:lnTo>
                  <a:lnTo>
                    <a:pt x="960" y="105"/>
                  </a:lnTo>
                  <a:lnTo>
                    <a:pt x="960" y="105"/>
                  </a:lnTo>
                  <a:lnTo>
                    <a:pt x="964" y="105"/>
                  </a:lnTo>
                  <a:lnTo>
                    <a:pt x="964" y="101"/>
                  </a:lnTo>
                  <a:lnTo>
                    <a:pt x="964" y="105"/>
                  </a:lnTo>
                  <a:lnTo>
                    <a:pt x="964" y="105"/>
                  </a:lnTo>
                  <a:lnTo>
                    <a:pt x="969" y="105"/>
                  </a:lnTo>
                  <a:lnTo>
                    <a:pt x="969" y="105"/>
                  </a:lnTo>
                  <a:lnTo>
                    <a:pt x="969" y="101"/>
                  </a:lnTo>
                  <a:lnTo>
                    <a:pt x="969" y="101"/>
                  </a:lnTo>
                  <a:lnTo>
                    <a:pt x="974" y="101"/>
                  </a:lnTo>
                  <a:lnTo>
                    <a:pt x="974" y="101"/>
                  </a:lnTo>
                  <a:lnTo>
                    <a:pt x="974" y="105"/>
                  </a:lnTo>
                  <a:lnTo>
                    <a:pt x="978" y="101"/>
                  </a:lnTo>
                  <a:lnTo>
                    <a:pt x="978" y="105"/>
                  </a:lnTo>
                  <a:lnTo>
                    <a:pt x="978" y="105"/>
                  </a:lnTo>
                  <a:lnTo>
                    <a:pt x="983" y="101"/>
                  </a:lnTo>
                  <a:lnTo>
                    <a:pt x="983" y="101"/>
                  </a:lnTo>
                  <a:lnTo>
                    <a:pt x="983" y="96"/>
                  </a:lnTo>
                  <a:lnTo>
                    <a:pt x="978" y="96"/>
                  </a:lnTo>
                  <a:lnTo>
                    <a:pt x="978" y="96"/>
                  </a:lnTo>
                  <a:lnTo>
                    <a:pt x="983" y="96"/>
                  </a:lnTo>
                  <a:lnTo>
                    <a:pt x="983" y="96"/>
                  </a:lnTo>
                  <a:lnTo>
                    <a:pt x="987" y="96"/>
                  </a:lnTo>
                  <a:lnTo>
                    <a:pt x="987" y="96"/>
                  </a:lnTo>
                  <a:lnTo>
                    <a:pt x="992" y="96"/>
                  </a:lnTo>
                  <a:lnTo>
                    <a:pt x="992" y="96"/>
                  </a:lnTo>
                  <a:lnTo>
                    <a:pt x="996" y="101"/>
                  </a:lnTo>
                  <a:lnTo>
                    <a:pt x="1001" y="101"/>
                  </a:lnTo>
                  <a:lnTo>
                    <a:pt x="1001" y="101"/>
                  </a:lnTo>
                  <a:lnTo>
                    <a:pt x="1001" y="101"/>
                  </a:lnTo>
                  <a:lnTo>
                    <a:pt x="1006" y="96"/>
                  </a:lnTo>
                  <a:lnTo>
                    <a:pt x="1010" y="101"/>
                  </a:lnTo>
                  <a:lnTo>
                    <a:pt x="1015" y="101"/>
                  </a:lnTo>
                  <a:lnTo>
                    <a:pt x="1015" y="101"/>
                  </a:lnTo>
                  <a:lnTo>
                    <a:pt x="1015" y="101"/>
                  </a:lnTo>
                  <a:lnTo>
                    <a:pt x="1015" y="105"/>
                  </a:lnTo>
                  <a:lnTo>
                    <a:pt x="1015" y="110"/>
                  </a:lnTo>
                  <a:lnTo>
                    <a:pt x="1015" y="110"/>
                  </a:lnTo>
                  <a:lnTo>
                    <a:pt x="1019" y="110"/>
                  </a:lnTo>
                  <a:lnTo>
                    <a:pt x="1019" y="110"/>
                  </a:lnTo>
                  <a:lnTo>
                    <a:pt x="1024" y="110"/>
                  </a:lnTo>
                  <a:lnTo>
                    <a:pt x="1024" y="110"/>
                  </a:lnTo>
                  <a:lnTo>
                    <a:pt x="1019" y="110"/>
                  </a:lnTo>
                  <a:lnTo>
                    <a:pt x="1019" y="110"/>
                  </a:lnTo>
                  <a:lnTo>
                    <a:pt x="1019" y="105"/>
                  </a:lnTo>
                  <a:lnTo>
                    <a:pt x="1024" y="105"/>
                  </a:lnTo>
                  <a:lnTo>
                    <a:pt x="1024" y="105"/>
                  </a:lnTo>
                  <a:lnTo>
                    <a:pt x="1024" y="105"/>
                  </a:lnTo>
                  <a:lnTo>
                    <a:pt x="1028" y="105"/>
                  </a:lnTo>
                  <a:lnTo>
                    <a:pt x="1028" y="105"/>
                  </a:lnTo>
                  <a:lnTo>
                    <a:pt x="1033" y="110"/>
                  </a:lnTo>
                  <a:lnTo>
                    <a:pt x="1033" y="110"/>
                  </a:lnTo>
                  <a:lnTo>
                    <a:pt x="1033" y="110"/>
                  </a:lnTo>
                  <a:lnTo>
                    <a:pt x="1038" y="110"/>
                  </a:lnTo>
                  <a:lnTo>
                    <a:pt x="1038" y="110"/>
                  </a:lnTo>
                  <a:lnTo>
                    <a:pt x="1038" y="115"/>
                  </a:lnTo>
                  <a:lnTo>
                    <a:pt x="1038" y="115"/>
                  </a:lnTo>
                  <a:lnTo>
                    <a:pt x="1042" y="115"/>
                  </a:lnTo>
                  <a:lnTo>
                    <a:pt x="1042" y="115"/>
                  </a:lnTo>
                  <a:lnTo>
                    <a:pt x="1042" y="110"/>
                  </a:lnTo>
                  <a:lnTo>
                    <a:pt x="1042" y="110"/>
                  </a:lnTo>
                  <a:lnTo>
                    <a:pt x="1047" y="110"/>
                  </a:lnTo>
                  <a:lnTo>
                    <a:pt x="1047" y="110"/>
                  </a:lnTo>
                  <a:lnTo>
                    <a:pt x="1051" y="110"/>
                  </a:lnTo>
                  <a:lnTo>
                    <a:pt x="1051" y="110"/>
                  </a:lnTo>
                  <a:lnTo>
                    <a:pt x="1051" y="110"/>
                  </a:lnTo>
                  <a:lnTo>
                    <a:pt x="1051" y="110"/>
                  </a:lnTo>
                  <a:lnTo>
                    <a:pt x="1051" y="110"/>
                  </a:lnTo>
                  <a:lnTo>
                    <a:pt x="1051" y="110"/>
                  </a:lnTo>
                  <a:lnTo>
                    <a:pt x="1051" y="110"/>
                  </a:lnTo>
                  <a:lnTo>
                    <a:pt x="1051" y="115"/>
                  </a:lnTo>
                  <a:lnTo>
                    <a:pt x="1056" y="115"/>
                  </a:lnTo>
                  <a:lnTo>
                    <a:pt x="1056" y="115"/>
                  </a:lnTo>
                  <a:lnTo>
                    <a:pt x="1056" y="115"/>
                  </a:lnTo>
                  <a:lnTo>
                    <a:pt x="1051" y="133"/>
                  </a:lnTo>
                  <a:lnTo>
                    <a:pt x="1051" y="142"/>
                  </a:lnTo>
                  <a:lnTo>
                    <a:pt x="1051" y="151"/>
                  </a:lnTo>
                  <a:lnTo>
                    <a:pt x="1051" y="156"/>
                  </a:lnTo>
                  <a:lnTo>
                    <a:pt x="1051" y="160"/>
                  </a:lnTo>
                  <a:lnTo>
                    <a:pt x="1047" y="169"/>
                  </a:lnTo>
                  <a:lnTo>
                    <a:pt x="1042" y="174"/>
                  </a:lnTo>
                  <a:lnTo>
                    <a:pt x="1042" y="174"/>
                  </a:lnTo>
                  <a:lnTo>
                    <a:pt x="1042" y="179"/>
                  </a:lnTo>
                  <a:lnTo>
                    <a:pt x="1038" y="179"/>
                  </a:lnTo>
                  <a:lnTo>
                    <a:pt x="1038" y="183"/>
                  </a:lnTo>
                  <a:lnTo>
                    <a:pt x="1038" y="192"/>
                  </a:lnTo>
                  <a:lnTo>
                    <a:pt x="1038" y="197"/>
                  </a:lnTo>
                  <a:lnTo>
                    <a:pt x="1042" y="197"/>
                  </a:lnTo>
                  <a:lnTo>
                    <a:pt x="1042" y="201"/>
                  </a:lnTo>
                  <a:lnTo>
                    <a:pt x="1047" y="201"/>
                  </a:lnTo>
                  <a:lnTo>
                    <a:pt x="1047" y="206"/>
                  </a:lnTo>
                  <a:lnTo>
                    <a:pt x="1047" y="211"/>
                  </a:lnTo>
                  <a:lnTo>
                    <a:pt x="1051" y="215"/>
                  </a:lnTo>
                  <a:lnTo>
                    <a:pt x="1051" y="215"/>
                  </a:lnTo>
                  <a:lnTo>
                    <a:pt x="1051" y="220"/>
                  </a:lnTo>
                  <a:lnTo>
                    <a:pt x="1056" y="220"/>
                  </a:lnTo>
                  <a:lnTo>
                    <a:pt x="1056" y="224"/>
                  </a:lnTo>
                  <a:lnTo>
                    <a:pt x="1060" y="224"/>
                  </a:lnTo>
                  <a:lnTo>
                    <a:pt x="1060" y="229"/>
                  </a:lnTo>
                  <a:lnTo>
                    <a:pt x="1065" y="229"/>
                  </a:lnTo>
                  <a:lnTo>
                    <a:pt x="1065" y="233"/>
                  </a:lnTo>
                  <a:lnTo>
                    <a:pt x="1070" y="238"/>
                  </a:lnTo>
                  <a:lnTo>
                    <a:pt x="1070" y="238"/>
                  </a:lnTo>
                  <a:lnTo>
                    <a:pt x="1070" y="243"/>
                  </a:lnTo>
                  <a:lnTo>
                    <a:pt x="1074" y="243"/>
                  </a:lnTo>
                  <a:lnTo>
                    <a:pt x="1074" y="243"/>
                  </a:lnTo>
                  <a:lnTo>
                    <a:pt x="1074" y="247"/>
                  </a:lnTo>
                  <a:lnTo>
                    <a:pt x="1079" y="247"/>
                  </a:lnTo>
                  <a:lnTo>
                    <a:pt x="1079" y="252"/>
                  </a:lnTo>
                  <a:lnTo>
                    <a:pt x="1083" y="256"/>
                  </a:lnTo>
                  <a:lnTo>
                    <a:pt x="1083" y="261"/>
                  </a:lnTo>
                  <a:lnTo>
                    <a:pt x="1083" y="261"/>
                  </a:lnTo>
                  <a:lnTo>
                    <a:pt x="1083" y="270"/>
                  </a:lnTo>
                  <a:lnTo>
                    <a:pt x="1083" y="275"/>
                  </a:lnTo>
                  <a:lnTo>
                    <a:pt x="1079" y="279"/>
                  </a:lnTo>
                  <a:lnTo>
                    <a:pt x="1079" y="284"/>
                  </a:lnTo>
                  <a:lnTo>
                    <a:pt x="1074" y="284"/>
                  </a:lnTo>
                  <a:lnTo>
                    <a:pt x="1070" y="284"/>
                  </a:lnTo>
                  <a:lnTo>
                    <a:pt x="1070" y="288"/>
                  </a:lnTo>
                  <a:lnTo>
                    <a:pt x="1070" y="293"/>
                  </a:lnTo>
                  <a:lnTo>
                    <a:pt x="1065" y="297"/>
                  </a:lnTo>
                  <a:lnTo>
                    <a:pt x="1060" y="302"/>
                  </a:lnTo>
                  <a:lnTo>
                    <a:pt x="1060" y="307"/>
                  </a:lnTo>
                  <a:lnTo>
                    <a:pt x="1056" y="307"/>
                  </a:lnTo>
                  <a:lnTo>
                    <a:pt x="1056" y="311"/>
                  </a:lnTo>
                  <a:lnTo>
                    <a:pt x="1056" y="316"/>
                  </a:lnTo>
                  <a:lnTo>
                    <a:pt x="1051" y="316"/>
                  </a:lnTo>
                  <a:lnTo>
                    <a:pt x="1051" y="320"/>
                  </a:lnTo>
                  <a:lnTo>
                    <a:pt x="1051" y="325"/>
                  </a:lnTo>
                  <a:lnTo>
                    <a:pt x="1051" y="325"/>
                  </a:lnTo>
                  <a:lnTo>
                    <a:pt x="1047" y="325"/>
                  </a:lnTo>
                  <a:lnTo>
                    <a:pt x="1047" y="329"/>
                  </a:lnTo>
                  <a:lnTo>
                    <a:pt x="1042" y="329"/>
                  </a:lnTo>
                  <a:lnTo>
                    <a:pt x="1038" y="329"/>
                  </a:lnTo>
                  <a:lnTo>
                    <a:pt x="1033" y="334"/>
                  </a:lnTo>
                  <a:lnTo>
                    <a:pt x="1033" y="339"/>
                  </a:lnTo>
                  <a:lnTo>
                    <a:pt x="1028" y="339"/>
                  </a:lnTo>
                  <a:lnTo>
                    <a:pt x="1028" y="339"/>
                  </a:lnTo>
                  <a:lnTo>
                    <a:pt x="1028" y="343"/>
                  </a:lnTo>
                  <a:lnTo>
                    <a:pt x="1024" y="343"/>
                  </a:lnTo>
                  <a:lnTo>
                    <a:pt x="1019" y="348"/>
                  </a:lnTo>
                  <a:lnTo>
                    <a:pt x="1015" y="348"/>
                  </a:lnTo>
                  <a:lnTo>
                    <a:pt x="1010" y="352"/>
                  </a:lnTo>
                  <a:lnTo>
                    <a:pt x="1006" y="352"/>
                  </a:lnTo>
                  <a:lnTo>
                    <a:pt x="1006" y="352"/>
                  </a:lnTo>
                  <a:lnTo>
                    <a:pt x="1006" y="357"/>
                  </a:lnTo>
                  <a:lnTo>
                    <a:pt x="1001" y="357"/>
                  </a:lnTo>
                  <a:lnTo>
                    <a:pt x="1001" y="366"/>
                  </a:lnTo>
                  <a:lnTo>
                    <a:pt x="1001" y="371"/>
                  </a:lnTo>
                  <a:lnTo>
                    <a:pt x="1001" y="371"/>
                  </a:lnTo>
                  <a:lnTo>
                    <a:pt x="1006" y="371"/>
                  </a:lnTo>
                  <a:lnTo>
                    <a:pt x="1006" y="375"/>
                  </a:lnTo>
                  <a:lnTo>
                    <a:pt x="1006" y="380"/>
                  </a:lnTo>
                  <a:lnTo>
                    <a:pt x="1006" y="384"/>
                  </a:lnTo>
                  <a:lnTo>
                    <a:pt x="1006" y="389"/>
                  </a:lnTo>
                  <a:lnTo>
                    <a:pt x="1010" y="393"/>
                  </a:lnTo>
                  <a:lnTo>
                    <a:pt x="1015" y="407"/>
                  </a:lnTo>
                  <a:lnTo>
                    <a:pt x="1015" y="416"/>
                  </a:lnTo>
                  <a:lnTo>
                    <a:pt x="1015" y="421"/>
                  </a:lnTo>
                  <a:lnTo>
                    <a:pt x="1015" y="425"/>
                  </a:lnTo>
                  <a:lnTo>
                    <a:pt x="1015" y="439"/>
                  </a:lnTo>
                  <a:lnTo>
                    <a:pt x="1010" y="462"/>
                  </a:lnTo>
                  <a:lnTo>
                    <a:pt x="1010" y="471"/>
                  </a:lnTo>
                  <a:lnTo>
                    <a:pt x="1006" y="480"/>
                  </a:lnTo>
                  <a:lnTo>
                    <a:pt x="1006" y="480"/>
                  </a:lnTo>
                  <a:lnTo>
                    <a:pt x="1001" y="499"/>
                  </a:lnTo>
                  <a:lnTo>
                    <a:pt x="996" y="508"/>
                  </a:lnTo>
                  <a:lnTo>
                    <a:pt x="996" y="512"/>
                  </a:lnTo>
                  <a:lnTo>
                    <a:pt x="996" y="526"/>
                  </a:lnTo>
                  <a:lnTo>
                    <a:pt x="996" y="540"/>
                  </a:lnTo>
                  <a:lnTo>
                    <a:pt x="996" y="549"/>
                  </a:lnTo>
                  <a:lnTo>
                    <a:pt x="996" y="567"/>
                  </a:lnTo>
                  <a:lnTo>
                    <a:pt x="996" y="576"/>
                  </a:lnTo>
                  <a:lnTo>
                    <a:pt x="996" y="585"/>
                  </a:lnTo>
                  <a:lnTo>
                    <a:pt x="996" y="590"/>
                  </a:lnTo>
                  <a:lnTo>
                    <a:pt x="996" y="595"/>
                  </a:lnTo>
                  <a:lnTo>
                    <a:pt x="992" y="599"/>
                  </a:lnTo>
                  <a:lnTo>
                    <a:pt x="992" y="604"/>
                  </a:lnTo>
                  <a:lnTo>
                    <a:pt x="987" y="604"/>
                  </a:lnTo>
                  <a:lnTo>
                    <a:pt x="987" y="608"/>
                  </a:lnTo>
                  <a:lnTo>
                    <a:pt x="983" y="608"/>
                  </a:lnTo>
                  <a:lnTo>
                    <a:pt x="983" y="613"/>
                  </a:lnTo>
                  <a:lnTo>
                    <a:pt x="983" y="613"/>
                  </a:lnTo>
                  <a:lnTo>
                    <a:pt x="978" y="617"/>
                  </a:lnTo>
                  <a:lnTo>
                    <a:pt x="978" y="622"/>
                  </a:lnTo>
                  <a:lnTo>
                    <a:pt x="978" y="627"/>
                  </a:lnTo>
                  <a:lnTo>
                    <a:pt x="974" y="636"/>
                  </a:lnTo>
                  <a:lnTo>
                    <a:pt x="974" y="636"/>
                  </a:lnTo>
                  <a:lnTo>
                    <a:pt x="974" y="640"/>
                  </a:lnTo>
                  <a:lnTo>
                    <a:pt x="978" y="645"/>
                  </a:lnTo>
                  <a:lnTo>
                    <a:pt x="983" y="649"/>
                  </a:lnTo>
                  <a:lnTo>
                    <a:pt x="983" y="654"/>
                  </a:lnTo>
                  <a:lnTo>
                    <a:pt x="983" y="654"/>
                  </a:lnTo>
                  <a:lnTo>
                    <a:pt x="987" y="659"/>
                  </a:lnTo>
                  <a:lnTo>
                    <a:pt x="992" y="659"/>
                  </a:lnTo>
                  <a:lnTo>
                    <a:pt x="996" y="659"/>
                  </a:lnTo>
                  <a:lnTo>
                    <a:pt x="1001" y="659"/>
                  </a:lnTo>
                  <a:lnTo>
                    <a:pt x="1006" y="663"/>
                  </a:lnTo>
                  <a:lnTo>
                    <a:pt x="1006" y="668"/>
                  </a:lnTo>
                  <a:lnTo>
                    <a:pt x="1015" y="677"/>
                  </a:lnTo>
                  <a:lnTo>
                    <a:pt x="1015" y="681"/>
                  </a:lnTo>
                  <a:lnTo>
                    <a:pt x="1019" y="681"/>
                  </a:lnTo>
                  <a:lnTo>
                    <a:pt x="1019" y="686"/>
                  </a:lnTo>
                  <a:lnTo>
                    <a:pt x="1019" y="691"/>
                  </a:lnTo>
                  <a:lnTo>
                    <a:pt x="1024" y="700"/>
                  </a:lnTo>
                  <a:lnTo>
                    <a:pt x="1028" y="700"/>
                  </a:lnTo>
                  <a:lnTo>
                    <a:pt x="1028" y="704"/>
                  </a:lnTo>
                  <a:lnTo>
                    <a:pt x="1028" y="709"/>
                  </a:lnTo>
                  <a:lnTo>
                    <a:pt x="1024" y="713"/>
                  </a:lnTo>
                  <a:lnTo>
                    <a:pt x="1019" y="723"/>
                  </a:lnTo>
                  <a:lnTo>
                    <a:pt x="1015" y="723"/>
                  </a:lnTo>
                  <a:lnTo>
                    <a:pt x="1010" y="723"/>
                  </a:lnTo>
                  <a:lnTo>
                    <a:pt x="1006" y="723"/>
                  </a:lnTo>
                  <a:lnTo>
                    <a:pt x="1006" y="727"/>
                  </a:lnTo>
                  <a:lnTo>
                    <a:pt x="1001" y="727"/>
                  </a:lnTo>
                  <a:lnTo>
                    <a:pt x="1001" y="732"/>
                  </a:lnTo>
                  <a:lnTo>
                    <a:pt x="992" y="741"/>
                  </a:lnTo>
                  <a:lnTo>
                    <a:pt x="987" y="745"/>
                  </a:lnTo>
                  <a:lnTo>
                    <a:pt x="987" y="745"/>
                  </a:lnTo>
                  <a:lnTo>
                    <a:pt x="987" y="750"/>
                  </a:lnTo>
                  <a:lnTo>
                    <a:pt x="983" y="750"/>
                  </a:lnTo>
                  <a:lnTo>
                    <a:pt x="983" y="755"/>
                  </a:lnTo>
                  <a:lnTo>
                    <a:pt x="983" y="759"/>
                  </a:lnTo>
                  <a:lnTo>
                    <a:pt x="983" y="764"/>
                  </a:lnTo>
                  <a:lnTo>
                    <a:pt x="983" y="768"/>
                  </a:lnTo>
                  <a:lnTo>
                    <a:pt x="983" y="768"/>
                  </a:lnTo>
                  <a:lnTo>
                    <a:pt x="983" y="773"/>
                  </a:lnTo>
                  <a:lnTo>
                    <a:pt x="978" y="773"/>
                  </a:lnTo>
                  <a:lnTo>
                    <a:pt x="978" y="777"/>
                  </a:lnTo>
                  <a:lnTo>
                    <a:pt x="978" y="782"/>
                  </a:lnTo>
                  <a:lnTo>
                    <a:pt x="974" y="782"/>
                  </a:lnTo>
                  <a:lnTo>
                    <a:pt x="974" y="787"/>
                  </a:lnTo>
                  <a:lnTo>
                    <a:pt x="969" y="787"/>
                  </a:lnTo>
                  <a:lnTo>
                    <a:pt x="964" y="787"/>
                  </a:lnTo>
                  <a:lnTo>
                    <a:pt x="960" y="791"/>
                  </a:lnTo>
                  <a:lnTo>
                    <a:pt x="955" y="796"/>
                  </a:lnTo>
                  <a:lnTo>
                    <a:pt x="951" y="800"/>
                  </a:lnTo>
                  <a:lnTo>
                    <a:pt x="946" y="809"/>
                  </a:lnTo>
                  <a:lnTo>
                    <a:pt x="942" y="809"/>
                  </a:lnTo>
                  <a:lnTo>
                    <a:pt x="942" y="823"/>
                  </a:lnTo>
                  <a:lnTo>
                    <a:pt x="942" y="828"/>
                  </a:lnTo>
                  <a:lnTo>
                    <a:pt x="946" y="837"/>
                  </a:lnTo>
                  <a:lnTo>
                    <a:pt x="946" y="841"/>
                  </a:lnTo>
                  <a:lnTo>
                    <a:pt x="951" y="855"/>
                  </a:lnTo>
                  <a:lnTo>
                    <a:pt x="955" y="855"/>
                  </a:lnTo>
                  <a:lnTo>
                    <a:pt x="955" y="855"/>
                  </a:lnTo>
                  <a:lnTo>
                    <a:pt x="955" y="860"/>
                  </a:lnTo>
                  <a:lnTo>
                    <a:pt x="955" y="869"/>
                  </a:lnTo>
                  <a:lnTo>
                    <a:pt x="951" y="873"/>
                  </a:lnTo>
                  <a:lnTo>
                    <a:pt x="951" y="878"/>
                  </a:lnTo>
                  <a:lnTo>
                    <a:pt x="946" y="878"/>
                  </a:lnTo>
                  <a:lnTo>
                    <a:pt x="942" y="878"/>
                  </a:lnTo>
                  <a:lnTo>
                    <a:pt x="937" y="887"/>
                  </a:lnTo>
                  <a:lnTo>
                    <a:pt x="932" y="892"/>
                  </a:lnTo>
                  <a:lnTo>
                    <a:pt x="928" y="892"/>
                  </a:lnTo>
                  <a:lnTo>
                    <a:pt x="923" y="896"/>
                  </a:lnTo>
                  <a:lnTo>
                    <a:pt x="923" y="896"/>
                  </a:lnTo>
                  <a:lnTo>
                    <a:pt x="919" y="901"/>
                  </a:lnTo>
                  <a:lnTo>
                    <a:pt x="914" y="905"/>
                  </a:lnTo>
                  <a:lnTo>
                    <a:pt x="910" y="905"/>
                  </a:lnTo>
                  <a:lnTo>
                    <a:pt x="905" y="910"/>
                  </a:lnTo>
                  <a:lnTo>
                    <a:pt x="900" y="910"/>
                  </a:lnTo>
                  <a:lnTo>
                    <a:pt x="896" y="910"/>
                  </a:lnTo>
                  <a:lnTo>
                    <a:pt x="896" y="915"/>
                  </a:lnTo>
                  <a:lnTo>
                    <a:pt x="896" y="915"/>
                  </a:lnTo>
                  <a:lnTo>
                    <a:pt x="891" y="915"/>
                  </a:lnTo>
                  <a:lnTo>
                    <a:pt x="891" y="919"/>
                  </a:lnTo>
                  <a:lnTo>
                    <a:pt x="887" y="919"/>
                  </a:lnTo>
                  <a:lnTo>
                    <a:pt x="882" y="919"/>
                  </a:lnTo>
                  <a:lnTo>
                    <a:pt x="878" y="919"/>
                  </a:lnTo>
                  <a:lnTo>
                    <a:pt x="873" y="919"/>
                  </a:lnTo>
                  <a:lnTo>
                    <a:pt x="873" y="924"/>
                  </a:lnTo>
                  <a:lnTo>
                    <a:pt x="868" y="924"/>
                  </a:lnTo>
                  <a:lnTo>
                    <a:pt x="864" y="924"/>
                  </a:lnTo>
                  <a:lnTo>
                    <a:pt x="859" y="924"/>
                  </a:lnTo>
                  <a:lnTo>
                    <a:pt x="855" y="928"/>
                  </a:lnTo>
                  <a:lnTo>
                    <a:pt x="846" y="933"/>
                  </a:lnTo>
                  <a:lnTo>
                    <a:pt x="841" y="933"/>
                  </a:lnTo>
                  <a:lnTo>
                    <a:pt x="836" y="933"/>
                  </a:lnTo>
                  <a:lnTo>
                    <a:pt x="836" y="937"/>
                  </a:lnTo>
                  <a:lnTo>
                    <a:pt x="832" y="937"/>
                  </a:lnTo>
                  <a:lnTo>
                    <a:pt x="827" y="937"/>
                  </a:lnTo>
                  <a:lnTo>
                    <a:pt x="823" y="942"/>
                  </a:lnTo>
                  <a:lnTo>
                    <a:pt x="814" y="942"/>
                  </a:lnTo>
                  <a:lnTo>
                    <a:pt x="814" y="942"/>
                  </a:lnTo>
                  <a:lnTo>
                    <a:pt x="809" y="947"/>
                  </a:lnTo>
                  <a:lnTo>
                    <a:pt x="809" y="947"/>
                  </a:lnTo>
                  <a:lnTo>
                    <a:pt x="809" y="951"/>
                  </a:lnTo>
                  <a:lnTo>
                    <a:pt x="804" y="956"/>
                  </a:lnTo>
                  <a:lnTo>
                    <a:pt x="804" y="960"/>
                  </a:lnTo>
                  <a:lnTo>
                    <a:pt x="800" y="960"/>
                  </a:lnTo>
                  <a:lnTo>
                    <a:pt x="795" y="965"/>
                  </a:lnTo>
                  <a:lnTo>
                    <a:pt x="795" y="974"/>
                  </a:lnTo>
                  <a:lnTo>
                    <a:pt x="791" y="988"/>
                  </a:lnTo>
                  <a:lnTo>
                    <a:pt x="791" y="988"/>
                  </a:lnTo>
                  <a:lnTo>
                    <a:pt x="791" y="992"/>
                  </a:lnTo>
                  <a:lnTo>
                    <a:pt x="791" y="997"/>
                  </a:lnTo>
                  <a:lnTo>
                    <a:pt x="791" y="1001"/>
                  </a:lnTo>
                  <a:lnTo>
                    <a:pt x="795" y="1011"/>
                  </a:lnTo>
                  <a:lnTo>
                    <a:pt x="795" y="1015"/>
                  </a:lnTo>
                  <a:lnTo>
                    <a:pt x="795" y="1020"/>
                  </a:lnTo>
                  <a:lnTo>
                    <a:pt x="795" y="1029"/>
                  </a:lnTo>
                  <a:lnTo>
                    <a:pt x="795" y="1029"/>
                  </a:lnTo>
                  <a:lnTo>
                    <a:pt x="791" y="1033"/>
                  </a:lnTo>
                  <a:lnTo>
                    <a:pt x="791" y="1038"/>
                  </a:lnTo>
                  <a:lnTo>
                    <a:pt x="786" y="1043"/>
                  </a:lnTo>
                  <a:lnTo>
                    <a:pt x="786" y="1047"/>
                  </a:lnTo>
                  <a:lnTo>
                    <a:pt x="782" y="1052"/>
                  </a:lnTo>
                  <a:lnTo>
                    <a:pt x="777" y="1052"/>
                  </a:lnTo>
                  <a:lnTo>
                    <a:pt x="777" y="1052"/>
                  </a:lnTo>
                  <a:lnTo>
                    <a:pt x="772" y="1052"/>
                  </a:lnTo>
                  <a:lnTo>
                    <a:pt x="768" y="1052"/>
                  </a:lnTo>
                  <a:lnTo>
                    <a:pt x="768" y="1056"/>
                  </a:lnTo>
                  <a:lnTo>
                    <a:pt x="763" y="1056"/>
                  </a:lnTo>
                  <a:lnTo>
                    <a:pt x="759" y="1056"/>
                  </a:lnTo>
                  <a:lnTo>
                    <a:pt x="754" y="1061"/>
                  </a:lnTo>
                  <a:lnTo>
                    <a:pt x="750" y="1061"/>
                  </a:lnTo>
                  <a:lnTo>
                    <a:pt x="745" y="1065"/>
                  </a:lnTo>
                  <a:lnTo>
                    <a:pt x="740" y="1061"/>
                  </a:lnTo>
                  <a:lnTo>
                    <a:pt x="740" y="1056"/>
                  </a:lnTo>
                  <a:lnTo>
                    <a:pt x="740" y="1047"/>
                  </a:lnTo>
                  <a:lnTo>
                    <a:pt x="740" y="1038"/>
                  </a:lnTo>
                  <a:lnTo>
                    <a:pt x="740" y="1033"/>
                  </a:lnTo>
                  <a:lnTo>
                    <a:pt x="740" y="1024"/>
                  </a:lnTo>
                  <a:lnTo>
                    <a:pt x="740" y="1001"/>
                  </a:lnTo>
                  <a:lnTo>
                    <a:pt x="745" y="988"/>
                  </a:lnTo>
                  <a:lnTo>
                    <a:pt x="745" y="979"/>
                  </a:lnTo>
                  <a:lnTo>
                    <a:pt x="745" y="969"/>
                  </a:lnTo>
                  <a:lnTo>
                    <a:pt x="740" y="960"/>
                  </a:lnTo>
                  <a:lnTo>
                    <a:pt x="740" y="956"/>
                  </a:lnTo>
                  <a:lnTo>
                    <a:pt x="740" y="947"/>
                  </a:lnTo>
                  <a:lnTo>
                    <a:pt x="740" y="942"/>
                  </a:lnTo>
                  <a:lnTo>
                    <a:pt x="740" y="942"/>
                  </a:lnTo>
                  <a:lnTo>
                    <a:pt x="736" y="942"/>
                  </a:lnTo>
                  <a:lnTo>
                    <a:pt x="736" y="937"/>
                  </a:lnTo>
                  <a:lnTo>
                    <a:pt x="736" y="933"/>
                  </a:lnTo>
                  <a:lnTo>
                    <a:pt x="731" y="933"/>
                  </a:lnTo>
                  <a:lnTo>
                    <a:pt x="727" y="924"/>
                  </a:lnTo>
                  <a:lnTo>
                    <a:pt x="727" y="919"/>
                  </a:lnTo>
                  <a:lnTo>
                    <a:pt x="722" y="919"/>
                  </a:lnTo>
                  <a:lnTo>
                    <a:pt x="722" y="915"/>
                  </a:lnTo>
                  <a:lnTo>
                    <a:pt x="722" y="915"/>
                  </a:lnTo>
                  <a:lnTo>
                    <a:pt x="722" y="910"/>
                  </a:lnTo>
                  <a:lnTo>
                    <a:pt x="718" y="905"/>
                  </a:lnTo>
                  <a:lnTo>
                    <a:pt x="699" y="896"/>
                  </a:lnTo>
                  <a:lnTo>
                    <a:pt x="699" y="896"/>
                  </a:lnTo>
                  <a:lnTo>
                    <a:pt x="699" y="892"/>
                  </a:lnTo>
                  <a:lnTo>
                    <a:pt x="695" y="892"/>
                  </a:lnTo>
                  <a:lnTo>
                    <a:pt x="690" y="887"/>
                  </a:lnTo>
                  <a:lnTo>
                    <a:pt x="686" y="883"/>
                  </a:lnTo>
                  <a:lnTo>
                    <a:pt x="676" y="878"/>
                  </a:lnTo>
                  <a:lnTo>
                    <a:pt x="676" y="873"/>
                  </a:lnTo>
                  <a:lnTo>
                    <a:pt x="672" y="869"/>
                  </a:lnTo>
                  <a:lnTo>
                    <a:pt x="672" y="864"/>
                  </a:lnTo>
                  <a:lnTo>
                    <a:pt x="667" y="855"/>
                  </a:lnTo>
                  <a:lnTo>
                    <a:pt x="667" y="851"/>
                  </a:lnTo>
                  <a:lnTo>
                    <a:pt x="663" y="837"/>
                  </a:lnTo>
                  <a:lnTo>
                    <a:pt x="663" y="832"/>
                  </a:lnTo>
                  <a:lnTo>
                    <a:pt x="658" y="832"/>
                  </a:lnTo>
                  <a:lnTo>
                    <a:pt x="654" y="828"/>
                  </a:lnTo>
                  <a:lnTo>
                    <a:pt x="654" y="828"/>
                  </a:lnTo>
                  <a:lnTo>
                    <a:pt x="654" y="823"/>
                  </a:lnTo>
                  <a:lnTo>
                    <a:pt x="649" y="823"/>
                  </a:lnTo>
                  <a:lnTo>
                    <a:pt x="644" y="819"/>
                  </a:lnTo>
                  <a:lnTo>
                    <a:pt x="635" y="819"/>
                  </a:lnTo>
                  <a:lnTo>
                    <a:pt x="626" y="814"/>
                  </a:lnTo>
                  <a:lnTo>
                    <a:pt x="612" y="809"/>
                  </a:lnTo>
                  <a:lnTo>
                    <a:pt x="603" y="809"/>
                  </a:lnTo>
                  <a:lnTo>
                    <a:pt x="599" y="805"/>
                  </a:lnTo>
                  <a:lnTo>
                    <a:pt x="594" y="800"/>
                  </a:lnTo>
                  <a:lnTo>
                    <a:pt x="590" y="800"/>
                  </a:lnTo>
                  <a:lnTo>
                    <a:pt x="585" y="796"/>
                  </a:lnTo>
                  <a:lnTo>
                    <a:pt x="576" y="796"/>
                  </a:lnTo>
                  <a:lnTo>
                    <a:pt x="562" y="796"/>
                  </a:lnTo>
                  <a:lnTo>
                    <a:pt x="548" y="796"/>
                  </a:lnTo>
                  <a:lnTo>
                    <a:pt x="544" y="796"/>
                  </a:lnTo>
                  <a:lnTo>
                    <a:pt x="535" y="796"/>
                  </a:lnTo>
                  <a:lnTo>
                    <a:pt x="521" y="796"/>
                  </a:lnTo>
                  <a:lnTo>
                    <a:pt x="521" y="796"/>
                  </a:lnTo>
                  <a:lnTo>
                    <a:pt x="516" y="796"/>
                  </a:lnTo>
                  <a:lnTo>
                    <a:pt x="507" y="796"/>
                  </a:lnTo>
                  <a:lnTo>
                    <a:pt x="503" y="796"/>
                  </a:lnTo>
                  <a:lnTo>
                    <a:pt x="503" y="791"/>
                  </a:lnTo>
                  <a:lnTo>
                    <a:pt x="498" y="791"/>
                  </a:lnTo>
                  <a:lnTo>
                    <a:pt x="494" y="787"/>
                  </a:lnTo>
                  <a:lnTo>
                    <a:pt x="489" y="787"/>
                  </a:lnTo>
                  <a:lnTo>
                    <a:pt x="489" y="782"/>
                  </a:lnTo>
                  <a:lnTo>
                    <a:pt x="484" y="777"/>
                  </a:lnTo>
                  <a:lnTo>
                    <a:pt x="484" y="773"/>
                  </a:lnTo>
                  <a:lnTo>
                    <a:pt x="484" y="768"/>
                  </a:lnTo>
                  <a:lnTo>
                    <a:pt x="489" y="768"/>
                  </a:lnTo>
                  <a:lnTo>
                    <a:pt x="489" y="768"/>
                  </a:lnTo>
                  <a:lnTo>
                    <a:pt x="494" y="764"/>
                  </a:lnTo>
                  <a:lnTo>
                    <a:pt x="494" y="759"/>
                  </a:lnTo>
                  <a:lnTo>
                    <a:pt x="498" y="759"/>
                  </a:lnTo>
                  <a:lnTo>
                    <a:pt x="498" y="755"/>
                  </a:lnTo>
                  <a:lnTo>
                    <a:pt x="503" y="750"/>
                  </a:lnTo>
                  <a:lnTo>
                    <a:pt x="503" y="745"/>
                  </a:lnTo>
                  <a:lnTo>
                    <a:pt x="503" y="745"/>
                  </a:lnTo>
                  <a:lnTo>
                    <a:pt x="507" y="741"/>
                  </a:lnTo>
                  <a:lnTo>
                    <a:pt x="507" y="736"/>
                  </a:lnTo>
                  <a:lnTo>
                    <a:pt x="507" y="732"/>
                  </a:lnTo>
                  <a:lnTo>
                    <a:pt x="507" y="727"/>
                  </a:lnTo>
                  <a:lnTo>
                    <a:pt x="507" y="723"/>
                  </a:lnTo>
                  <a:lnTo>
                    <a:pt x="507" y="718"/>
                  </a:lnTo>
                  <a:lnTo>
                    <a:pt x="507" y="709"/>
                  </a:lnTo>
                  <a:lnTo>
                    <a:pt x="507" y="700"/>
                  </a:lnTo>
                  <a:lnTo>
                    <a:pt x="503" y="695"/>
                  </a:lnTo>
                  <a:lnTo>
                    <a:pt x="503" y="686"/>
                  </a:lnTo>
                  <a:lnTo>
                    <a:pt x="503" y="677"/>
                  </a:lnTo>
                  <a:lnTo>
                    <a:pt x="498" y="659"/>
                  </a:lnTo>
                  <a:lnTo>
                    <a:pt x="494" y="649"/>
                  </a:lnTo>
                  <a:lnTo>
                    <a:pt x="494" y="645"/>
                  </a:lnTo>
                  <a:lnTo>
                    <a:pt x="494" y="640"/>
                  </a:lnTo>
                  <a:lnTo>
                    <a:pt x="489" y="636"/>
                  </a:lnTo>
                  <a:lnTo>
                    <a:pt x="489" y="631"/>
                  </a:lnTo>
                  <a:lnTo>
                    <a:pt x="484" y="631"/>
                  </a:lnTo>
                  <a:lnTo>
                    <a:pt x="484" y="627"/>
                  </a:lnTo>
                  <a:lnTo>
                    <a:pt x="480" y="622"/>
                  </a:lnTo>
                  <a:lnTo>
                    <a:pt x="480" y="617"/>
                  </a:lnTo>
                  <a:lnTo>
                    <a:pt x="480" y="617"/>
                  </a:lnTo>
                  <a:lnTo>
                    <a:pt x="480" y="613"/>
                  </a:lnTo>
                  <a:lnTo>
                    <a:pt x="480" y="613"/>
                  </a:lnTo>
                  <a:lnTo>
                    <a:pt x="471" y="604"/>
                  </a:lnTo>
                  <a:lnTo>
                    <a:pt x="471" y="599"/>
                  </a:lnTo>
                  <a:lnTo>
                    <a:pt x="466" y="595"/>
                  </a:lnTo>
                  <a:lnTo>
                    <a:pt x="466" y="590"/>
                  </a:lnTo>
                  <a:lnTo>
                    <a:pt x="466" y="590"/>
                  </a:lnTo>
                  <a:lnTo>
                    <a:pt x="466" y="585"/>
                  </a:lnTo>
                  <a:lnTo>
                    <a:pt x="466" y="572"/>
                  </a:lnTo>
                  <a:lnTo>
                    <a:pt x="466" y="567"/>
                  </a:lnTo>
                  <a:lnTo>
                    <a:pt x="466" y="567"/>
                  </a:lnTo>
                  <a:lnTo>
                    <a:pt x="462" y="567"/>
                  </a:lnTo>
                  <a:lnTo>
                    <a:pt x="462" y="563"/>
                  </a:lnTo>
                  <a:lnTo>
                    <a:pt x="457" y="558"/>
                  </a:lnTo>
                  <a:lnTo>
                    <a:pt x="457" y="553"/>
                  </a:lnTo>
                  <a:lnTo>
                    <a:pt x="457" y="549"/>
                  </a:lnTo>
                  <a:lnTo>
                    <a:pt x="457" y="544"/>
                  </a:lnTo>
                  <a:lnTo>
                    <a:pt x="457" y="535"/>
                  </a:lnTo>
                  <a:lnTo>
                    <a:pt x="457" y="531"/>
                  </a:lnTo>
                  <a:lnTo>
                    <a:pt x="457" y="521"/>
                  </a:lnTo>
                  <a:lnTo>
                    <a:pt x="457" y="512"/>
                  </a:lnTo>
                  <a:lnTo>
                    <a:pt x="457" y="503"/>
                  </a:lnTo>
                  <a:lnTo>
                    <a:pt x="457" y="499"/>
                  </a:lnTo>
                  <a:lnTo>
                    <a:pt x="452" y="494"/>
                  </a:lnTo>
                  <a:lnTo>
                    <a:pt x="452" y="489"/>
                  </a:lnTo>
                  <a:lnTo>
                    <a:pt x="448" y="485"/>
                  </a:lnTo>
                  <a:lnTo>
                    <a:pt x="443" y="476"/>
                  </a:lnTo>
                  <a:lnTo>
                    <a:pt x="443" y="471"/>
                  </a:lnTo>
                  <a:lnTo>
                    <a:pt x="439" y="467"/>
                  </a:lnTo>
                  <a:lnTo>
                    <a:pt x="439" y="462"/>
                  </a:lnTo>
                  <a:lnTo>
                    <a:pt x="434" y="457"/>
                  </a:lnTo>
                  <a:lnTo>
                    <a:pt x="434" y="448"/>
                  </a:lnTo>
                  <a:lnTo>
                    <a:pt x="434" y="439"/>
                  </a:lnTo>
                  <a:lnTo>
                    <a:pt x="434" y="435"/>
                  </a:lnTo>
                  <a:lnTo>
                    <a:pt x="434" y="430"/>
                  </a:lnTo>
                  <a:lnTo>
                    <a:pt x="434" y="416"/>
                  </a:lnTo>
                  <a:lnTo>
                    <a:pt x="434" y="407"/>
                  </a:lnTo>
                  <a:lnTo>
                    <a:pt x="434" y="393"/>
                  </a:lnTo>
                  <a:lnTo>
                    <a:pt x="434" y="393"/>
                  </a:lnTo>
                  <a:lnTo>
                    <a:pt x="434" y="384"/>
                  </a:lnTo>
                  <a:lnTo>
                    <a:pt x="434" y="380"/>
                  </a:lnTo>
                  <a:lnTo>
                    <a:pt x="430" y="380"/>
                  </a:lnTo>
                  <a:lnTo>
                    <a:pt x="430" y="375"/>
                  </a:lnTo>
                  <a:lnTo>
                    <a:pt x="425" y="371"/>
                  </a:lnTo>
                  <a:lnTo>
                    <a:pt x="425" y="366"/>
                  </a:lnTo>
                  <a:lnTo>
                    <a:pt x="425" y="361"/>
                  </a:lnTo>
                  <a:lnTo>
                    <a:pt x="411" y="352"/>
                  </a:lnTo>
                  <a:lnTo>
                    <a:pt x="411" y="348"/>
                  </a:lnTo>
                  <a:lnTo>
                    <a:pt x="407" y="343"/>
                  </a:lnTo>
                  <a:lnTo>
                    <a:pt x="402" y="343"/>
                  </a:lnTo>
                  <a:lnTo>
                    <a:pt x="402" y="339"/>
                  </a:lnTo>
                  <a:lnTo>
                    <a:pt x="398" y="339"/>
                  </a:lnTo>
                  <a:lnTo>
                    <a:pt x="393" y="334"/>
                  </a:lnTo>
                  <a:lnTo>
                    <a:pt x="393" y="329"/>
                  </a:lnTo>
                  <a:lnTo>
                    <a:pt x="379" y="329"/>
                  </a:lnTo>
                  <a:lnTo>
                    <a:pt x="384" y="320"/>
                  </a:lnTo>
                  <a:lnTo>
                    <a:pt x="379" y="307"/>
                  </a:lnTo>
                  <a:lnTo>
                    <a:pt x="375" y="284"/>
                  </a:lnTo>
                  <a:lnTo>
                    <a:pt x="375" y="270"/>
                  </a:lnTo>
                  <a:lnTo>
                    <a:pt x="370" y="256"/>
                  </a:lnTo>
                  <a:lnTo>
                    <a:pt x="370" y="243"/>
                  </a:lnTo>
                  <a:lnTo>
                    <a:pt x="370" y="229"/>
                  </a:lnTo>
                  <a:lnTo>
                    <a:pt x="366" y="224"/>
                  </a:lnTo>
                  <a:lnTo>
                    <a:pt x="361" y="220"/>
                  </a:lnTo>
                  <a:lnTo>
                    <a:pt x="356" y="220"/>
                  </a:lnTo>
                  <a:lnTo>
                    <a:pt x="352" y="220"/>
                  </a:lnTo>
                  <a:lnTo>
                    <a:pt x="329" y="220"/>
                  </a:lnTo>
                  <a:lnTo>
                    <a:pt x="324" y="220"/>
                  </a:lnTo>
                  <a:lnTo>
                    <a:pt x="315" y="220"/>
                  </a:lnTo>
                  <a:lnTo>
                    <a:pt x="306" y="220"/>
                  </a:lnTo>
                  <a:lnTo>
                    <a:pt x="306" y="215"/>
                  </a:lnTo>
                  <a:lnTo>
                    <a:pt x="302" y="215"/>
                  </a:lnTo>
                  <a:lnTo>
                    <a:pt x="297" y="211"/>
                  </a:lnTo>
                  <a:lnTo>
                    <a:pt x="292" y="211"/>
                  </a:lnTo>
                  <a:lnTo>
                    <a:pt x="288" y="215"/>
                  </a:lnTo>
                  <a:lnTo>
                    <a:pt x="283" y="215"/>
                  </a:lnTo>
                  <a:lnTo>
                    <a:pt x="283" y="215"/>
                  </a:lnTo>
                  <a:lnTo>
                    <a:pt x="283" y="220"/>
                  </a:lnTo>
                  <a:lnTo>
                    <a:pt x="279" y="220"/>
                  </a:lnTo>
                  <a:lnTo>
                    <a:pt x="274" y="220"/>
                  </a:lnTo>
                  <a:lnTo>
                    <a:pt x="270" y="220"/>
                  </a:lnTo>
                  <a:lnTo>
                    <a:pt x="265" y="220"/>
                  </a:lnTo>
                  <a:lnTo>
                    <a:pt x="260" y="215"/>
                  </a:lnTo>
                  <a:lnTo>
                    <a:pt x="260" y="211"/>
                  </a:lnTo>
                  <a:lnTo>
                    <a:pt x="260" y="206"/>
                  </a:lnTo>
                  <a:lnTo>
                    <a:pt x="260" y="201"/>
                  </a:lnTo>
                  <a:lnTo>
                    <a:pt x="256" y="197"/>
                  </a:lnTo>
                  <a:lnTo>
                    <a:pt x="260" y="188"/>
                  </a:lnTo>
                  <a:lnTo>
                    <a:pt x="256" y="174"/>
                  </a:lnTo>
                  <a:lnTo>
                    <a:pt x="251" y="165"/>
                  </a:lnTo>
                  <a:lnTo>
                    <a:pt x="247" y="151"/>
                  </a:lnTo>
                  <a:lnTo>
                    <a:pt x="247" y="147"/>
                  </a:lnTo>
                  <a:lnTo>
                    <a:pt x="247" y="147"/>
                  </a:lnTo>
                  <a:lnTo>
                    <a:pt x="242" y="142"/>
                  </a:lnTo>
                  <a:lnTo>
                    <a:pt x="242" y="137"/>
                  </a:lnTo>
                  <a:lnTo>
                    <a:pt x="238" y="133"/>
                  </a:lnTo>
                  <a:lnTo>
                    <a:pt x="238" y="133"/>
                  </a:lnTo>
                  <a:lnTo>
                    <a:pt x="233" y="133"/>
                  </a:lnTo>
                  <a:lnTo>
                    <a:pt x="228" y="133"/>
                  </a:lnTo>
                  <a:lnTo>
                    <a:pt x="219" y="133"/>
                  </a:lnTo>
                  <a:lnTo>
                    <a:pt x="215" y="133"/>
                  </a:lnTo>
                  <a:lnTo>
                    <a:pt x="210" y="142"/>
                  </a:lnTo>
                  <a:lnTo>
                    <a:pt x="206" y="142"/>
                  </a:lnTo>
                  <a:lnTo>
                    <a:pt x="201" y="147"/>
                  </a:lnTo>
                  <a:lnTo>
                    <a:pt x="196" y="147"/>
                  </a:lnTo>
                  <a:lnTo>
                    <a:pt x="196" y="151"/>
                  </a:lnTo>
                  <a:lnTo>
                    <a:pt x="187" y="151"/>
                  </a:lnTo>
                  <a:lnTo>
                    <a:pt x="183" y="151"/>
                  </a:lnTo>
                  <a:lnTo>
                    <a:pt x="174" y="151"/>
                  </a:lnTo>
                  <a:lnTo>
                    <a:pt x="164" y="156"/>
                  </a:lnTo>
                  <a:lnTo>
                    <a:pt x="160" y="156"/>
                  </a:lnTo>
                  <a:lnTo>
                    <a:pt x="155" y="156"/>
                  </a:lnTo>
                  <a:lnTo>
                    <a:pt x="151" y="160"/>
                  </a:lnTo>
                  <a:lnTo>
                    <a:pt x="151" y="160"/>
                  </a:lnTo>
                  <a:lnTo>
                    <a:pt x="146" y="165"/>
                  </a:lnTo>
                  <a:lnTo>
                    <a:pt x="142" y="165"/>
                  </a:lnTo>
                  <a:lnTo>
                    <a:pt x="137" y="169"/>
                  </a:lnTo>
                  <a:lnTo>
                    <a:pt x="132" y="174"/>
                  </a:lnTo>
                  <a:lnTo>
                    <a:pt x="128" y="174"/>
                  </a:lnTo>
                  <a:lnTo>
                    <a:pt x="128" y="174"/>
                  </a:lnTo>
                  <a:lnTo>
                    <a:pt x="128" y="179"/>
                  </a:lnTo>
                  <a:lnTo>
                    <a:pt x="128" y="183"/>
                  </a:lnTo>
                  <a:lnTo>
                    <a:pt x="123" y="192"/>
                  </a:lnTo>
                  <a:lnTo>
                    <a:pt x="119" y="201"/>
                  </a:lnTo>
                  <a:lnTo>
                    <a:pt x="114" y="201"/>
                  </a:lnTo>
                  <a:lnTo>
                    <a:pt x="114" y="206"/>
                  </a:lnTo>
                  <a:lnTo>
                    <a:pt x="110" y="211"/>
                  </a:lnTo>
                  <a:lnTo>
                    <a:pt x="105" y="215"/>
                  </a:lnTo>
                  <a:lnTo>
                    <a:pt x="105" y="215"/>
                  </a:lnTo>
                  <a:lnTo>
                    <a:pt x="105" y="220"/>
                  </a:lnTo>
                  <a:lnTo>
                    <a:pt x="96" y="220"/>
                  </a:lnTo>
                  <a:lnTo>
                    <a:pt x="82" y="220"/>
                  </a:lnTo>
                  <a:lnTo>
                    <a:pt x="78" y="220"/>
                  </a:lnTo>
                  <a:lnTo>
                    <a:pt x="73" y="220"/>
                  </a:lnTo>
                  <a:lnTo>
                    <a:pt x="64" y="220"/>
                  </a:lnTo>
                  <a:lnTo>
                    <a:pt x="64" y="220"/>
                  </a:lnTo>
                  <a:lnTo>
                    <a:pt x="59" y="220"/>
                  </a:lnTo>
                  <a:lnTo>
                    <a:pt x="50" y="220"/>
                  </a:lnTo>
                  <a:lnTo>
                    <a:pt x="41" y="220"/>
                  </a:lnTo>
                  <a:lnTo>
                    <a:pt x="41" y="220"/>
                  </a:lnTo>
                  <a:lnTo>
                    <a:pt x="36" y="220"/>
                  </a:lnTo>
                  <a:lnTo>
                    <a:pt x="27" y="220"/>
                  </a:lnTo>
                  <a:lnTo>
                    <a:pt x="0" y="224"/>
                  </a:lnTo>
                  <a:lnTo>
                    <a:pt x="0" y="215"/>
                  </a:lnTo>
                  <a:lnTo>
                    <a:pt x="0" y="215"/>
                  </a:lnTo>
                  <a:lnTo>
                    <a:pt x="14" y="215"/>
                  </a:lnTo>
                  <a:lnTo>
                    <a:pt x="23" y="215"/>
                  </a:lnTo>
                  <a:lnTo>
                    <a:pt x="32" y="211"/>
                  </a:lnTo>
                  <a:lnTo>
                    <a:pt x="36" y="206"/>
                  </a:lnTo>
                  <a:lnTo>
                    <a:pt x="41" y="201"/>
                  </a:lnTo>
                  <a:lnTo>
                    <a:pt x="46" y="197"/>
                  </a:lnTo>
                  <a:lnTo>
                    <a:pt x="68" y="174"/>
                  </a:lnTo>
                  <a:lnTo>
                    <a:pt x="68" y="174"/>
                  </a:lnTo>
                  <a:lnTo>
                    <a:pt x="73" y="169"/>
                  </a:lnTo>
                  <a:lnTo>
                    <a:pt x="78" y="165"/>
                  </a:lnTo>
                  <a:lnTo>
                    <a:pt x="78" y="165"/>
                  </a:lnTo>
                  <a:lnTo>
                    <a:pt x="82" y="160"/>
                  </a:lnTo>
                  <a:lnTo>
                    <a:pt x="87" y="156"/>
                  </a:lnTo>
                  <a:lnTo>
                    <a:pt x="87" y="151"/>
                  </a:lnTo>
                  <a:lnTo>
                    <a:pt x="91" y="142"/>
                  </a:lnTo>
                  <a:lnTo>
                    <a:pt x="100" y="137"/>
                  </a:lnTo>
                  <a:lnTo>
                    <a:pt x="105" y="128"/>
                  </a:lnTo>
                  <a:lnTo>
                    <a:pt x="110" y="128"/>
                  </a:lnTo>
                  <a:lnTo>
                    <a:pt x="114" y="124"/>
                  </a:lnTo>
                  <a:lnTo>
                    <a:pt x="119" y="119"/>
                  </a:lnTo>
                  <a:lnTo>
                    <a:pt x="123" y="119"/>
                  </a:lnTo>
                  <a:lnTo>
                    <a:pt x="123" y="115"/>
                  </a:lnTo>
                  <a:lnTo>
                    <a:pt x="132" y="105"/>
                  </a:lnTo>
                  <a:lnTo>
                    <a:pt x="146" y="87"/>
                  </a:lnTo>
                  <a:lnTo>
                    <a:pt x="151" y="87"/>
                  </a:lnTo>
                  <a:lnTo>
                    <a:pt x="151" y="87"/>
                  </a:lnTo>
                  <a:lnTo>
                    <a:pt x="151" y="83"/>
                  </a:lnTo>
                  <a:lnTo>
                    <a:pt x="155" y="83"/>
                  </a:lnTo>
                  <a:lnTo>
                    <a:pt x="155" y="78"/>
                  </a:lnTo>
                  <a:lnTo>
                    <a:pt x="155" y="78"/>
                  </a:lnTo>
                  <a:lnTo>
                    <a:pt x="164" y="73"/>
                  </a:lnTo>
                  <a:lnTo>
                    <a:pt x="169" y="73"/>
                  </a:lnTo>
                  <a:lnTo>
                    <a:pt x="169" y="69"/>
                  </a:lnTo>
                  <a:lnTo>
                    <a:pt x="174" y="69"/>
                  </a:lnTo>
                  <a:lnTo>
                    <a:pt x="178" y="64"/>
                  </a:lnTo>
                  <a:lnTo>
                    <a:pt x="192" y="60"/>
                  </a:lnTo>
                  <a:lnTo>
                    <a:pt x="201" y="55"/>
                  </a:lnTo>
                  <a:lnTo>
                    <a:pt x="206" y="55"/>
                  </a:lnTo>
                  <a:lnTo>
                    <a:pt x="210" y="51"/>
                  </a:lnTo>
                  <a:lnTo>
                    <a:pt x="219" y="46"/>
                  </a:lnTo>
                  <a:lnTo>
                    <a:pt x="228" y="41"/>
                  </a:lnTo>
                  <a:lnTo>
                    <a:pt x="228" y="41"/>
                  </a:lnTo>
                  <a:lnTo>
                    <a:pt x="233" y="41"/>
                  </a:lnTo>
                  <a:lnTo>
                    <a:pt x="251" y="41"/>
                  </a:lnTo>
                  <a:lnTo>
                    <a:pt x="256" y="41"/>
                  </a:lnTo>
                  <a:lnTo>
                    <a:pt x="256" y="41"/>
                  </a:lnTo>
                  <a:lnTo>
                    <a:pt x="265" y="37"/>
                  </a:lnTo>
                  <a:lnTo>
                    <a:pt x="270" y="37"/>
                  </a:lnTo>
                  <a:lnTo>
                    <a:pt x="279" y="37"/>
                  </a:lnTo>
                  <a:lnTo>
                    <a:pt x="283" y="37"/>
                  </a:lnTo>
                  <a:lnTo>
                    <a:pt x="302" y="37"/>
                  </a:lnTo>
                  <a:lnTo>
                    <a:pt x="311" y="37"/>
                  </a:lnTo>
                  <a:lnTo>
                    <a:pt x="311" y="37"/>
                  </a:lnTo>
                  <a:lnTo>
                    <a:pt x="320" y="37"/>
                  </a:lnTo>
                  <a:lnTo>
                    <a:pt x="324" y="37"/>
                  </a:lnTo>
                  <a:lnTo>
                    <a:pt x="329" y="37"/>
                  </a:lnTo>
                  <a:lnTo>
                    <a:pt x="334" y="37"/>
                  </a:lnTo>
                  <a:lnTo>
                    <a:pt x="338" y="32"/>
                  </a:lnTo>
                  <a:lnTo>
                    <a:pt x="356" y="23"/>
                  </a:lnTo>
                  <a:lnTo>
                    <a:pt x="361" y="23"/>
                  </a:lnTo>
                  <a:lnTo>
                    <a:pt x="370" y="19"/>
                  </a:lnTo>
                  <a:lnTo>
                    <a:pt x="375" y="19"/>
                  </a:lnTo>
                  <a:lnTo>
                    <a:pt x="379" y="19"/>
                  </a:lnTo>
                  <a:lnTo>
                    <a:pt x="384" y="14"/>
                  </a:lnTo>
                  <a:lnTo>
                    <a:pt x="388" y="14"/>
                  </a:lnTo>
                  <a:lnTo>
                    <a:pt x="402" y="9"/>
                  </a:lnTo>
                  <a:lnTo>
                    <a:pt x="407" y="9"/>
                  </a:lnTo>
                  <a:lnTo>
                    <a:pt x="411" y="5"/>
                  </a:lnTo>
                  <a:lnTo>
                    <a:pt x="416" y="5"/>
                  </a:lnTo>
                  <a:lnTo>
                    <a:pt x="420" y="5"/>
                  </a:lnTo>
                  <a:lnTo>
                    <a:pt x="434" y="5"/>
                  </a:lnTo>
                  <a:lnTo>
                    <a:pt x="443" y="5"/>
                  </a:lnTo>
                  <a:lnTo>
                    <a:pt x="457" y="5"/>
                  </a:lnTo>
                  <a:lnTo>
                    <a:pt x="466" y="5"/>
                  </a:lnTo>
                  <a:lnTo>
                    <a:pt x="475" y="5"/>
                  </a:lnTo>
                  <a:lnTo>
                    <a:pt x="480" y="5"/>
                  </a:lnTo>
                  <a:lnTo>
                    <a:pt x="489" y="5"/>
                  </a:lnTo>
                  <a:lnTo>
                    <a:pt x="498" y="5"/>
                  </a:lnTo>
                  <a:lnTo>
                    <a:pt x="503" y="5"/>
                  </a:lnTo>
                  <a:lnTo>
                    <a:pt x="507" y="0"/>
                  </a:lnTo>
                  <a:lnTo>
                    <a:pt x="526" y="0"/>
                  </a:lnTo>
                  <a:lnTo>
                    <a:pt x="530" y="0"/>
                  </a:lnTo>
                  <a:lnTo>
                    <a:pt x="544" y="0"/>
                  </a:lnTo>
                  <a:lnTo>
                    <a:pt x="544" y="0"/>
                  </a:lnTo>
                  <a:lnTo>
                    <a:pt x="548" y="0"/>
                  </a:lnTo>
                  <a:lnTo>
                    <a:pt x="558" y="0"/>
                  </a:lnTo>
                  <a:lnTo>
                    <a:pt x="558" y="0"/>
                  </a:lnTo>
                  <a:lnTo>
                    <a:pt x="562" y="0"/>
                  </a:lnTo>
                  <a:lnTo>
                    <a:pt x="567" y="0"/>
                  </a:lnTo>
                  <a:lnTo>
                    <a:pt x="585" y="0"/>
                  </a:lnTo>
                  <a:close/>
                </a:path>
              </a:pathLst>
            </a:custGeom>
            <a:blipFill>
              <a:blip r:embed="rId77"/>
              <a:tile tx="0" ty="0" sx="100000" sy="100000" flip="none" algn="tl"/>
            </a:blip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Yobe</a:t>
              </a:r>
            </a:p>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1"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t>
              </a:r>
            </a:p>
          </p:txBody>
        </p:sp>
        <p:sp>
          <p:nvSpPr>
            <p:cNvPr id="160" name="Freeform 79">
              <a:extLst>
                <a:ext uri="{FF2B5EF4-FFF2-40B4-BE49-F238E27FC236}">
                  <a16:creationId xmlns:a16="http://schemas.microsoft.com/office/drawing/2014/main" id="{1AB36FF9-31EE-43BE-8FB9-7809BAF60FFD}"/>
                </a:ext>
              </a:extLst>
            </p:cNvPr>
            <p:cNvSpPr>
              <a:spLocks/>
            </p:cNvSpPr>
            <p:nvPr>
              <p:custDataLst>
                <p:tags r:id="rId72"/>
              </p:custDataLst>
            </p:nvPr>
          </p:nvSpPr>
          <p:spPr bwMode="auto">
            <a:xfrm>
              <a:off x="733663" y="1116245"/>
              <a:ext cx="919147" cy="855468"/>
            </a:xfrm>
            <a:custGeom>
              <a:avLst/>
              <a:gdLst/>
              <a:ahLst/>
              <a:cxnLst>
                <a:cxn ang="0">
                  <a:pos x="124" y="526"/>
                </a:cxn>
                <a:cxn ang="0">
                  <a:pos x="87" y="539"/>
                </a:cxn>
                <a:cxn ang="0">
                  <a:pos x="46" y="562"/>
                </a:cxn>
                <a:cxn ang="0">
                  <a:pos x="28" y="576"/>
                </a:cxn>
                <a:cxn ang="0">
                  <a:pos x="14" y="503"/>
                </a:cxn>
                <a:cxn ang="0">
                  <a:pos x="46" y="402"/>
                </a:cxn>
                <a:cxn ang="0">
                  <a:pos x="114" y="361"/>
                </a:cxn>
                <a:cxn ang="0">
                  <a:pos x="220" y="325"/>
                </a:cxn>
                <a:cxn ang="0">
                  <a:pos x="316" y="306"/>
                </a:cxn>
                <a:cxn ang="0">
                  <a:pos x="402" y="283"/>
                </a:cxn>
                <a:cxn ang="0">
                  <a:pos x="421" y="174"/>
                </a:cxn>
                <a:cxn ang="0">
                  <a:pos x="530" y="119"/>
                </a:cxn>
                <a:cxn ang="0">
                  <a:pos x="613" y="73"/>
                </a:cxn>
                <a:cxn ang="0">
                  <a:pos x="887" y="5"/>
                </a:cxn>
                <a:cxn ang="0">
                  <a:pos x="937" y="37"/>
                </a:cxn>
                <a:cxn ang="0">
                  <a:pos x="978" y="82"/>
                </a:cxn>
                <a:cxn ang="0">
                  <a:pos x="978" y="174"/>
                </a:cxn>
                <a:cxn ang="0">
                  <a:pos x="988" y="238"/>
                </a:cxn>
                <a:cxn ang="0">
                  <a:pos x="997" y="283"/>
                </a:cxn>
                <a:cxn ang="0">
                  <a:pos x="1010" y="329"/>
                </a:cxn>
                <a:cxn ang="0">
                  <a:pos x="1020" y="370"/>
                </a:cxn>
                <a:cxn ang="0">
                  <a:pos x="1006" y="398"/>
                </a:cxn>
                <a:cxn ang="0">
                  <a:pos x="1024" y="421"/>
                </a:cxn>
                <a:cxn ang="0">
                  <a:pos x="1052" y="453"/>
                </a:cxn>
                <a:cxn ang="0">
                  <a:pos x="1015" y="466"/>
                </a:cxn>
                <a:cxn ang="0">
                  <a:pos x="988" y="498"/>
                </a:cxn>
                <a:cxn ang="0">
                  <a:pos x="937" y="498"/>
                </a:cxn>
                <a:cxn ang="0">
                  <a:pos x="924" y="517"/>
                </a:cxn>
                <a:cxn ang="0">
                  <a:pos x="914" y="549"/>
                </a:cxn>
                <a:cxn ang="0">
                  <a:pos x="919" y="585"/>
                </a:cxn>
                <a:cxn ang="0">
                  <a:pos x="924" y="622"/>
                </a:cxn>
                <a:cxn ang="0">
                  <a:pos x="924" y="658"/>
                </a:cxn>
                <a:cxn ang="0">
                  <a:pos x="896" y="681"/>
                </a:cxn>
                <a:cxn ang="0">
                  <a:pos x="864" y="718"/>
                </a:cxn>
                <a:cxn ang="0">
                  <a:pos x="855" y="754"/>
                </a:cxn>
                <a:cxn ang="0">
                  <a:pos x="828" y="777"/>
                </a:cxn>
                <a:cxn ang="0">
                  <a:pos x="764" y="786"/>
                </a:cxn>
                <a:cxn ang="0">
                  <a:pos x="704" y="795"/>
                </a:cxn>
                <a:cxn ang="0">
                  <a:pos x="677" y="823"/>
                </a:cxn>
                <a:cxn ang="0">
                  <a:pos x="649" y="846"/>
                </a:cxn>
                <a:cxn ang="0">
                  <a:pos x="631" y="809"/>
                </a:cxn>
                <a:cxn ang="0">
                  <a:pos x="608" y="773"/>
                </a:cxn>
                <a:cxn ang="0">
                  <a:pos x="594" y="722"/>
                </a:cxn>
                <a:cxn ang="0">
                  <a:pos x="581" y="677"/>
                </a:cxn>
                <a:cxn ang="0">
                  <a:pos x="567" y="654"/>
                </a:cxn>
                <a:cxn ang="0">
                  <a:pos x="530" y="635"/>
                </a:cxn>
                <a:cxn ang="0">
                  <a:pos x="544" y="571"/>
                </a:cxn>
                <a:cxn ang="0">
                  <a:pos x="512" y="549"/>
                </a:cxn>
                <a:cxn ang="0">
                  <a:pos x="485" y="549"/>
                </a:cxn>
                <a:cxn ang="0">
                  <a:pos x="453" y="553"/>
                </a:cxn>
                <a:cxn ang="0">
                  <a:pos x="425" y="549"/>
                </a:cxn>
                <a:cxn ang="0">
                  <a:pos x="393" y="558"/>
                </a:cxn>
                <a:cxn ang="0">
                  <a:pos x="375" y="535"/>
                </a:cxn>
                <a:cxn ang="0">
                  <a:pos x="348" y="526"/>
                </a:cxn>
                <a:cxn ang="0">
                  <a:pos x="316" y="512"/>
                </a:cxn>
                <a:cxn ang="0">
                  <a:pos x="284" y="507"/>
                </a:cxn>
                <a:cxn ang="0">
                  <a:pos x="265" y="526"/>
                </a:cxn>
                <a:cxn ang="0">
                  <a:pos x="229" y="535"/>
                </a:cxn>
                <a:cxn ang="0">
                  <a:pos x="188" y="526"/>
                </a:cxn>
                <a:cxn ang="0">
                  <a:pos x="165" y="521"/>
                </a:cxn>
              </a:cxnLst>
              <a:rect l="0" t="0" r="r" b="b"/>
              <a:pathLst>
                <a:path w="1052" h="846">
                  <a:moveTo>
                    <a:pt x="160" y="521"/>
                  </a:moveTo>
                  <a:lnTo>
                    <a:pt x="156" y="521"/>
                  </a:lnTo>
                  <a:lnTo>
                    <a:pt x="156" y="521"/>
                  </a:lnTo>
                  <a:lnTo>
                    <a:pt x="151" y="512"/>
                  </a:lnTo>
                  <a:lnTo>
                    <a:pt x="146" y="512"/>
                  </a:lnTo>
                  <a:lnTo>
                    <a:pt x="137" y="517"/>
                  </a:lnTo>
                  <a:lnTo>
                    <a:pt x="133" y="521"/>
                  </a:lnTo>
                  <a:lnTo>
                    <a:pt x="128" y="521"/>
                  </a:lnTo>
                  <a:lnTo>
                    <a:pt x="124" y="526"/>
                  </a:lnTo>
                  <a:lnTo>
                    <a:pt x="119" y="526"/>
                  </a:lnTo>
                  <a:lnTo>
                    <a:pt x="114" y="526"/>
                  </a:lnTo>
                  <a:lnTo>
                    <a:pt x="110" y="530"/>
                  </a:lnTo>
                  <a:lnTo>
                    <a:pt x="110" y="530"/>
                  </a:lnTo>
                  <a:lnTo>
                    <a:pt x="110" y="535"/>
                  </a:lnTo>
                  <a:lnTo>
                    <a:pt x="105" y="535"/>
                  </a:lnTo>
                  <a:lnTo>
                    <a:pt x="96" y="535"/>
                  </a:lnTo>
                  <a:lnTo>
                    <a:pt x="92" y="535"/>
                  </a:lnTo>
                  <a:lnTo>
                    <a:pt x="87" y="539"/>
                  </a:lnTo>
                  <a:lnTo>
                    <a:pt x="82" y="539"/>
                  </a:lnTo>
                  <a:lnTo>
                    <a:pt x="78" y="544"/>
                  </a:lnTo>
                  <a:lnTo>
                    <a:pt x="73" y="544"/>
                  </a:lnTo>
                  <a:lnTo>
                    <a:pt x="64" y="549"/>
                  </a:lnTo>
                  <a:lnTo>
                    <a:pt x="64" y="549"/>
                  </a:lnTo>
                  <a:lnTo>
                    <a:pt x="60" y="549"/>
                  </a:lnTo>
                  <a:lnTo>
                    <a:pt x="55" y="553"/>
                  </a:lnTo>
                  <a:lnTo>
                    <a:pt x="50" y="558"/>
                  </a:lnTo>
                  <a:lnTo>
                    <a:pt x="46" y="562"/>
                  </a:lnTo>
                  <a:lnTo>
                    <a:pt x="46" y="567"/>
                  </a:lnTo>
                  <a:lnTo>
                    <a:pt x="46" y="567"/>
                  </a:lnTo>
                  <a:lnTo>
                    <a:pt x="46" y="571"/>
                  </a:lnTo>
                  <a:lnTo>
                    <a:pt x="41" y="571"/>
                  </a:lnTo>
                  <a:lnTo>
                    <a:pt x="41" y="576"/>
                  </a:lnTo>
                  <a:lnTo>
                    <a:pt x="37" y="576"/>
                  </a:lnTo>
                  <a:lnTo>
                    <a:pt x="37" y="581"/>
                  </a:lnTo>
                  <a:lnTo>
                    <a:pt x="32" y="576"/>
                  </a:lnTo>
                  <a:lnTo>
                    <a:pt x="28" y="576"/>
                  </a:lnTo>
                  <a:lnTo>
                    <a:pt x="23" y="576"/>
                  </a:lnTo>
                  <a:lnTo>
                    <a:pt x="18" y="571"/>
                  </a:lnTo>
                  <a:lnTo>
                    <a:pt x="5" y="567"/>
                  </a:lnTo>
                  <a:lnTo>
                    <a:pt x="0" y="562"/>
                  </a:lnTo>
                  <a:lnTo>
                    <a:pt x="0" y="549"/>
                  </a:lnTo>
                  <a:lnTo>
                    <a:pt x="0" y="535"/>
                  </a:lnTo>
                  <a:lnTo>
                    <a:pt x="5" y="530"/>
                  </a:lnTo>
                  <a:lnTo>
                    <a:pt x="9" y="521"/>
                  </a:lnTo>
                  <a:lnTo>
                    <a:pt x="14" y="503"/>
                  </a:lnTo>
                  <a:lnTo>
                    <a:pt x="18" y="480"/>
                  </a:lnTo>
                  <a:lnTo>
                    <a:pt x="23" y="457"/>
                  </a:lnTo>
                  <a:lnTo>
                    <a:pt x="28" y="443"/>
                  </a:lnTo>
                  <a:lnTo>
                    <a:pt x="37" y="425"/>
                  </a:lnTo>
                  <a:lnTo>
                    <a:pt x="37" y="407"/>
                  </a:lnTo>
                  <a:lnTo>
                    <a:pt x="37" y="402"/>
                  </a:lnTo>
                  <a:lnTo>
                    <a:pt x="41" y="402"/>
                  </a:lnTo>
                  <a:lnTo>
                    <a:pt x="46" y="402"/>
                  </a:lnTo>
                  <a:lnTo>
                    <a:pt x="46" y="402"/>
                  </a:lnTo>
                  <a:lnTo>
                    <a:pt x="55" y="402"/>
                  </a:lnTo>
                  <a:lnTo>
                    <a:pt x="60" y="398"/>
                  </a:lnTo>
                  <a:lnTo>
                    <a:pt x="64" y="393"/>
                  </a:lnTo>
                  <a:lnTo>
                    <a:pt x="64" y="393"/>
                  </a:lnTo>
                  <a:lnTo>
                    <a:pt x="78" y="393"/>
                  </a:lnTo>
                  <a:lnTo>
                    <a:pt x="87" y="389"/>
                  </a:lnTo>
                  <a:lnTo>
                    <a:pt x="96" y="379"/>
                  </a:lnTo>
                  <a:lnTo>
                    <a:pt x="110" y="370"/>
                  </a:lnTo>
                  <a:lnTo>
                    <a:pt x="114" y="361"/>
                  </a:lnTo>
                  <a:lnTo>
                    <a:pt x="128" y="347"/>
                  </a:lnTo>
                  <a:lnTo>
                    <a:pt x="137" y="343"/>
                  </a:lnTo>
                  <a:lnTo>
                    <a:pt x="151" y="334"/>
                  </a:lnTo>
                  <a:lnTo>
                    <a:pt x="165" y="329"/>
                  </a:lnTo>
                  <a:lnTo>
                    <a:pt x="174" y="329"/>
                  </a:lnTo>
                  <a:lnTo>
                    <a:pt x="188" y="329"/>
                  </a:lnTo>
                  <a:lnTo>
                    <a:pt x="197" y="329"/>
                  </a:lnTo>
                  <a:lnTo>
                    <a:pt x="210" y="325"/>
                  </a:lnTo>
                  <a:lnTo>
                    <a:pt x="220" y="325"/>
                  </a:lnTo>
                  <a:lnTo>
                    <a:pt x="229" y="315"/>
                  </a:lnTo>
                  <a:lnTo>
                    <a:pt x="238" y="311"/>
                  </a:lnTo>
                  <a:lnTo>
                    <a:pt x="242" y="311"/>
                  </a:lnTo>
                  <a:lnTo>
                    <a:pt x="256" y="311"/>
                  </a:lnTo>
                  <a:lnTo>
                    <a:pt x="270" y="311"/>
                  </a:lnTo>
                  <a:lnTo>
                    <a:pt x="284" y="311"/>
                  </a:lnTo>
                  <a:lnTo>
                    <a:pt x="302" y="306"/>
                  </a:lnTo>
                  <a:lnTo>
                    <a:pt x="306" y="306"/>
                  </a:lnTo>
                  <a:lnTo>
                    <a:pt x="316" y="306"/>
                  </a:lnTo>
                  <a:lnTo>
                    <a:pt x="329" y="306"/>
                  </a:lnTo>
                  <a:lnTo>
                    <a:pt x="338" y="306"/>
                  </a:lnTo>
                  <a:lnTo>
                    <a:pt x="357" y="306"/>
                  </a:lnTo>
                  <a:lnTo>
                    <a:pt x="375" y="306"/>
                  </a:lnTo>
                  <a:lnTo>
                    <a:pt x="389" y="306"/>
                  </a:lnTo>
                  <a:lnTo>
                    <a:pt x="393" y="302"/>
                  </a:lnTo>
                  <a:lnTo>
                    <a:pt x="402" y="293"/>
                  </a:lnTo>
                  <a:lnTo>
                    <a:pt x="402" y="288"/>
                  </a:lnTo>
                  <a:lnTo>
                    <a:pt x="402" y="283"/>
                  </a:lnTo>
                  <a:lnTo>
                    <a:pt x="398" y="270"/>
                  </a:lnTo>
                  <a:lnTo>
                    <a:pt x="398" y="247"/>
                  </a:lnTo>
                  <a:lnTo>
                    <a:pt x="393" y="233"/>
                  </a:lnTo>
                  <a:lnTo>
                    <a:pt x="384" y="219"/>
                  </a:lnTo>
                  <a:lnTo>
                    <a:pt x="384" y="210"/>
                  </a:lnTo>
                  <a:lnTo>
                    <a:pt x="389" y="197"/>
                  </a:lnTo>
                  <a:lnTo>
                    <a:pt x="398" y="192"/>
                  </a:lnTo>
                  <a:lnTo>
                    <a:pt x="412" y="183"/>
                  </a:lnTo>
                  <a:lnTo>
                    <a:pt x="421" y="174"/>
                  </a:lnTo>
                  <a:lnTo>
                    <a:pt x="439" y="155"/>
                  </a:lnTo>
                  <a:lnTo>
                    <a:pt x="453" y="151"/>
                  </a:lnTo>
                  <a:lnTo>
                    <a:pt x="466" y="142"/>
                  </a:lnTo>
                  <a:lnTo>
                    <a:pt x="480" y="137"/>
                  </a:lnTo>
                  <a:lnTo>
                    <a:pt x="485" y="137"/>
                  </a:lnTo>
                  <a:lnTo>
                    <a:pt x="489" y="133"/>
                  </a:lnTo>
                  <a:lnTo>
                    <a:pt x="503" y="128"/>
                  </a:lnTo>
                  <a:lnTo>
                    <a:pt x="521" y="119"/>
                  </a:lnTo>
                  <a:lnTo>
                    <a:pt x="530" y="119"/>
                  </a:lnTo>
                  <a:lnTo>
                    <a:pt x="549" y="119"/>
                  </a:lnTo>
                  <a:lnTo>
                    <a:pt x="558" y="110"/>
                  </a:lnTo>
                  <a:lnTo>
                    <a:pt x="572" y="110"/>
                  </a:lnTo>
                  <a:lnTo>
                    <a:pt x="590" y="105"/>
                  </a:lnTo>
                  <a:lnTo>
                    <a:pt x="594" y="105"/>
                  </a:lnTo>
                  <a:lnTo>
                    <a:pt x="599" y="96"/>
                  </a:lnTo>
                  <a:lnTo>
                    <a:pt x="608" y="87"/>
                  </a:lnTo>
                  <a:lnTo>
                    <a:pt x="613" y="87"/>
                  </a:lnTo>
                  <a:lnTo>
                    <a:pt x="613" y="73"/>
                  </a:lnTo>
                  <a:lnTo>
                    <a:pt x="617" y="59"/>
                  </a:lnTo>
                  <a:lnTo>
                    <a:pt x="631" y="41"/>
                  </a:lnTo>
                  <a:lnTo>
                    <a:pt x="636" y="37"/>
                  </a:lnTo>
                  <a:lnTo>
                    <a:pt x="636" y="32"/>
                  </a:lnTo>
                  <a:lnTo>
                    <a:pt x="636" y="32"/>
                  </a:lnTo>
                  <a:lnTo>
                    <a:pt x="658" y="27"/>
                  </a:lnTo>
                  <a:lnTo>
                    <a:pt x="718" y="18"/>
                  </a:lnTo>
                  <a:lnTo>
                    <a:pt x="800" y="14"/>
                  </a:lnTo>
                  <a:lnTo>
                    <a:pt x="887" y="5"/>
                  </a:lnTo>
                  <a:lnTo>
                    <a:pt x="896" y="0"/>
                  </a:lnTo>
                  <a:lnTo>
                    <a:pt x="896" y="0"/>
                  </a:lnTo>
                  <a:lnTo>
                    <a:pt x="914" y="18"/>
                  </a:lnTo>
                  <a:lnTo>
                    <a:pt x="914" y="18"/>
                  </a:lnTo>
                  <a:lnTo>
                    <a:pt x="919" y="23"/>
                  </a:lnTo>
                  <a:lnTo>
                    <a:pt x="924" y="32"/>
                  </a:lnTo>
                  <a:lnTo>
                    <a:pt x="928" y="37"/>
                  </a:lnTo>
                  <a:lnTo>
                    <a:pt x="928" y="37"/>
                  </a:lnTo>
                  <a:lnTo>
                    <a:pt x="937" y="37"/>
                  </a:lnTo>
                  <a:lnTo>
                    <a:pt x="956" y="37"/>
                  </a:lnTo>
                  <a:lnTo>
                    <a:pt x="960" y="37"/>
                  </a:lnTo>
                  <a:lnTo>
                    <a:pt x="969" y="32"/>
                  </a:lnTo>
                  <a:lnTo>
                    <a:pt x="974" y="32"/>
                  </a:lnTo>
                  <a:lnTo>
                    <a:pt x="978" y="32"/>
                  </a:lnTo>
                  <a:lnTo>
                    <a:pt x="983" y="32"/>
                  </a:lnTo>
                  <a:lnTo>
                    <a:pt x="978" y="50"/>
                  </a:lnTo>
                  <a:lnTo>
                    <a:pt x="978" y="69"/>
                  </a:lnTo>
                  <a:lnTo>
                    <a:pt x="978" y="82"/>
                  </a:lnTo>
                  <a:lnTo>
                    <a:pt x="978" y="91"/>
                  </a:lnTo>
                  <a:lnTo>
                    <a:pt x="978" y="101"/>
                  </a:lnTo>
                  <a:lnTo>
                    <a:pt x="974" y="110"/>
                  </a:lnTo>
                  <a:lnTo>
                    <a:pt x="974" y="119"/>
                  </a:lnTo>
                  <a:lnTo>
                    <a:pt x="974" y="151"/>
                  </a:lnTo>
                  <a:lnTo>
                    <a:pt x="974" y="151"/>
                  </a:lnTo>
                  <a:lnTo>
                    <a:pt x="974" y="155"/>
                  </a:lnTo>
                  <a:lnTo>
                    <a:pt x="978" y="165"/>
                  </a:lnTo>
                  <a:lnTo>
                    <a:pt x="978" y="174"/>
                  </a:lnTo>
                  <a:lnTo>
                    <a:pt x="978" y="174"/>
                  </a:lnTo>
                  <a:lnTo>
                    <a:pt x="978" y="183"/>
                  </a:lnTo>
                  <a:lnTo>
                    <a:pt x="983" y="187"/>
                  </a:lnTo>
                  <a:lnTo>
                    <a:pt x="983" y="210"/>
                  </a:lnTo>
                  <a:lnTo>
                    <a:pt x="983" y="215"/>
                  </a:lnTo>
                  <a:lnTo>
                    <a:pt x="983" y="219"/>
                  </a:lnTo>
                  <a:lnTo>
                    <a:pt x="988" y="224"/>
                  </a:lnTo>
                  <a:lnTo>
                    <a:pt x="988" y="229"/>
                  </a:lnTo>
                  <a:lnTo>
                    <a:pt x="988" y="238"/>
                  </a:lnTo>
                  <a:lnTo>
                    <a:pt x="988" y="251"/>
                  </a:lnTo>
                  <a:lnTo>
                    <a:pt x="988" y="261"/>
                  </a:lnTo>
                  <a:lnTo>
                    <a:pt x="988" y="261"/>
                  </a:lnTo>
                  <a:lnTo>
                    <a:pt x="988" y="265"/>
                  </a:lnTo>
                  <a:lnTo>
                    <a:pt x="992" y="265"/>
                  </a:lnTo>
                  <a:lnTo>
                    <a:pt x="992" y="270"/>
                  </a:lnTo>
                  <a:lnTo>
                    <a:pt x="992" y="274"/>
                  </a:lnTo>
                  <a:lnTo>
                    <a:pt x="992" y="279"/>
                  </a:lnTo>
                  <a:lnTo>
                    <a:pt x="997" y="283"/>
                  </a:lnTo>
                  <a:lnTo>
                    <a:pt x="997" y="288"/>
                  </a:lnTo>
                  <a:lnTo>
                    <a:pt x="1001" y="288"/>
                  </a:lnTo>
                  <a:lnTo>
                    <a:pt x="1001" y="293"/>
                  </a:lnTo>
                  <a:lnTo>
                    <a:pt x="1001" y="297"/>
                  </a:lnTo>
                  <a:lnTo>
                    <a:pt x="1006" y="306"/>
                  </a:lnTo>
                  <a:lnTo>
                    <a:pt x="1006" y="315"/>
                  </a:lnTo>
                  <a:lnTo>
                    <a:pt x="1010" y="320"/>
                  </a:lnTo>
                  <a:lnTo>
                    <a:pt x="1010" y="325"/>
                  </a:lnTo>
                  <a:lnTo>
                    <a:pt x="1010" y="329"/>
                  </a:lnTo>
                  <a:lnTo>
                    <a:pt x="1010" y="329"/>
                  </a:lnTo>
                  <a:lnTo>
                    <a:pt x="1010" y="334"/>
                  </a:lnTo>
                  <a:lnTo>
                    <a:pt x="1015" y="338"/>
                  </a:lnTo>
                  <a:lnTo>
                    <a:pt x="1015" y="347"/>
                  </a:lnTo>
                  <a:lnTo>
                    <a:pt x="1020" y="347"/>
                  </a:lnTo>
                  <a:lnTo>
                    <a:pt x="1020" y="357"/>
                  </a:lnTo>
                  <a:lnTo>
                    <a:pt x="1020" y="361"/>
                  </a:lnTo>
                  <a:lnTo>
                    <a:pt x="1020" y="370"/>
                  </a:lnTo>
                  <a:lnTo>
                    <a:pt x="1020" y="370"/>
                  </a:lnTo>
                  <a:lnTo>
                    <a:pt x="1015" y="375"/>
                  </a:lnTo>
                  <a:lnTo>
                    <a:pt x="1015" y="379"/>
                  </a:lnTo>
                  <a:lnTo>
                    <a:pt x="1015" y="384"/>
                  </a:lnTo>
                  <a:lnTo>
                    <a:pt x="1010" y="384"/>
                  </a:lnTo>
                  <a:lnTo>
                    <a:pt x="1010" y="389"/>
                  </a:lnTo>
                  <a:lnTo>
                    <a:pt x="1010" y="389"/>
                  </a:lnTo>
                  <a:lnTo>
                    <a:pt x="1010" y="393"/>
                  </a:lnTo>
                  <a:lnTo>
                    <a:pt x="1006" y="393"/>
                  </a:lnTo>
                  <a:lnTo>
                    <a:pt x="1006" y="398"/>
                  </a:lnTo>
                  <a:lnTo>
                    <a:pt x="1001" y="402"/>
                  </a:lnTo>
                  <a:lnTo>
                    <a:pt x="1001" y="407"/>
                  </a:lnTo>
                  <a:lnTo>
                    <a:pt x="1006" y="411"/>
                  </a:lnTo>
                  <a:lnTo>
                    <a:pt x="1010" y="411"/>
                  </a:lnTo>
                  <a:lnTo>
                    <a:pt x="1010" y="416"/>
                  </a:lnTo>
                  <a:lnTo>
                    <a:pt x="1010" y="416"/>
                  </a:lnTo>
                  <a:lnTo>
                    <a:pt x="1020" y="416"/>
                  </a:lnTo>
                  <a:lnTo>
                    <a:pt x="1024" y="416"/>
                  </a:lnTo>
                  <a:lnTo>
                    <a:pt x="1024" y="421"/>
                  </a:lnTo>
                  <a:lnTo>
                    <a:pt x="1029" y="421"/>
                  </a:lnTo>
                  <a:lnTo>
                    <a:pt x="1029" y="425"/>
                  </a:lnTo>
                  <a:lnTo>
                    <a:pt x="1033" y="425"/>
                  </a:lnTo>
                  <a:lnTo>
                    <a:pt x="1038" y="434"/>
                  </a:lnTo>
                  <a:lnTo>
                    <a:pt x="1042" y="439"/>
                  </a:lnTo>
                  <a:lnTo>
                    <a:pt x="1047" y="439"/>
                  </a:lnTo>
                  <a:lnTo>
                    <a:pt x="1052" y="443"/>
                  </a:lnTo>
                  <a:lnTo>
                    <a:pt x="1052" y="448"/>
                  </a:lnTo>
                  <a:lnTo>
                    <a:pt x="1052" y="453"/>
                  </a:lnTo>
                  <a:lnTo>
                    <a:pt x="1047" y="457"/>
                  </a:lnTo>
                  <a:lnTo>
                    <a:pt x="1042" y="457"/>
                  </a:lnTo>
                  <a:lnTo>
                    <a:pt x="1038" y="457"/>
                  </a:lnTo>
                  <a:lnTo>
                    <a:pt x="1038" y="462"/>
                  </a:lnTo>
                  <a:lnTo>
                    <a:pt x="1033" y="457"/>
                  </a:lnTo>
                  <a:lnTo>
                    <a:pt x="1029" y="457"/>
                  </a:lnTo>
                  <a:lnTo>
                    <a:pt x="1020" y="457"/>
                  </a:lnTo>
                  <a:lnTo>
                    <a:pt x="1015" y="462"/>
                  </a:lnTo>
                  <a:lnTo>
                    <a:pt x="1015" y="466"/>
                  </a:lnTo>
                  <a:lnTo>
                    <a:pt x="1010" y="471"/>
                  </a:lnTo>
                  <a:lnTo>
                    <a:pt x="1010" y="475"/>
                  </a:lnTo>
                  <a:lnTo>
                    <a:pt x="1010" y="480"/>
                  </a:lnTo>
                  <a:lnTo>
                    <a:pt x="1010" y="480"/>
                  </a:lnTo>
                  <a:lnTo>
                    <a:pt x="1006" y="480"/>
                  </a:lnTo>
                  <a:lnTo>
                    <a:pt x="1001" y="485"/>
                  </a:lnTo>
                  <a:lnTo>
                    <a:pt x="992" y="494"/>
                  </a:lnTo>
                  <a:lnTo>
                    <a:pt x="988" y="498"/>
                  </a:lnTo>
                  <a:lnTo>
                    <a:pt x="988" y="498"/>
                  </a:lnTo>
                  <a:lnTo>
                    <a:pt x="988" y="503"/>
                  </a:lnTo>
                  <a:lnTo>
                    <a:pt x="983" y="503"/>
                  </a:lnTo>
                  <a:lnTo>
                    <a:pt x="978" y="503"/>
                  </a:lnTo>
                  <a:lnTo>
                    <a:pt x="974" y="503"/>
                  </a:lnTo>
                  <a:lnTo>
                    <a:pt x="965" y="494"/>
                  </a:lnTo>
                  <a:lnTo>
                    <a:pt x="960" y="494"/>
                  </a:lnTo>
                  <a:lnTo>
                    <a:pt x="951" y="494"/>
                  </a:lnTo>
                  <a:lnTo>
                    <a:pt x="946" y="494"/>
                  </a:lnTo>
                  <a:lnTo>
                    <a:pt x="937" y="498"/>
                  </a:lnTo>
                  <a:lnTo>
                    <a:pt x="933" y="498"/>
                  </a:lnTo>
                  <a:lnTo>
                    <a:pt x="933" y="503"/>
                  </a:lnTo>
                  <a:lnTo>
                    <a:pt x="928" y="503"/>
                  </a:lnTo>
                  <a:lnTo>
                    <a:pt x="928" y="503"/>
                  </a:lnTo>
                  <a:lnTo>
                    <a:pt x="924" y="503"/>
                  </a:lnTo>
                  <a:lnTo>
                    <a:pt x="924" y="507"/>
                  </a:lnTo>
                  <a:lnTo>
                    <a:pt x="924" y="512"/>
                  </a:lnTo>
                  <a:lnTo>
                    <a:pt x="924" y="512"/>
                  </a:lnTo>
                  <a:lnTo>
                    <a:pt x="924" y="517"/>
                  </a:lnTo>
                  <a:lnTo>
                    <a:pt x="924" y="526"/>
                  </a:lnTo>
                  <a:lnTo>
                    <a:pt x="924" y="526"/>
                  </a:lnTo>
                  <a:lnTo>
                    <a:pt x="919" y="526"/>
                  </a:lnTo>
                  <a:lnTo>
                    <a:pt x="919" y="530"/>
                  </a:lnTo>
                  <a:lnTo>
                    <a:pt x="919" y="535"/>
                  </a:lnTo>
                  <a:lnTo>
                    <a:pt x="919" y="539"/>
                  </a:lnTo>
                  <a:lnTo>
                    <a:pt x="919" y="544"/>
                  </a:lnTo>
                  <a:lnTo>
                    <a:pt x="914" y="549"/>
                  </a:lnTo>
                  <a:lnTo>
                    <a:pt x="914" y="549"/>
                  </a:lnTo>
                  <a:lnTo>
                    <a:pt x="914" y="553"/>
                  </a:lnTo>
                  <a:lnTo>
                    <a:pt x="910" y="558"/>
                  </a:lnTo>
                  <a:lnTo>
                    <a:pt x="910" y="562"/>
                  </a:lnTo>
                  <a:lnTo>
                    <a:pt x="910" y="567"/>
                  </a:lnTo>
                  <a:lnTo>
                    <a:pt x="910" y="567"/>
                  </a:lnTo>
                  <a:lnTo>
                    <a:pt x="910" y="571"/>
                  </a:lnTo>
                  <a:lnTo>
                    <a:pt x="914" y="576"/>
                  </a:lnTo>
                  <a:lnTo>
                    <a:pt x="914" y="581"/>
                  </a:lnTo>
                  <a:lnTo>
                    <a:pt x="919" y="585"/>
                  </a:lnTo>
                  <a:lnTo>
                    <a:pt x="919" y="590"/>
                  </a:lnTo>
                  <a:lnTo>
                    <a:pt x="924" y="590"/>
                  </a:lnTo>
                  <a:lnTo>
                    <a:pt x="924" y="594"/>
                  </a:lnTo>
                  <a:lnTo>
                    <a:pt x="924" y="594"/>
                  </a:lnTo>
                  <a:lnTo>
                    <a:pt x="928" y="603"/>
                  </a:lnTo>
                  <a:lnTo>
                    <a:pt x="928" y="613"/>
                  </a:lnTo>
                  <a:lnTo>
                    <a:pt x="928" y="613"/>
                  </a:lnTo>
                  <a:lnTo>
                    <a:pt x="924" y="617"/>
                  </a:lnTo>
                  <a:lnTo>
                    <a:pt x="924" y="622"/>
                  </a:lnTo>
                  <a:lnTo>
                    <a:pt x="924" y="626"/>
                  </a:lnTo>
                  <a:lnTo>
                    <a:pt x="924" y="626"/>
                  </a:lnTo>
                  <a:lnTo>
                    <a:pt x="924" y="631"/>
                  </a:lnTo>
                  <a:lnTo>
                    <a:pt x="924" y="635"/>
                  </a:lnTo>
                  <a:lnTo>
                    <a:pt x="919" y="635"/>
                  </a:lnTo>
                  <a:lnTo>
                    <a:pt x="919" y="640"/>
                  </a:lnTo>
                  <a:lnTo>
                    <a:pt x="919" y="649"/>
                  </a:lnTo>
                  <a:lnTo>
                    <a:pt x="919" y="654"/>
                  </a:lnTo>
                  <a:lnTo>
                    <a:pt x="924" y="658"/>
                  </a:lnTo>
                  <a:lnTo>
                    <a:pt x="924" y="658"/>
                  </a:lnTo>
                  <a:lnTo>
                    <a:pt x="919" y="663"/>
                  </a:lnTo>
                  <a:lnTo>
                    <a:pt x="914" y="667"/>
                  </a:lnTo>
                  <a:lnTo>
                    <a:pt x="910" y="667"/>
                  </a:lnTo>
                  <a:lnTo>
                    <a:pt x="905" y="677"/>
                  </a:lnTo>
                  <a:lnTo>
                    <a:pt x="901" y="677"/>
                  </a:lnTo>
                  <a:lnTo>
                    <a:pt x="901" y="677"/>
                  </a:lnTo>
                  <a:lnTo>
                    <a:pt x="901" y="681"/>
                  </a:lnTo>
                  <a:lnTo>
                    <a:pt x="896" y="681"/>
                  </a:lnTo>
                  <a:lnTo>
                    <a:pt x="896" y="686"/>
                  </a:lnTo>
                  <a:lnTo>
                    <a:pt x="892" y="686"/>
                  </a:lnTo>
                  <a:lnTo>
                    <a:pt x="887" y="690"/>
                  </a:lnTo>
                  <a:lnTo>
                    <a:pt x="882" y="690"/>
                  </a:lnTo>
                  <a:lnTo>
                    <a:pt x="878" y="695"/>
                  </a:lnTo>
                  <a:lnTo>
                    <a:pt x="878" y="695"/>
                  </a:lnTo>
                  <a:lnTo>
                    <a:pt x="873" y="699"/>
                  </a:lnTo>
                  <a:lnTo>
                    <a:pt x="869" y="704"/>
                  </a:lnTo>
                  <a:lnTo>
                    <a:pt x="864" y="718"/>
                  </a:lnTo>
                  <a:lnTo>
                    <a:pt x="864" y="722"/>
                  </a:lnTo>
                  <a:lnTo>
                    <a:pt x="864" y="727"/>
                  </a:lnTo>
                  <a:lnTo>
                    <a:pt x="864" y="731"/>
                  </a:lnTo>
                  <a:lnTo>
                    <a:pt x="864" y="736"/>
                  </a:lnTo>
                  <a:lnTo>
                    <a:pt x="860" y="736"/>
                  </a:lnTo>
                  <a:lnTo>
                    <a:pt x="860" y="741"/>
                  </a:lnTo>
                  <a:lnTo>
                    <a:pt x="855" y="745"/>
                  </a:lnTo>
                  <a:lnTo>
                    <a:pt x="855" y="754"/>
                  </a:lnTo>
                  <a:lnTo>
                    <a:pt x="855" y="754"/>
                  </a:lnTo>
                  <a:lnTo>
                    <a:pt x="855" y="759"/>
                  </a:lnTo>
                  <a:lnTo>
                    <a:pt x="850" y="763"/>
                  </a:lnTo>
                  <a:lnTo>
                    <a:pt x="846" y="768"/>
                  </a:lnTo>
                  <a:lnTo>
                    <a:pt x="841" y="768"/>
                  </a:lnTo>
                  <a:lnTo>
                    <a:pt x="837" y="768"/>
                  </a:lnTo>
                  <a:lnTo>
                    <a:pt x="832" y="773"/>
                  </a:lnTo>
                  <a:lnTo>
                    <a:pt x="832" y="773"/>
                  </a:lnTo>
                  <a:lnTo>
                    <a:pt x="832" y="777"/>
                  </a:lnTo>
                  <a:lnTo>
                    <a:pt x="828" y="777"/>
                  </a:lnTo>
                  <a:lnTo>
                    <a:pt x="818" y="782"/>
                  </a:lnTo>
                  <a:lnTo>
                    <a:pt x="814" y="786"/>
                  </a:lnTo>
                  <a:lnTo>
                    <a:pt x="809" y="786"/>
                  </a:lnTo>
                  <a:lnTo>
                    <a:pt x="791" y="786"/>
                  </a:lnTo>
                  <a:lnTo>
                    <a:pt x="786" y="786"/>
                  </a:lnTo>
                  <a:lnTo>
                    <a:pt x="777" y="786"/>
                  </a:lnTo>
                  <a:lnTo>
                    <a:pt x="773" y="786"/>
                  </a:lnTo>
                  <a:lnTo>
                    <a:pt x="768" y="786"/>
                  </a:lnTo>
                  <a:lnTo>
                    <a:pt x="764" y="786"/>
                  </a:lnTo>
                  <a:lnTo>
                    <a:pt x="754" y="786"/>
                  </a:lnTo>
                  <a:lnTo>
                    <a:pt x="745" y="786"/>
                  </a:lnTo>
                  <a:lnTo>
                    <a:pt x="745" y="786"/>
                  </a:lnTo>
                  <a:lnTo>
                    <a:pt x="736" y="782"/>
                  </a:lnTo>
                  <a:lnTo>
                    <a:pt x="727" y="782"/>
                  </a:lnTo>
                  <a:lnTo>
                    <a:pt x="727" y="786"/>
                  </a:lnTo>
                  <a:lnTo>
                    <a:pt x="722" y="786"/>
                  </a:lnTo>
                  <a:lnTo>
                    <a:pt x="718" y="786"/>
                  </a:lnTo>
                  <a:lnTo>
                    <a:pt x="704" y="795"/>
                  </a:lnTo>
                  <a:lnTo>
                    <a:pt x="704" y="795"/>
                  </a:lnTo>
                  <a:lnTo>
                    <a:pt x="700" y="800"/>
                  </a:lnTo>
                  <a:lnTo>
                    <a:pt x="695" y="805"/>
                  </a:lnTo>
                  <a:lnTo>
                    <a:pt x="695" y="809"/>
                  </a:lnTo>
                  <a:lnTo>
                    <a:pt x="690" y="809"/>
                  </a:lnTo>
                  <a:lnTo>
                    <a:pt x="681" y="814"/>
                  </a:lnTo>
                  <a:lnTo>
                    <a:pt x="681" y="814"/>
                  </a:lnTo>
                  <a:lnTo>
                    <a:pt x="681" y="818"/>
                  </a:lnTo>
                  <a:lnTo>
                    <a:pt x="677" y="823"/>
                  </a:lnTo>
                  <a:lnTo>
                    <a:pt x="677" y="832"/>
                  </a:lnTo>
                  <a:lnTo>
                    <a:pt x="672" y="832"/>
                  </a:lnTo>
                  <a:lnTo>
                    <a:pt x="672" y="837"/>
                  </a:lnTo>
                  <a:lnTo>
                    <a:pt x="672" y="841"/>
                  </a:lnTo>
                  <a:lnTo>
                    <a:pt x="668" y="841"/>
                  </a:lnTo>
                  <a:lnTo>
                    <a:pt x="668" y="846"/>
                  </a:lnTo>
                  <a:lnTo>
                    <a:pt x="663" y="846"/>
                  </a:lnTo>
                  <a:lnTo>
                    <a:pt x="658" y="846"/>
                  </a:lnTo>
                  <a:lnTo>
                    <a:pt x="649" y="846"/>
                  </a:lnTo>
                  <a:lnTo>
                    <a:pt x="645" y="837"/>
                  </a:lnTo>
                  <a:lnTo>
                    <a:pt x="645" y="832"/>
                  </a:lnTo>
                  <a:lnTo>
                    <a:pt x="645" y="832"/>
                  </a:lnTo>
                  <a:lnTo>
                    <a:pt x="640" y="827"/>
                  </a:lnTo>
                  <a:lnTo>
                    <a:pt x="640" y="818"/>
                  </a:lnTo>
                  <a:lnTo>
                    <a:pt x="636" y="818"/>
                  </a:lnTo>
                  <a:lnTo>
                    <a:pt x="636" y="814"/>
                  </a:lnTo>
                  <a:lnTo>
                    <a:pt x="636" y="809"/>
                  </a:lnTo>
                  <a:lnTo>
                    <a:pt x="631" y="809"/>
                  </a:lnTo>
                  <a:lnTo>
                    <a:pt x="626" y="800"/>
                  </a:lnTo>
                  <a:lnTo>
                    <a:pt x="622" y="800"/>
                  </a:lnTo>
                  <a:lnTo>
                    <a:pt x="622" y="795"/>
                  </a:lnTo>
                  <a:lnTo>
                    <a:pt x="617" y="791"/>
                  </a:lnTo>
                  <a:lnTo>
                    <a:pt x="617" y="786"/>
                  </a:lnTo>
                  <a:lnTo>
                    <a:pt x="613" y="786"/>
                  </a:lnTo>
                  <a:lnTo>
                    <a:pt x="613" y="782"/>
                  </a:lnTo>
                  <a:lnTo>
                    <a:pt x="613" y="777"/>
                  </a:lnTo>
                  <a:lnTo>
                    <a:pt x="608" y="773"/>
                  </a:lnTo>
                  <a:lnTo>
                    <a:pt x="599" y="763"/>
                  </a:lnTo>
                  <a:lnTo>
                    <a:pt x="599" y="759"/>
                  </a:lnTo>
                  <a:lnTo>
                    <a:pt x="594" y="759"/>
                  </a:lnTo>
                  <a:lnTo>
                    <a:pt x="594" y="754"/>
                  </a:lnTo>
                  <a:lnTo>
                    <a:pt x="594" y="745"/>
                  </a:lnTo>
                  <a:lnTo>
                    <a:pt x="590" y="741"/>
                  </a:lnTo>
                  <a:lnTo>
                    <a:pt x="590" y="736"/>
                  </a:lnTo>
                  <a:lnTo>
                    <a:pt x="590" y="731"/>
                  </a:lnTo>
                  <a:lnTo>
                    <a:pt x="594" y="722"/>
                  </a:lnTo>
                  <a:lnTo>
                    <a:pt x="594" y="718"/>
                  </a:lnTo>
                  <a:lnTo>
                    <a:pt x="594" y="709"/>
                  </a:lnTo>
                  <a:lnTo>
                    <a:pt x="594" y="704"/>
                  </a:lnTo>
                  <a:lnTo>
                    <a:pt x="594" y="699"/>
                  </a:lnTo>
                  <a:lnTo>
                    <a:pt x="590" y="690"/>
                  </a:lnTo>
                  <a:lnTo>
                    <a:pt x="590" y="686"/>
                  </a:lnTo>
                  <a:lnTo>
                    <a:pt x="585" y="681"/>
                  </a:lnTo>
                  <a:lnTo>
                    <a:pt x="585" y="677"/>
                  </a:lnTo>
                  <a:lnTo>
                    <a:pt x="581" y="677"/>
                  </a:lnTo>
                  <a:lnTo>
                    <a:pt x="581" y="672"/>
                  </a:lnTo>
                  <a:lnTo>
                    <a:pt x="581" y="667"/>
                  </a:lnTo>
                  <a:lnTo>
                    <a:pt x="576" y="663"/>
                  </a:lnTo>
                  <a:lnTo>
                    <a:pt x="576" y="663"/>
                  </a:lnTo>
                  <a:lnTo>
                    <a:pt x="576" y="658"/>
                  </a:lnTo>
                  <a:lnTo>
                    <a:pt x="572" y="658"/>
                  </a:lnTo>
                  <a:lnTo>
                    <a:pt x="572" y="658"/>
                  </a:lnTo>
                  <a:lnTo>
                    <a:pt x="572" y="658"/>
                  </a:lnTo>
                  <a:lnTo>
                    <a:pt x="567" y="654"/>
                  </a:lnTo>
                  <a:lnTo>
                    <a:pt x="558" y="649"/>
                  </a:lnTo>
                  <a:lnTo>
                    <a:pt x="553" y="649"/>
                  </a:lnTo>
                  <a:lnTo>
                    <a:pt x="549" y="649"/>
                  </a:lnTo>
                  <a:lnTo>
                    <a:pt x="549" y="645"/>
                  </a:lnTo>
                  <a:lnTo>
                    <a:pt x="544" y="645"/>
                  </a:lnTo>
                  <a:lnTo>
                    <a:pt x="540" y="640"/>
                  </a:lnTo>
                  <a:lnTo>
                    <a:pt x="535" y="640"/>
                  </a:lnTo>
                  <a:lnTo>
                    <a:pt x="535" y="635"/>
                  </a:lnTo>
                  <a:lnTo>
                    <a:pt x="530" y="635"/>
                  </a:lnTo>
                  <a:lnTo>
                    <a:pt x="530" y="635"/>
                  </a:lnTo>
                  <a:lnTo>
                    <a:pt x="535" y="635"/>
                  </a:lnTo>
                  <a:lnTo>
                    <a:pt x="535" y="631"/>
                  </a:lnTo>
                  <a:lnTo>
                    <a:pt x="535" y="626"/>
                  </a:lnTo>
                  <a:lnTo>
                    <a:pt x="544" y="617"/>
                  </a:lnTo>
                  <a:lnTo>
                    <a:pt x="544" y="613"/>
                  </a:lnTo>
                  <a:lnTo>
                    <a:pt x="549" y="603"/>
                  </a:lnTo>
                  <a:lnTo>
                    <a:pt x="549" y="594"/>
                  </a:lnTo>
                  <a:lnTo>
                    <a:pt x="544" y="571"/>
                  </a:lnTo>
                  <a:lnTo>
                    <a:pt x="540" y="567"/>
                  </a:lnTo>
                  <a:lnTo>
                    <a:pt x="535" y="567"/>
                  </a:lnTo>
                  <a:lnTo>
                    <a:pt x="530" y="562"/>
                  </a:lnTo>
                  <a:lnTo>
                    <a:pt x="530" y="558"/>
                  </a:lnTo>
                  <a:lnTo>
                    <a:pt x="526" y="558"/>
                  </a:lnTo>
                  <a:lnTo>
                    <a:pt x="526" y="553"/>
                  </a:lnTo>
                  <a:lnTo>
                    <a:pt x="521" y="553"/>
                  </a:lnTo>
                  <a:lnTo>
                    <a:pt x="517" y="549"/>
                  </a:lnTo>
                  <a:lnTo>
                    <a:pt x="512" y="549"/>
                  </a:lnTo>
                  <a:lnTo>
                    <a:pt x="508" y="549"/>
                  </a:lnTo>
                  <a:lnTo>
                    <a:pt x="503" y="549"/>
                  </a:lnTo>
                  <a:lnTo>
                    <a:pt x="503" y="549"/>
                  </a:lnTo>
                  <a:lnTo>
                    <a:pt x="498" y="549"/>
                  </a:lnTo>
                  <a:lnTo>
                    <a:pt x="494" y="549"/>
                  </a:lnTo>
                  <a:lnTo>
                    <a:pt x="489" y="544"/>
                  </a:lnTo>
                  <a:lnTo>
                    <a:pt x="485" y="544"/>
                  </a:lnTo>
                  <a:lnTo>
                    <a:pt x="485" y="544"/>
                  </a:lnTo>
                  <a:lnTo>
                    <a:pt x="485" y="549"/>
                  </a:lnTo>
                  <a:lnTo>
                    <a:pt x="480" y="549"/>
                  </a:lnTo>
                  <a:lnTo>
                    <a:pt x="476" y="549"/>
                  </a:lnTo>
                  <a:lnTo>
                    <a:pt x="476" y="553"/>
                  </a:lnTo>
                  <a:lnTo>
                    <a:pt x="471" y="553"/>
                  </a:lnTo>
                  <a:lnTo>
                    <a:pt x="466" y="553"/>
                  </a:lnTo>
                  <a:lnTo>
                    <a:pt x="462" y="549"/>
                  </a:lnTo>
                  <a:lnTo>
                    <a:pt x="462" y="553"/>
                  </a:lnTo>
                  <a:lnTo>
                    <a:pt x="457" y="553"/>
                  </a:lnTo>
                  <a:lnTo>
                    <a:pt x="453" y="553"/>
                  </a:lnTo>
                  <a:lnTo>
                    <a:pt x="448" y="553"/>
                  </a:lnTo>
                  <a:lnTo>
                    <a:pt x="444" y="549"/>
                  </a:lnTo>
                  <a:lnTo>
                    <a:pt x="439" y="549"/>
                  </a:lnTo>
                  <a:lnTo>
                    <a:pt x="439" y="549"/>
                  </a:lnTo>
                  <a:lnTo>
                    <a:pt x="439" y="553"/>
                  </a:lnTo>
                  <a:lnTo>
                    <a:pt x="434" y="553"/>
                  </a:lnTo>
                  <a:lnTo>
                    <a:pt x="434" y="549"/>
                  </a:lnTo>
                  <a:lnTo>
                    <a:pt x="430" y="549"/>
                  </a:lnTo>
                  <a:lnTo>
                    <a:pt x="425" y="549"/>
                  </a:lnTo>
                  <a:lnTo>
                    <a:pt x="421" y="553"/>
                  </a:lnTo>
                  <a:lnTo>
                    <a:pt x="416" y="553"/>
                  </a:lnTo>
                  <a:lnTo>
                    <a:pt x="412" y="553"/>
                  </a:lnTo>
                  <a:lnTo>
                    <a:pt x="412" y="558"/>
                  </a:lnTo>
                  <a:lnTo>
                    <a:pt x="407" y="558"/>
                  </a:lnTo>
                  <a:lnTo>
                    <a:pt x="402" y="562"/>
                  </a:lnTo>
                  <a:lnTo>
                    <a:pt x="398" y="562"/>
                  </a:lnTo>
                  <a:lnTo>
                    <a:pt x="398" y="558"/>
                  </a:lnTo>
                  <a:lnTo>
                    <a:pt x="393" y="558"/>
                  </a:lnTo>
                  <a:lnTo>
                    <a:pt x="393" y="553"/>
                  </a:lnTo>
                  <a:lnTo>
                    <a:pt x="393" y="553"/>
                  </a:lnTo>
                  <a:lnTo>
                    <a:pt x="393" y="549"/>
                  </a:lnTo>
                  <a:lnTo>
                    <a:pt x="389" y="549"/>
                  </a:lnTo>
                  <a:lnTo>
                    <a:pt x="384" y="544"/>
                  </a:lnTo>
                  <a:lnTo>
                    <a:pt x="380" y="544"/>
                  </a:lnTo>
                  <a:lnTo>
                    <a:pt x="380" y="539"/>
                  </a:lnTo>
                  <a:lnTo>
                    <a:pt x="375" y="539"/>
                  </a:lnTo>
                  <a:lnTo>
                    <a:pt x="375" y="535"/>
                  </a:lnTo>
                  <a:lnTo>
                    <a:pt x="370" y="535"/>
                  </a:lnTo>
                  <a:lnTo>
                    <a:pt x="366" y="535"/>
                  </a:lnTo>
                  <a:lnTo>
                    <a:pt x="361" y="535"/>
                  </a:lnTo>
                  <a:lnTo>
                    <a:pt x="357" y="539"/>
                  </a:lnTo>
                  <a:lnTo>
                    <a:pt x="357" y="544"/>
                  </a:lnTo>
                  <a:lnTo>
                    <a:pt x="352" y="539"/>
                  </a:lnTo>
                  <a:lnTo>
                    <a:pt x="352" y="535"/>
                  </a:lnTo>
                  <a:lnTo>
                    <a:pt x="348" y="530"/>
                  </a:lnTo>
                  <a:lnTo>
                    <a:pt x="348" y="526"/>
                  </a:lnTo>
                  <a:lnTo>
                    <a:pt x="348" y="526"/>
                  </a:lnTo>
                  <a:lnTo>
                    <a:pt x="343" y="521"/>
                  </a:lnTo>
                  <a:lnTo>
                    <a:pt x="338" y="512"/>
                  </a:lnTo>
                  <a:lnTo>
                    <a:pt x="334" y="512"/>
                  </a:lnTo>
                  <a:lnTo>
                    <a:pt x="334" y="507"/>
                  </a:lnTo>
                  <a:lnTo>
                    <a:pt x="329" y="507"/>
                  </a:lnTo>
                  <a:lnTo>
                    <a:pt x="329" y="507"/>
                  </a:lnTo>
                  <a:lnTo>
                    <a:pt x="320" y="507"/>
                  </a:lnTo>
                  <a:lnTo>
                    <a:pt x="316" y="512"/>
                  </a:lnTo>
                  <a:lnTo>
                    <a:pt x="311" y="512"/>
                  </a:lnTo>
                  <a:lnTo>
                    <a:pt x="306" y="517"/>
                  </a:lnTo>
                  <a:lnTo>
                    <a:pt x="306" y="517"/>
                  </a:lnTo>
                  <a:lnTo>
                    <a:pt x="302" y="512"/>
                  </a:lnTo>
                  <a:lnTo>
                    <a:pt x="297" y="512"/>
                  </a:lnTo>
                  <a:lnTo>
                    <a:pt x="297" y="507"/>
                  </a:lnTo>
                  <a:lnTo>
                    <a:pt x="288" y="507"/>
                  </a:lnTo>
                  <a:lnTo>
                    <a:pt x="284" y="507"/>
                  </a:lnTo>
                  <a:lnTo>
                    <a:pt x="284" y="507"/>
                  </a:lnTo>
                  <a:lnTo>
                    <a:pt x="279" y="507"/>
                  </a:lnTo>
                  <a:lnTo>
                    <a:pt x="274" y="512"/>
                  </a:lnTo>
                  <a:lnTo>
                    <a:pt x="274" y="517"/>
                  </a:lnTo>
                  <a:lnTo>
                    <a:pt x="279" y="517"/>
                  </a:lnTo>
                  <a:lnTo>
                    <a:pt x="279" y="521"/>
                  </a:lnTo>
                  <a:lnTo>
                    <a:pt x="279" y="526"/>
                  </a:lnTo>
                  <a:lnTo>
                    <a:pt x="274" y="526"/>
                  </a:lnTo>
                  <a:lnTo>
                    <a:pt x="270" y="526"/>
                  </a:lnTo>
                  <a:lnTo>
                    <a:pt x="265" y="526"/>
                  </a:lnTo>
                  <a:lnTo>
                    <a:pt x="265" y="526"/>
                  </a:lnTo>
                  <a:lnTo>
                    <a:pt x="261" y="530"/>
                  </a:lnTo>
                  <a:lnTo>
                    <a:pt x="247" y="535"/>
                  </a:lnTo>
                  <a:lnTo>
                    <a:pt x="242" y="535"/>
                  </a:lnTo>
                  <a:lnTo>
                    <a:pt x="242" y="530"/>
                  </a:lnTo>
                  <a:lnTo>
                    <a:pt x="242" y="535"/>
                  </a:lnTo>
                  <a:lnTo>
                    <a:pt x="238" y="535"/>
                  </a:lnTo>
                  <a:lnTo>
                    <a:pt x="233" y="535"/>
                  </a:lnTo>
                  <a:lnTo>
                    <a:pt x="229" y="535"/>
                  </a:lnTo>
                  <a:lnTo>
                    <a:pt x="229" y="530"/>
                  </a:lnTo>
                  <a:lnTo>
                    <a:pt x="224" y="526"/>
                  </a:lnTo>
                  <a:lnTo>
                    <a:pt x="220" y="526"/>
                  </a:lnTo>
                  <a:lnTo>
                    <a:pt x="220" y="521"/>
                  </a:lnTo>
                  <a:lnTo>
                    <a:pt x="220" y="521"/>
                  </a:lnTo>
                  <a:lnTo>
                    <a:pt x="197" y="521"/>
                  </a:lnTo>
                  <a:lnTo>
                    <a:pt x="197" y="526"/>
                  </a:lnTo>
                  <a:lnTo>
                    <a:pt x="192" y="526"/>
                  </a:lnTo>
                  <a:lnTo>
                    <a:pt x="188" y="526"/>
                  </a:lnTo>
                  <a:lnTo>
                    <a:pt x="183" y="526"/>
                  </a:lnTo>
                  <a:lnTo>
                    <a:pt x="178" y="526"/>
                  </a:lnTo>
                  <a:lnTo>
                    <a:pt x="174" y="526"/>
                  </a:lnTo>
                  <a:lnTo>
                    <a:pt x="174" y="521"/>
                  </a:lnTo>
                  <a:lnTo>
                    <a:pt x="174" y="517"/>
                  </a:lnTo>
                  <a:lnTo>
                    <a:pt x="174" y="517"/>
                  </a:lnTo>
                  <a:lnTo>
                    <a:pt x="169" y="517"/>
                  </a:lnTo>
                  <a:lnTo>
                    <a:pt x="165" y="517"/>
                  </a:lnTo>
                  <a:lnTo>
                    <a:pt x="165" y="521"/>
                  </a:lnTo>
                  <a:lnTo>
                    <a:pt x="160" y="521"/>
                  </a:lnTo>
                  <a:close/>
                </a:path>
              </a:pathLst>
            </a:custGeom>
            <a:solidFill>
              <a:srgbClr val="FFC000"/>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FFFFFF"/>
                  </a:solidFill>
                  <a:effectLst/>
                  <a:uLnTx/>
                  <a:uFillTx/>
                  <a:latin typeface="Georgia" panose="02040502050405020303" pitchFamily="18" charset="0"/>
                  <a:cs typeface="Arial" panose="020B0604020202020204" pitchFamily="34" charset="0"/>
                  <a:sym typeface="Arial"/>
                </a:rPr>
                <a:t>        </a:t>
              </a: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Zamfara</a:t>
              </a:r>
            </a:p>
          </p:txBody>
        </p:sp>
        <p:sp>
          <p:nvSpPr>
            <p:cNvPr id="161" name="Freeform 43">
              <a:extLst>
                <a:ext uri="{FF2B5EF4-FFF2-40B4-BE49-F238E27FC236}">
                  <a16:creationId xmlns:a16="http://schemas.microsoft.com/office/drawing/2014/main" id="{4213075B-06B3-4182-B43D-14A8FD080BFA}"/>
                </a:ext>
              </a:extLst>
            </p:cNvPr>
            <p:cNvSpPr>
              <a:spLocks/>
            </p:cNvSpPr>
            <p:nvPr>
              <p:custDataLst>
                <p:tags r:id="rId73"/>
              </p:custDataLst>
            </p:nvPr>
          </p:nvSpPr>
          <p:spPr bwMode="auto">
            <a:xfrm>
              <a:off x="1620286" y="3810376"/>
              <a:ext cx="258775" cy="458922"/>
            </a:xfrm>
            <a:custGeom>
              <a:avLst/>
              <a:gdLst/>
              <a:ahLst/>
              <a:cxnLst>
                <a:cxn ang="0">
                  <a:pos x="192" y="78"/>
                </a:cxn>
                <a:cxn ang="0">
                  <a:pos x="215" y="78"/>
                </a:cxn>
                <a:cxn ang="0">
                  <a:pos x="233" y="115"/>
                </a:cxn>
                <a:cxn ang="0">
                  <a:pos x="270" y="137"/>
                </a:cxn>
                <a:cxn ang="0">
                  <a:pos x="279" y="188"/>
                </a:cxn>
                <a:cxn ang="0">
                  <a:pos x="288" y="229"/>
                </a:cxn>
                <a:cxn ang="0">
                  <a:pos x="274" y="247"/>
                </a:cxn>
                <a:cxn ang="0">
                  <a:pos x="247" y="238"/>
                </a:cxn>
                <a:cxn ang="0">
                  <a:pos x="219" y="197"/>
                </a:cxn>
                <a:cxn ang="0">
                  <a:pos x="201" y="215"/>
                </a:cxn>
                <a:cxn ang="0">
                  <a:pos x="169" y="233"/>
                </a:cxn>
                <a:cxn ang="0">
                  <a:pos x="178" y="265"/>
                </a:cxn>
                <a:cxn ang="0">
                  <a:pos x="137" y="275"/>
                </a:cxn>
                <a:cxn ang="0">
                  <a:pos x="146" y="293"/>
                </a:cxn>
                <a:cxn ang="0">
                  <a:pos x="133" y="311"/>
                </a:cxn>
                <a:cxn ang="0">
                  <a:pos x="137" y="343"/>
                </a:cxn>
                <a:cxn ang="0">
                  <a:pos x="123" y="380"/>
                </a:cxn>
                <a:cxn ang="0">
                  <a:pos x="105" y="393"/>
                </a:cxn>
                <a:cxn ang="0">
                  <a:pos x="133" y="398"/>
                </a:cxn>
                <a:cxn ang="0">
                  <a:pos x="114" y="416"/>
                </a:cxn>
                <a:cxn ang="0">
                  <a:pos x="123" y="435"/>
                </a:cxn>
                <a:cxn ang="0">
                  <a:pos x="114" y="453"/>
                </a:cxn>
                <a:cxn ang="0">
                  <a:pos x="82" y="448"/>
                </a:cxn>
                <a:cxn ang="0">
                  <a:pos x="46" y="448"/>
                </a:cxn>
                <a:cxn ang="0">
                  <a:pos x="18" y="448"/>
                </a:cxn>
                <a:cxn ang="0">
                  <a:pos x="0" y="435"/>
                </a:cxn>
                <a:cxn ang="0">
                  <a:pos x="9" y="412"/>
                </a:cxn>
                <a:cxn ang="0">
                  <a:pos x="27" y="403"/>
                </a:cxn>
                <a:cxn ang="0">
                  <a:pos x="37" y="384"/>
                </a:cxn>
                <a:cxn ang="0">
                  <a:pos x="41" y="366"/>
                </a:cxn>
                <a:cxn ang="0">
                  <a:pos x="37" y="325"/>
                </a:cxn>
                <a:cxn ang="0">
                  <a:pos x="41" y="297"/>
                </a:cxn>
                <a:cxn ang="0">
                  <a:pos x="55" y="275"/>
                </a:cxn>
                <a:cxn ang="0">
                  <a:pos x="59" y="252"/>
                </a:cxn>
                <a:cxn ang="0">
                  <a:pos x="78" y="229"/>
                </a:cxn>
                <a:cxn ang="0">
                  <a:pos x="87" y="206"/>
                </a:cxn>
                <a:cxn ang="0">
                  <a:pos x="101" y="183"/>
                </a:cxn>
                <a:cxn ang="0">
                  <a:pos x="105" y="165"/>
                </a:cxn>
                <a:cxn ang="0">
                  <a:pos x="96" y="142"/>
                </a:cxn>
                <a:cxn ang="0">
                  <a:pos x="96" y="133"/>
                </a:cxn>
                <a:cxn ang="0">
                  <a:pos x="101" y="115"/>
                </a:cxn>
                <a:cxn ang="0">
                  <a:pos x="101" y="73"/>
                </a:cxn>
                <a:cxn ang="0">
                  <a:pos x="91" y="60"/>
                </a:cxn>
                <a:cxn ang="0">
                  <a:pos x="69" y="51"/>
                </a:cxn>
                <a:cxn ang="0">
                  <a:pos x="46" y="37"/>
                </a:cxn>
                <a:cxn ang="0">
                  <a:pos x="50" y="9"/>
                </a:cxn>
                <a:cxn ang="0">
                  <a:pos x="82" y="5"/>
                </a:cxn>
                <a:cxn ang="0">
                  <a:pos x="91" y="5"/>
                </a:cxn>
                <a:cxn ang="0">
                  <a:pos x="110" y="9"/>
                </a:cxn>
                <a:cxn ang="0">
                  <a:pos x="137" y="9"/>
                </a:cxn>
                <a:cxn ang="0">
                  <a:pos x="133" y="28"/>
                </a:cxn>
                <a:cxn ang="0">
                  <a:pos x="123" y="55"/>
                </a:cxn>
                <a:cxn ang="0">
                  <a:pos x="137" y="73"/>
                </a:cxn>
                <a:cxn ang="0">
                  <a:pos x="169" y="73"/>
                </a:cxn>
              </a:cxnLst>
              <a:rect l="0" t="0" r="r" b="b"/>
              <a:pathLst>
                <a:path w="297" h="453">
                  <a:moveTo>
                    <a:pt x="178" y="73"/>
                  </a:moveTo>
                  <a:lnTo>
                    <a:pt x="183" y="73"/>
                  </a:lnTo>
                  <a:lnTo>
                    <a:pt x="183" y="78"/>
                  </a:lnTo>
                  <a:lnTo>
                    <a:pt x="187" y="78"/>
                  </a:lnTo>
                  <a:lnTo>
                    <a:pt x="192" y="78"/>
                  </a:lnTo>
                  <a:lnTo>
                    <a:pt x="192" y="78"/>
                  </a:lnTo>
                  <a:lnTo>
                    <a:pt x="197" y="78"/>
                  </a:lnTo>
                  <a:lnTo>
                    <a:pt x="201" y="78"/>
                  </a:lnTo>
                  <a:lnTo>
                    <a:pt x="206" y="78"/>
                  </a:lnTo>
                  <a:lnTo>
                    <a:pt x="215" y="78"/>
                  </a:lnTo>
                  <a:lnTo>
                    <a:pt x="219" y="83"/>
                  </a:lnTo>
                  <a:lnTo>
                    <a:pt x="224" y="92"/>
                  </a:lnTo>
                  <a:lnTo>
                    <a:pt x="224" y="96"/>
                  </a:lnTo>
                  <a:lnTo>
                    <a:pt x="224" y="105"/>
                  </a:lnTo>
                  <a:lnTo>
                    <a:pt x="233" y="115"/>
                  </a:lnTo>
                  <a:lnTo>
                    <a:pt x="242" y="124"/>
                  </a:lnTo>
                  <a:lnTo>
                    <a:pt x="251" y="128"/>
                  </a:lnTo>
                  <a:lnTo>
                    <a:pt x="261" y="128"/>
                  </a:lnTo>
                  <a:lnTo>
                    <a:pt x="270" y="133"/>
                  </a:lnTo>
                  <a:lnTo>
                    <a:pt x="270" y="137"/>
                  </a:lnTo>
                  <a:lnTo>
                    <a:pt x="270" y="147"/>
                  </a:lnTo>
                  <a:lnTo>
                    <a:pt x="274" y="165"/>
                  </a:lnTo>
                  <a:lnTo>
                    <a:pt x="279" y="179"/>
                  </a:lnTo>
                  <a:lnTo>
                    <a:pt x="279" y="183"/>
                  </a:lnTo>
                  <a:lnTo>
                    <a:pt x="279" y="188"/>
                  </a:lnTo>
                  <a:lnTo>
                    <a:pt x="279" y="192"/>
                  </a:lnTo>
                  <a:lnTo>
                    <a:pt x="279" y="197"/>
                  </a:lnTo>
                  <a:lnTo>
                    <a:pt x="279" y="206"/>
                  </a:lnTo>
                  <a:lnTo>
                    <a:pt x="288" y="220"/>
                  </a:lnTo>
                  <a:lnTo>
                    <a:pt x="288" y="229"/>
                  </a:lnTo>
                  <a:lnTo>
                    <a:pt x="293" y="233"/>
                  </a:lnTo>
                  <a:lnTo>
                    <a:pt x="297" y="243"/>
                  </a:lnTo>
                  <a:lnTo>
                    <a:pt x="288" y="252"/>
                  </a:lnTo>
                  <a:lnTo>
                    <a:pt x="279" y="252"/>
                  </a:lnTo>
                  <a:lnTo>
                    <a:pt x="274" y="247"/>
                  </a:lnTo>
                  <a:lnTo>
                    <a:pt x="270" y="243"/>
                  </a:lnTo>
                  <a:lnTo>
                    <a:pt x="265" y="247"/>
                  </a:lnTo>
                  <a:lnTo>
                    <a:pt x="256" y="252"/>
                  </a:lnTo>
                  <a:lnTo>
                    <a:pt x="251" y="247"/>
                  </a:lnTo>
                  <a:lnTo>
                    <a:pt x="247" y="238"/>
                  </a:lnTo>
                  <a:lnTo>
                    <a:pt x="233" y="229"/>
                  </a:lnTo>
                  <a:lnTo>
                    <a:pt x="233" y="220"/>
                  </a:lnTo>
                  <a:lnTo>
                    <a:pt x="229" y="211"/>
                  </a:lnTo>
                  <a:lnTo>
                    <a:pt x="224" y="201"/>
                  </a:lnTo>
                  <a:lnTo>
                    <a:pt x="219" y="197"/>
                  </a:lnTo>
                  <a:lnTo>
                    <a:pt x="215" y="192"/>
                  </a:lnTo>
                  <a:lnTo>
                    <a:pt x="206" y="192"/>
                  </a:lnTo>
                  <a:lnTo>
                    <a:pt x="201" y="201"/>
                  </a:lnTo>
                  <a:lnTo>
                    <a:pt x="201" y="206"/>
                  </a:lnTo>
                  <a:lnTo>
                    <a:pt x="201" y="215"/>
                  </a:lnTo>
                  <a:lnTo>
                    <a:pt x="192" y="220"/>
                  </a:lnTo>
                  <a:lnTo>
                    <a:pt x="187" y="229"/>
                  </a:lnTo>
                  <a:lnTo>
                    <a:pt x="178" y="229"/>
                  </a:lnTo>
                  <a:lnTo>
                    <a:pt x="174" y="229"/>
                  </a:lnTo>
                  <a:lnTo>
                    <a:pt x="169" y="233"/>
                  </a:lnTo>
                  <a:lnTo>
                    <a:pt x="165" y="243"/>
                  </a:lnTo>
                  <a:lnTo>
                    <a:pt x="165" y="252"/>
                  </a:lnTo>
                  <a:lnTo>
                    <a:pt x="174" y="252"/>
                  </a:lnTo>
                  <a:lnTo>
                    <a:pt x="178" y="261"/>
                  </a:lnTo>
                  <a:lnTo>
                    <a:pt x="178" y="265"/>
                  </a:lnTo>
                  <a:lnTo>
                    <a:pt x="174" y="270"/>
                  </a:lnTo>
                  <a:lnTo>
                    <a:pt x="165" y="270"/>
                  </a:lnTo>
                  <a:lnTo>
                    <a:pt x="146" y="275"/>
                  </a:lnTo>
                  <a:lnTo>
                    <a:pt x="137" y="275"/>
                  </a:lnTo>
                  <a:lnTo>
                    <a:pt x="137" y="275"/>
                  </a:lnTo>
                  <a:lnTo>
                    <a:pt x="133" y="275"/>
                  </a:lnTo>
                  <a:lnTo>
                    <a:pt x="133" y="279"/>
                  </a:lnTo>
                  <a:lnTo>
                    <a:pt x="137" y="284"/>
                  </a:lnTo>
                  <a:lnTo>
                    <a:pt x="142" y="288"/>
                  </a:lnTo>
                  <a:lnTo>
                    <a:pt x="146" y="293"/>
                  </a:lnTo>
                  <a:lnTo>
                    <a:pt x="146" y="293"/>
                  </a:lnTo>
                  <a:lnTo>
                    <a:pt x="142" y="293"/>
                  </a:lnTo>
                  <a:lnTo>
                    <a:pt x="137" y="293"/>
                  </a:lnTo>
                  <a:lnTo>
                    <a:pt x="133" y="307"/>
                  </a:lnTo>
                  <a:lnTo>
                    <a:pt x="133" y="311"/>
                  </a:lnTo>
                  <a:lnTo>
                    <a:pt x="133" y="320"/>
                  </a:lnTo>
                  <a:lnTo>
                    <a:pt x="133" y="329"/>
                  </a:lnTo>
                  <a:lnTo>
                    <a:pt x="133" y="334"/>
                  </a:lnTo>
                  <a:lnTo>
                    <a:pt x="133" y="339"/>
                  </a:lnTo>
                  <a:lnTo>
                    <a:pt x="137" y="343"/>
                  </a:lnTo>
                  <a:lnTo>
                    <a:pt x="133" y="357"/>
                  </a:lnTo>
                  <a:lnTo>
                    <a:pt x="128" y="366"/>
                  </a:lnTo>
                  <a:lnTo>
                    <a:pt x="128" y="371"/>
                  </a:lnTo>
                  <a:lnTo>
                    <a:pt x="123" y="375"/>
                  </a:lnTo>
                  <a:lnTo>
                    <a:pt x="123" y="380"/>
                  </a:lnTo>
                  <a:lnTo>
                    <a:pt x="119" y="384"/>
                  </a:lnTo>
                  <a:lnTo>
                    <a:pt x="114" y="384"/>
                  </a:lnTo>
                  <a:lnTo>
                    <a:pt x="110" y="389"/>
                  </a:lnTo>
                  <a:lnTo>
                    <a:pt x="110" y="393"/>
                  </a:lnTo>
                  <a:lnTo>
                    <a:pt x="105" y="393"/>
                  </a:lnTo>
                  <a:lnTo>
                    <a:pt x="110" y="398"/>
                  </a:lnTo>
                  <a:lnTo>
                    <a:pt x="114" y="398"/>
                  </a:lnTo>
                  <a:lnTo>
                    <a:pt x="123" y="398"/>
                  </a:lnTo>
                  <a:lnTo>
                    <a:pt x="128" y="393"/>
                  </a:lnTo>
                  <a:lnTo>
                    <a:pt x="133" y="398"/>
                  </a:lnTo>
                  <a:lnTo>
                    <a:pt x="128" y="403"/>
                  </a:lnTo>
                  <a:lnTo>
                    <a:pt x="123" y="403"/>
                  </a:lnTo>
                  <a:lnTo>
                    <a:pt x="123" y="412"/>
                  </a:lnTo>
                  <a:lnTo>
                    <a:pt x="119" y="416"/>
                  </a:lnTo>
                  <a:lnTo>
                    <a:pt x="114" y="416"/>
                  </a:lnTo>
                  <a:lnTo>
                    <a:pt x="114" y="421"/>
                  </a:lnTo>
                  <a:lnTo>
                    <a:pt x="110" y="421"/>
                  </a:lnTo>
                  <a:lnTo>
                    <a:pt x="119" y="425"/>
                  </a:lnTo>
                  <a:lnTo>
                    <a:pt x="123" y="430"/>
                  </a:lnTo>
                  <a:lnTo>
                    <a:pt x="123" y="435"/>
                  </a:lnTo>
                  <a:lnTo>
                    <a:pt x="123" y="439"/>
                  </a:lnTo>
                  <a:lnTo>
                    <a:pt x="123" y="444"/>
                  </a:lnTo>
                  <a:lnTo>
                    <a:pt x="123" y="448"/>
                  </a:lnTo>
                  <a:lnTo>
                    <a:pt x="119" y="448"/>
                  </a:lnTo>
                  <a:lnTo>
                    <a:pt x="114" y="453"/>
                  </a:lnTo>
                  <a:lnTo>
                    <a:pt x="105" y="448"/>
                  </a:lnTo>
                  <a:lnTo>
                    <a:pt x="105" y="453"/>
                  </a:lnTo>
                  <a:lnTo>
                    <a:pt x="96" y="448"/>
                  </a:lnTo>
                  <a:lnTo>
                    <a:pt x="87" y="448"/>
                  </a:lnTo>
                  <a:lnTo>
                    <a:pt x="82" y="448"/>
                  </a:lnTo>
                  <a:lnTo>
                    <a:pt x="78" y="448"/>
                  </a:lnTo>
                  <a:lnTo>
                    <a:pt x="69" y="448"/>
                  </a:lnTo>
                  <a:lnTo>
                    <a:pt x="59" y="448"/>
                  </a:lnTo>
                  <a:lnTo>
                    <a:pt x="55" y="448"/>
                  </a:lnTo>
                  <a:lnTo>
                    <a:pt x="46" y="448"/>
                  </a:lnTo>
                  <a:lnTo>
                    <a:pt x="41" y="448"/>
                  </a:lnTo>
                  <a:lnTo>
                    <a:pt x="37" y="453"/>
                  </a:lnTo>
                  <a:lnTo>
                    <a:pt x="27" y="453"/>
                  </a:lnTo>
                  <a:lnTo>
                    <a:pt x="23" y="453"/>
                  </a:lnTo>
                  <a:lnTo>
                    <a:pt x="18" y="448"/>
                  </a:lnTo>
                  <a:lnTo>
                    <a:pt x="14" y="448"/>
                  </a:lnTo>
                  <a:lnTo>
                    <a:pt x="9" y="444"/>
                  </a:lnTo>
                  <a:lnTo>
                    <a:pt x="5" y="444"/>
                  </a:lnTo>
                  <a:lnTo>
                    <a:pt x="5" y="439"/>
                  </a:lnTo>
                  <a:lnTo>
                    <a:pt x="0" y="435"/>
                  </a:lnTo>
                  <a:lnTo>
                    <a:pt x="0" y="430"/>
                  </a:lnTo>
                  <a:lnTo>
                    <a:pt x="5" y="425"/>
                  </a:lnTo>
                  <a:lnTo>
                    <a:pt x="5" y="421"/>
                  </a:lnTo>
                  <a:lnTo>
                    <a:pt x="9" y="416"/>
                  </a:lnTo>
                  <a:lnTo>
                    <a:pt x="9" y="412"/>
                  </a:lnTo>
                  <a:lnTo>
                    <a:pt x="9" y="407"/>
                  </a:lnTo>
                  <a:lnTo>
                    <a:pt x="14" y="403"/>
                  </a:lnTo>
                  <a:lnTo>
                    <a:pt x="18" y="403"/>
                  </a:lnTo>
                  <a:lnTo>
                    <a:pt x="18" y="403"/>
                  </a:lnTo>
                  <a:lnTo>
                    <a:pt x="27" y="403"/>
                  </a:lnTo>
                  <a:lnTo>
                    <a:pt x="32" y="398"/>
                  </a:lnTo>
                  <a:lnTo>
                    <a:pt x="37" y="398"/>
                  </a:lnTo>
                  <a:lnTo>
                    <a:pt x="37" y="393"/>
                  </a:lnTo>
                  <a:lnTo>
                    <a:pt x="37" y="389"/>
                  </a:lnTo>
                  <a:lnTo>
                    <a:pt x="37" y="384"/>
                  </a:lnTo>
                  <a:lnTo>
                    <a:pt x="41" y="384"/>
                  </a:lnTo>
                  <a:lnTo>
                    <a:pt x="41" y="384"/>
                  </a:lnTo>
                  <a:lnTo>
                    <a:pt x="41" y="380"/>
                  </a:lnTo>
                  <a:lnTo>
                    <a:pt x="41" y="371"/>
                  </a:lnTo>
                  <a:lnTo>
                    <a:pt x="41" y="366"/>
                  </a:lnTo>
                  <a:lnTo>
                    <a:pt x="41" y="343"/>
                  </a:lnTo>
                  <a:lnTo>
                    <a:pt x="41" y="339"/>
                  </a:lnTo>
                  <a:lnTo>
                    <a:pt x="41" y="334"/>
                  </a:lnTo>
                  <a:lnTo>
                    <a:pt x="41" y="329"/>
                  </a:lnTo>
                  <a:lnTo>
                    <a:pt x="37" y="325"/>
                  </a:lnTo>
                  <a:lnTo>
                    <a:pt x="37" y="320"/>
                  </a:lnTo>
                  <a:lnTo>
                    <a:pt x="37" y="316"/>
                  </a:lnTo>
                  <a:lnTo>
                    <a:pt x="37" y="311"/>
                  </a:lnTo>
                  <a:lnTo>
                    <a:pt x="37" y="302"/>
                  </a:lnTo>
                  <a:lnTo>
                    <a:pt x="41" y="297"/>
                  </a:lnTo>
                  <a:lnTo>
                    <a:pt x="41" y="293"/>
                  </a:lnTo>
                  <a:lnTo>
                    <a:pt x="46" y="284"/>
                  </a:lnTo>
                  <a:lnTo>
                    <a:pt x="46" y="279"/>
                  </a:lnTo>
                  <a:lnTo>
                    <a:pt x="50" y="275"/>
                  </a:lnTo>
                  <a:lnTo>
                    <a:pt x="55" y="275"/>
                  </a:lnTo>
                  <a:lnTo>
                    <a:pt x="55" y="270"/>
                  </a:lnTo>
                  <a:lnTo>
                    <a:pt x="59" y="265"/>
                  </a:lnTo>
                  <a:lnTo>
                    <a:pt x="59" y="261"/>
                  </a:lnTo>
                  <a:lnTo>
                    <a:pt x="59" y="256"/>
                  </a:lnTo>
                  <a:lnTo>
                    <a:pt x="59" y="252"/>
                  </a:lnTo>
                  <a:lnTo>
                    <a:pt x="59" y="252"/>
                  </a:lnTo>
                  <a:lnTo>
                    <a:pt x="64" y="247"/>
                  </a:lnTo>
                  <a:lnTo>
                    <a:pt x="69" y="233"/>
                  </a:lnTo>
                  <a:lnTo>
                    <a:pt x="73" y="229"/>
                  </a:lnTo>
                  <a:lnTo>
                    <a:pt x="78" y="229"/>
                  </a:lnTo>
                  <a:lnTo>
                    <a:pt x="82" y="224"/>
                  </a:lnTo>
                  <a:lnTo>
                    <a:pt x="82" y="220"/>
                  </a:lnTo>
                  <a:lnTo>
                    <a:pt x="82" y="215"/>
                  </a:lnTo>
                  <a:lnTo>
                    <a:pt x="82" y="211"/>
                  </a:lnTo>
                  <a:lnTo>
                    <a:pt x="87" y="206"/>
                  </a:lnTo>
                  <a:lnTo>
                    <a:pt x="87" y="206"/>
                  </a:lnTo>
                  <a:lnTo>
                    <a:pt x="91" y="201"/>
                  </a:lnTo>
                  <a:lnTo>
                    <a:pt x="96" y="192"/>
                  </a:lnTo>
                  <a:lnTo>
                    <a:pt x="96" y="188"/>
                  </a:lnTo>
                  <a:lnTo>
                    <a:pt x="101" y="183"/>
                  </a:lnTo>
                  <a:lnTo>
                    <a:pt x="105" y="183"/>
                  </a:lnTo>
                  <a:lnTo>
                    <a:pt x="105" y="183"/>
                  </a:lnTo>
                  <a:lnTo>
                    <a:pt x="105" y="179"/>
                  </a:lnTo>
                  <a:lnTo>
                    <a:pt x="105" y="165"/>
                  </a:lnTo>
                  <a:lnTo>
                    <a:pt x="105" y="165"/>
                  </a:lnTo>
                  <a:lnTo>
                    <a:pt x="105" y="160"/>
                  </a:lnTo>
                  <a:lnTo>
                    <a:pt x="105" y="156"/>
                  </a:lnTo>
                  <a:lnTo>
                    <a:pt x="105" y="151"/>
                  </a:lnTo>
                  <a:lnTo>
                    <a:pt x="96" y="142"/>
                  </a:lnTo>
                  <a:lnTo>
                    <a:pt x="96" y="142"/>
                  </a:lnTo>
                  <a:lnTo>
                    <a:pt x="91" y="137"/>
                  </a:lnTo>
                  <a:lnTo>
                    <a:pt x="87" y="133"/>
                  </a:lnTo>
                  <a:lnTo>
                    <a:pt x="87" y="128"/>
                  </a:lnTo>
                  <a:lnTo>
                    <a:pt x="91" y="128"/>
                  </a:lnTo>
                  <a:lnTo>
                    <a:pt x="96" y="133"/>
                  </a:lnTo>
                  <a:lnTo>
                    <a:pt x="101" y="133"/>
                  </a:lnTo>
                  <a:lnTo>
                    <a:pt x="101" y="128"/>
                  </a:lnTo>
                  <a:lnTo>
                    <a:pt x="101" y="124"/>
                  </a:lnTo>
                  <a:lnTo>
                    <a:pt x="101" y="119"/>
                  </a:lnTo>
                  <a:lnTo>
                    <a:pt x="101" y="115"/>
                  </a:lnTo>
                  <a:lnTo>
                    <a:pt x="101" y="105"/>
                  </a:lnTo>
                  <a:lnTo>
                    <a:pt x="101" y="96"/>
                  </a:lnTo>
                  <a:lnTo>
                    <a:pt x="101" y="96"/>
                  </a:lnTo>
                  <a:lnTo>
                    <a:pt x="101" y="83"/>
                  </a:lnTo>
                  <a:lnTo>
                    <a:pt x="101" y="73"/>
                  </a:lnTo>
                  <a:lnTo>
                    <a:pt x="101" y="73"/>
                  </a:lnTo>
                  <a:lnTo>
                    <a:pt x="101" y="73"/>
                  </a:lnTo>
                  <a:lnTo>
                    <a:pt x="96" y="69"/>
                  </a:lnTo>
                  <a:lnTo>
                    <a:pt x="96" y="60"/>
                  </a:lnTo>
                  <a:lnTo>
                    <a:pt x="91" y="60"/>
                  </a:lnTo>
                  <a:lnTo>
                    <a:pt x="91" y="55"/>
                  </a:lnTo>
                  <a:lnTo>
                    <a:pt x="87" y="55"/>
                  </a:lnTo>
                  <a:lnTo>
                    <a:pt x="82" y="55"/>
                  </a:lnTo>
                  <a:lnTo>
                    <a:pt x="78" y="51"/>
                  </a:lnTo>
                  <a:lnTo>
                    <a:pt x="69" y="51"/>
                  </a:lnTo>
                  <a:lnTo>
                    <a:pt x="64" y="51"/>
                  </a:lnTo>
                  <a:lnTo>
                    <a:pt x="59" y="46"/>
                  </a:lnTo>
                  <a:lnTo>
                    <a:pt x="55" y="41"/>
                  </a:lnTo>
                  <a:lnTo>
                    <a:pt x="50" y="37"/>
                  </a:lnTo>
                  <a:lnTo>
                    <a:pt x="46" y="37"/>
                  </a:lnTo>
                  <a:lnTo>
                    <a:pt x="41" y="32"/>
                  </a:lnTo>
                  <a:lnTo>
                    <a:pt x="41" y="32"/>
                  </a:lnTo>
                  <a:lnTo>
                    <a:pt x="41" y="28"/>
                  </a:lnTo>
                  <a:lnTo>
                    <a:pt x="46" y="19"/>
                  </a:lnTo>
                  <a:lnTo>
                    <a:pt x="50" y="9"/>
                  </a:lnTo>
                  <a:lnTo>
                    <a:pt x="59" y="9"/>
                  </a:lnTo>
                  <a:lnTo>
                    <a:pt x="59" y="9"/>
                  </a:lnTo>
                  <a:lnTo>
                    <a:pt x="69" y="9"/>
                  </a:lnTo>
                  <a:lnTo>
                    <a:pt x="73" y="9"/>
                  </a:lnTo>
                  <a:lnTo>
                    <a:pt x="82" y="5"/>
                  </a:lnTo>
                  <a:lnTo>
                    <a:pt x="82" y="0"/>
                  </a:lnTo>
                  <a:lnTo>
                    <a:pt x="82" y="0"/>
                  </a:lnTo>
                  <a:lnTo>
                    <a:pt x="87" y="0"/>
                  </a:lnTo>
                  <a:lnTo>
                    <a:pt x="87" y="5"/>
                  </a:lnTo>
                  <a:lnTo>
                    <a:pt x="91" y="5"/>
                  </a:lnTo>
                  <a:lnTo>
                    <a:pt x="91" y="9"/>
                  </a:lnTo>
                  <a:lnTo>
                    <a:pt x="96" y="9"/>
                  </a:lnTo>
                  <a:lnTo>
                    <a:pt x="101" y="14"/>
                  </a:lnTo>
                  <a:lnTo>
                    <a:pt x="105" y="14"/>
                  </a:lnTo>
                  <a:lnTo>
                    <a:pt x="110" y="9"/>
                  </a:lnTo>
                  <a:lnTo>
                    <a:pt x="114" y="9"/>
                  </a:lnTo>
                  <a:lnTo>
                    <a:pt x="119" y="9"/>
                  </a:lnTo>
                  <a:lnTo>
                    <a:pt x="123" y="9"/>
                  </a:lnTo>
                  <a:lnTo>
                    <a:pt x="128" y="9"/>
                  </a:lnTo>
                  <a:lnTo>
                    <a:pt x="137" y="9"/>
                  </a:lnTo>
                  <a:lnTo>
                    <a:pt x="137" y="14"/>
                  </a:lnTo>
                  <a:lnTo>
                    <a:pt x="142" y="14"/>
                  </a:lnTo>
                  <a:lnTo>
                    <a:pt x="137" y="19"/>
                  </a:lnTo>
                  <a:lnTo>
                    <a:pt x="137" y="23"/>
                  </a:lnTo>
                  <a:lnTo>
                    <a:pt x="133" y="28"/>
                  </a:lnTo>
                  <a:lnTo>
                    <a:pt x="128" y="32"/>
                  </a:lnTo>
                  <a:lnTo>
                    <a:pt x="128" y="37"/>
                  </a:lnTo>
                  <a:lnTo>
                    <a:pt x="123" y="46"/>
                  </a:lnTo>
                  <a:lnTo>
                    <a:pt x="123" y="51"/>
                  </a:lnTo>
                  <a:lnTo>
                    <a:pt x="123" y="55"/>
                  </a:lnTo>
                  <a:lnTo>
                    <a:pt x="123" y="64"/>
                  </a:lnTo>
                  <a:lnTo>
                    <a:pt x="123" y="69"/>
                  </a:lnTo>
                  <a:lnTo>
                    <a:pt x="123" y="69"/>
                  </a:lnTo>
                  <a:lnTo>
                    <a:pt x="133" y="73"/>
                  </a:lnTo>
                  <a:lnTo>
                    <a:pt x="137" y="73"/>
                  </a:lnTo>
                  <a:lnTo>
                    <a:pt x="142" y="73"/>
                  </a:lnTo>
                  <a:lnTo>
                    <a:pt x="151" y="73"/>
                  </a:lnTo>
                  <a:lnTo>
                    <a:pt x="160" y="73"/>
                  </a:lnTo>
                  <a:lnTo>
                    <a:pt x="165" y="73"/>
                  </a:lnTo>
                  <a:lnTo>
                    <a:pt x="169" y="73"/>
                  </a:lnTo>
                  <a:lnTo>
                    <a:pt x="178" y="73"/>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algn="ctr"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Abia</a:t>
              </a:r>
            </a:p>
          </p:txBody>
        </p:sp>
        <p:sp>
          <p:nvSpPr>
            <p:cNvPr id="162" name="Freeform 46">
              <a:extLst>
                <a:ext uri="{FF2B5EF4-FFF2-40B4-BE49-F238E27FC236}">
                  <a16:creationId xmlns:a16="http://schemas.microsoft.com/office/drawing/2014/main" id="{BF853740-8C75-4C0F-8261-B5317C70B3E8}"/>
                </a:ext>
              </a:extLst>
            </p:cNvPr>
            <p:cNvSpPr>
              <a:spLocks/>
            </p:cNvSpPr>
            <p:nvPr>
              <p:custDataLst>
                <p:tags r:id="rId74"/>
              </p:custDataLst>
            </p:nvPr>
          </p:nvSpPr>
          <p:spPr bwMode="auto">
            <a:xfrm>
              <a:off x="1420342" y="3496887"/>
              <a:ext cx="455592" cy="430818"/>
            </a:xfrm>
            <a:custGeom>
              <a:avLst/>
              <a:gdLst/>
              <a:ahLst/>
              <a:cxnLst>
                <a:cxn ang="0">
                  <a:pos x="68" y="77"/>
                </a:cxn>
                <a:cxn ang="0">
                  <a:pos x="82" y="64"/>
                </a:cxn>
                <a:cxn ang="0">
                  <a:pos x="87" y="27"/>
                </a:cxn>
                <a:cxn ang="0">
                  <a:pos x="96" y="18"/>
                </a:cxn>
                <a:cxn ang="0">
                  <a:pos x="114" y="0"/>
                </a:cxn>
                <a:cxn ang="0">
                  <a:pos x="119" y="18"/>
                </a:cxn>
                <a:cxn ang="0">
                  <a:pos x="132" y="18"/>
                </a:cxn>
                <a:cxn ang="0">
                  <a:pos x="155" y="22"/>
                </a:cxn>
                <a:cxn ang="0">
                  <a:pos x="174" y="27"/>
                </a:cxn>
                <a:cxn ang="0">
                  <a:pos x="196" y="36"/>
                </a:cxn>
                <a:cxn ang="0">
                  <a:pos x="192" y="54"/>
                </a:cxn>
                <a:cxn ang="0">
                  <a:pos x="183" y="64"/>
                </a:cxn>
                <a:cxn ang="0">
                  <a:pos x="164" y="82"/>
                </a:cxn>
                <a:cxn ang="0">
                  <a:pos x="164" y="105"/>
                </a:cxn>
                <a:cxn ang="0">
                  <a:pos x="155" y="109"/>
                </a:cxn>
                <a:cxn ang="0">
                  <a:pos x="164" y="123"/>
                </a:cxn>
                <a:cxn ang="0">
                  <a:pos x="183" y="132"/>
                </a:cxn>
                <a:cxn ang="0">
                  <a:pos x="192" y="141"/>
                </a:cxn>
                <a:cxn ang="0">
                  <a:pos x="201" y="155"/>
                </a:cxn>
                <a:cxn ang="0">
                  <a:pos x="206" y="173"/>
                </a:cxn>
                <a:cxn ang="0">
                  <a:pos x="196" y="187"/>
                </a:cxn>
                <a:cxn ang="0">
                  <a:pos x="206" y="196"/>
                </a:cxn>
                <a:cxn ang="0">
                  <a:pos x="219" y="201"/>
                </a:cxn>
                <a:cxn ang="0">
                  <a:pos x="224" y="214"/>
                </a:cxn>
                <a:cxn ang="0">
                  <a:pos x="233" y="237"/>
                </a:cxn>
                <a:cxn ang="0">
                  <a:pos x="242" y="260"/>
                </a:cxn>
                <a:cxn ang="0">
                  <a:pos x="260" y="269"/>
                </a:cxn>
                <a:cxn ang="0">
                  <a:pos x="279" y="269"/>
                </a:cxn>
                <a:cxn ang="0">
                  <a:pos x="270" y="278"/>
                </a:cxn>
                <a:cxn ang="0">
                  <a:pos x="247" y="288"/>
                </a:cxn>
                <a:cxn ang="0">
                  <a:pos x="238" y="306"/>
                </a:cxn>
                <a:cxn ang="0">
                  <a:pos x="210" y="315"/>
                </a:cxn>
                <a:cxn ang="0">
                  <a:pos x="169" y="310"/>
                </a:cxn>
                <a:cxn ang="0">
                  <a:pos x="128" y="320"/>
                </a:cxn>
                <a:cxn ang="0">
                  <a:pos x="119" y="329"/>
                </a:cxn>
                <a:cxn ang="0">
                  <a:pos x="110" y="356"/>
                </a:cxn>
                <a:cxn ang="0">
                  <a:pos x="87" y="374"/>
                </a:cxn>
                <a:cxn ang="0">
                  <a:pos x="55" y="365"/>
                </a:cxn>
                <a:cxn ang="0">
                  <a:pos x="18" y="379"/>
                </a:cxn>
                <a:cxn ang="0">
                  <a:pos x="0" y="370"/>
                </a:cxn>
                <a:cxn ang="0">
                  <a:pos x="9" y="329"/>
                </a:cxn>
                <a:cxn ang="0">
                  <a:pos x="23" y="297"/>
                </a:cxn>
                <a:cxn ang="0">
                  <a:pos x="32" y="256"/>
                </a:cxn>
                <a:cxn ang="0">
                  <a:pos x="41" y="233"/>
                </a:cxn>
                <a:cxn ang="0">
                  <a:pos x="36" y="192"/>
                </a:cxn>
                <a:cxn ang="0">
                  <a:pos x="23" y="141"/>
                </a:cxn>
                <a:cxn ang="0">
                  <a:pos x="14" y="96"/>
                </a:cxn>
                <a:cxn ang="0">
                  <a:pos x="18" y="82"/>
                </a:cxn>
                <a:cxn ang="0">
                  <a:pos x="50" y="82"/>
                </a:cxn>
              </a:cxnLst>
              <a:rect l="0" t="0" r="r" b="b"/>
              <a:pathLst>
                <a:path w="283" h="384">
                  <a:moveTo>
                    <a:pt x="59" y="82"/>
                  </a:moveTo>
                  <a:lnTo>
                    <a:pt x="64" y="82"/>
                  </a:lnTo>
                  <a:lnTo>
                    <a:pt x="64" y="77"/>
                  </a:lnTo>
                  <a:lnTo>
                    <a:pt x="68" y="77"/>
                  </a:lnTo>
                  <a:lnTo>
                    <a:pt x="73" y="77"/>
                  </a:lnTo>
                  <a:lnTo>
                    <a:pt x="78" y="73"/>
                  </a:lnTo>
                  <a:lnTo>
                    <a:pt x="82" y="68"/>
                  </a:lnTo>
                  <a:lnTo>
                    <a:pt x="82" y="64"/>
                  </a:lnTo>
                  <a:lnTo>
                    <a:pt x="82" y="59"/>
                  </a:lnTo>
                  <a:lnTo>
                    <a:pt x="87" y="45"/>
                  </a:lnTo>
                  <a:lnTo>
                    <a:pt x="87" y="36"/>
                  </a:lnTo>
                  <a:lnTo>
                    <a:pt x="87" y="27"/>
                  </a:lnTo>
                  <a:lnTo>
                    <a:pt x="87" y="27"/>
                  </a:lnTo>
                  <a:lnTo>
                    <a:pt x="91" y="18"/>
                  </a:lnTo>
                  <a:lnTo>
                    <a:pt x="96" y="18"/>
                  </a:lnTo>
                  <a:lnTo>
                    <a:pt x="96" y="18"/>
                  </a:lnTo>
                  <a:lnTo>
                    <a:pt x="100" y="18"/>
                  </a:lnTo>
                  <a:lnTo>
                    <a:pt x="105" y="13"/>
                  </a:lnTo>
                  <a:lnTo>
                    <a:pt x="110" y="0"/>
                  </a:lnTo>
                  <a:lnTo>
                    <a:pt x="114" y="0"/>
                  </a:lnTo>
                  <a:lnTo>
                    <a:pt x="114" y="4"/>
                  </a:lnTo>
                  <a:lnTo>
                    <a:pt x="114" y="13"/>
                  </a:lnTo>
                  <a:lnTo>
                    <a:pt x="114" y="18"/>
                  </a:lnTo>
                  <a:lnTo>
                    <a:pt x="119" y="18"/>
                  </a:lnTo>
                  <a:lnTo>
                    <a:pt x="123" y="18"/>
                  </a:lnTo>
                  <a:lnTo>
                    <a:pt x="128" y="18"/>
                  </a:lnTo>
                  <a:lnTo>
                    <a:pt x="128" y="18"/>
                  </a:lnTo>
                  <a:lnTo>
                    <a:pt x="132" y="18"/>
                  </a:lnTo>
                  <a:lnTo>
                    <a:pt x="142" y="18"/>
                  </a:lnTo>
                  <a:lnTo>
                    <a:pt x="146" y="18"/>
                  </a:lnTo>
                  <a:lnTo>
                    <a:pt x="151" y="18"/>
                  </a:lnTo>
                  <a:lnTo>
                    <a:pt x="155" y="22"/>
                  </a:lnTo>
                  <a:lnTo>
                    <a:pt x="160" y="22"/>
                  </a:lnTo>
                  <a:lnTo>
                    <a:pt x="164" y="27"/>
                  </a:lnTo>
                  <a:lnTo>
                    <a:pt x="169" y="27"/>
                  </a:lnTo>
                  <a:lnTo>
                    <a:pt x="174" y="27"/>
                  </a:lnTo>
                  <a:lnTo>
                    <a:pt x="178" y="27"/>
                  </a:lnTo>
                  <a:lnTo>
                    <a:pt x="183" y="32"/>
                  </a:lnTo>
                  <a:lnTo>
                    <a:pt x="192" y="36"/>
                  </a:lnTo>
                  <a:lnTo>
                    <a:pt x="196" y="36"/>
                  </a:lnTo>
                  <a:lnTo>
                    <a:pt x="196" y="41"/>
                  </a:lnTo>
                  <a:lnTo>
                    <a:pt x="196" y="45"/>
                  </a:lnTo>
                  <a:lnTo>
                    <a:pt x="192" y="50"/>
                  </a:lnTo>
                  <a:lnTo>
                    <a:pt x="192" y="54"/>
                  </a:lnTo>
                  <a:lnTo>
                    <a:pt x="187" y="54"/>
                  </a:lnTo>
                  <a:lnTo>
                    <a:pt x="187" y="59"/>
                  </a:lnTo>
                  <a:lnTo>
                    <a:pt x="187" y="64"/>
                  </a:lnTo>
                  <a:lnTo>
                    <a:pt x="183" y="64"/>
                  </a:lnTo>
                  <a:lnTo>
                    <a:pt x="183" y="68"/>
                  </a:lnTo>
                  <a:lnTo>
                    <a:pt x="178" y="73"/>
                  </a:lnTo>
                  <a:lnTo>
                    <a:pt x="169" y="77"/>
                  </a:lnTo>
                  <a:lnTo>
                    <a:pt x="164" y="82"/>
                  </a:lnTo>
                  <a:lnTo>
                    <a:pt x="164" y="86"/>
                  </a:lnTo>
                  <a:lnTo>
                    <a:pt x="160" y="91"/>
                  </a:lnTo>
                  <a:lnTo>
                    <a:pt x="160" y="100"/>
                  </a:lnTo>
                  <a:lnTo>
                    <a:pt x="164" y="105"/>
                  </a:lnTo>
                  <a:lnTo>
                    <a:pt x="164" y="105"/>
                  </a:lnTo>
                  <a:lnTo>
                    <a:pt x="160" y="105"/>
                  </a:lnTo>
                  <a:lnTo>
                    <a:pt x="160" y="109"/>
                  </a:lnTo>
                  <a:lnTo>
                    <a:pt x="155" y="109"/>
                  </a:lnTo>
                  <a:lnTo>
                    <a:pt x="155" y="114"/>
                  </a:lnTo>
                  <a:lnTo>
                    <a:pt x="155" y="118"/>
                  </a:lnTo>
                  <a:lnTo>
                    <a:pt x="155" y="123"/>
                  </a:lnTo>
                  <a:lnTo>
                    <a:pt x="164" y="123"/>
                  </a:lnTo>
                  <a:lnTo>
                    <a:pt x="174" y="123"/>
                  </a:lnTo>
                  <a:lnTo>
                    <a:pt x="174" y="128"/>
                  </a:lnTo>
                  <a:lnTo>
                    <a:pt x="178" y="128"/>
                  </a:lnTo>
                  <a:lnTo>
                    <a:pt x="183" y="132"/>
                  </a:lnTo>
                  <a:lnTo>
                    <a:pt x="187" y="132"/>
                  </a:lnTo>
                  <a:lnTo>
                    <a:pt x="187" y="137"/>
                  </a:lnTo>
                  <a:lnTo>
                    <a:pt x="192" y="137"/>
                  </a:lnTo>
                  <a:lnTo>
                    <a:pt x="192" y="141"/>
                  </a:lnTo>
                  <a:lnTo>
                    <a:pt x="196" y="146"/>
                  </a:lnTo>
                  <a:lnTo>
                    <a:pt x="196" y="146"/>
                  </a:lnTo>
                  <a:lnTo>
                    <a:pt x="196" y="155"/>
                  </a:lnTo>
                  <a:lnTo>
                    <a:pt x="201" y="155"/>
                  </a:lnTo>
                  <a:lnTo>
                    <a:pt x="201" y="164"/>
                  </a:lnTo>
                  <a:lnTo>
                    <a:pt x="206" y="169"/>
                  </a:lnTo>
                  <a:lnTo>
                    <a:pt x="206" y="169"/>
                  </a:lnTo>
                  <a:lnTo>
                    <a:pt x="206" y="173"/>
                  </a:lnTo>
                  <a:lnTo>
                    <a:pt x="201" y="178"/>
                  </a:lnTo>
                  <a:lnTo>
                    <a:pt x="196" y="178"/>
                  </a:lnTo>
                  <a:lnTo>
                    <a:pt x="196" y="182"/>
                  </a:lnTo>
                  <a:lnTo>
                    <a:pt x="196" y="187"/>
                  </a:lnTo>
                  <a:lnTo>
                    <a:pt x="201" y="192"/>
                  </a:lnTo>
                  <a:lnTo>
                    <a:pt x="201" y="192"/>
                  </a:lnTo>
                  <a:lnTo>
                    <a:pt x="201" y="196"/>
                  </a:lnTo>
                  <a:lnTo>
                    <a:pt x="206" y="196"/>
                  </a:lnTo>
                  <a:lnTo>
                    <a:pt x="215" y="196"/>
                  </a:lnTo>
                  <a:lnTo>
                    <a:pt x="219" y="196"/>
                  </a:lnTo>
                  <a:lnTo>
                    <a:pt x="219" y="196"/>
                  </a:lnTo>
                  <a:lnTo>
                    <a:pt x="219" y="201"/>
                  </a:lnTo>
                  <a:lnTo>
                    <a:pt x="219" y="205"/>
                  </a:lnTo>
                  <a:lnTo>
                    <a:pt x="219" y="210"/>
                  </a:lnTo>
                  <a:lnTo>
                    <a:pt x="219" y="214"/>
                  </a:lnTo>
                  <a:lnTo>
                    <a:pt x="224" y="214"/>
                  </a:lnTo>
                  <a:lnTo>
                    <a:pt x="228" y="214"/>
                  </a:lnTo>
                  <a:lnTo>
                    <a:pt x="228" y="219"/>
                  </a:lnTo>
                  <a:lnTo>
                    <a:pt x="228" y="233"/>
                  </a:lnTo>
                  <a:lnTo>
                    <a:pt x="233" y="237"/>
                  </a:lnTo>
                  <a:lnTo>
                    <a:pt x="238" y="246"/>
                  </a:lnTo>
                  <a:lnTo>
                    <a:pt x="238" y="246"/>
                  </a:lnTo>
                  <a:lnTo>
                    <a:pt x="238" y="256"/>
                  </a:lnTo>
                  <a:lnTo>
                    <a:pt x="242" y="260"/>
                  </a:lnTo>
                  <a:lnTo>
                    <a:pt x="247" y="265"/>
                  </a:lnTo>
                  <a:lnTo>
                    <a:pt x="251" y="269"/>
                  </a:lnTo>
                  <a:lnTo>
                    <a:pt x="256" y="269"/>
                  </a:lnTo>
                  <a:lnTo>
                    <a:pt x="260" y="269"/>
                  </a:lnTo>
                  <a:lnTo>
                    <a:pt x="265" y="269"/>
                  </a:lnTo>
                  <a:lnTo>
                    <a:pt x="270" y="269"/>
                  </a:lnTo>
                  <a:lnTo>
                    <a:pt x="274" y="269"/>
                  </a:lnTo>
                  <a:lnTo>
                    <a:pt x="279" y="269"/>
                  </a:lnTo>
                  <a:lnTo>
                    <a:pt x="283" y="269"/>
                  </a:lnTo>
                  <a:lnTo>
                    <a:pt x="283" y="274"/>
                  </a:lnTo>
                  <a:lnTo>
                    <a:pt x="274" y="278"/>
                  </a:lnTo>
                  <a:lnTo>
                    <a:pt x="270" y="278"/>
                  </a:lnTo>
                  <a:lnTo>
                    <a:pt x="260" y="278"/>
                  </a:lnTo>
                  <a:lnTo>
                    <a:pt x="260" y="278"/>
                  </a:lnTo>
                  <a:lnTo>
                    <a:pt x="251" y="278"/>
                  </a:lnTo>
                  <a:lnTo>
                    <a:pt x="247" y="288"/>
                  </a:lnTo>
                  <a:lnTo>
                    <a:pt x="242" y="297"/>
                  </a:lnTo>
                  <a:lnTo>
                    <a:pt x="242" y="301"/>
                  </a:lnTo>
                  <a:lnTo>
                    <a:pt x="242" y="301"/>
                  </a:lnTo>
                  <a:lnTo>
                    <a:pt x="238" y="306"/>
                  </a:lnTo>
                  <a:lnTo>
                    <a:pt x="233" y="310"/>
                  </a:lnTo>
                  <a:lnTo>
                    <a:pt x="219" y="315"/>
                  </a:lnTo>
                  <a:lnTo>
                    <a:pt x="219" y="315"/>
                  </a:lnTo>
                  <a:lnTo>
                    <a:pt x="210" y="315"/>
                  </a:lnTo>
                  <a:lnTo>
                    <a:pt x="196" y="315"/>
                  </a:lnTo>
                  <a:lnTo>
                    <a:pt x="187" y="315"/>
                  </a:lnTo>
                  <a:lnTo>
                    <a:pt x="174" y="310"/>
                  </a:lnTo>
                  <a:lnTo>
                    <a:pt x="169" y="310"/>
                  </a:lnTo>
                  <a:lnTo>
                    <a:pt x="151" y="315"/>
                  </a:lnTo>
                  <a:lnTo>
                    <a:pt x="137" y="315"/>
                  </a:lnTo>
                  <a:lnTo>
                    <a:pt x="132" y="320"/>
                  </a:lnTo>
                  <a:lnTo>
                    <a:pt x="128" y="320"/>
                  </a:lnTo>
                  <a:lnTo>
                    <a:pt x="123" y="320"/>
                  </a:lnTo>
                  <a:lnTo>
                    <a:pt x="114" y="324"/>
                  </a:lnTo>
                  <a:lnTo>
                    <a:pt x="119" y="324"/>
                  </a:lnTo>
                  <a:lnTo>
                    <a:pt x="119" y="329"/>
                  </a:lnTo>
                  <a:lnTo>
                    <a:pt x="123" y="338"/>
                  </a:lnTo>
                  <a:lnTo>
                    <a:pt x="123" y="342"/>
                  </a:lnTo>
                  <a:lnTo>
                    <a:pt x="119" y="352"/>
                  </a:lnTo>
                  <a:lnTo>
                    <a:pt x="110" y="356"/>
                  </a:lnTo>
                  <a:lnTo>
                    <a:pt x="110" y="361"/>
                  </a:lnTo>
                  <a:lnTo>
                    <a:pt x="100" y="365"/>
                  </a:lnTo>
                  <a:lnTo>
                    <a:pt x="96" y="374"/>
                  </a:lnTo>
                  <a:lnTo>
                    <a:pt x="87" y="374"/>
                  </a:lnTo>
                  <a:lnTo>
                    <a:pt x="78" y="370"/>
                  </a:lnTo>
                  <a:lnTo>
                    <a:pt x="64" y="365"/>
                  </a:lnTo>
                  <a:lnTo>
                    <a:pt x="55" y="365"/>
                  </a:lnTo>
                  <a:lnTo>
                    <a:pt x="55" y="365"/>
                  </a:lnTo>
                  <a:lnTo>
                    <a:pt x="46" y="365"/>
                  </a:lnTo>
                  <a:lnTo>
                    <a:pt x="36" y="365"/>
                  </a:lnTo>
                  <a:lnTo>
                    <a:pt x="23" y="370"/>
                  </a:lnTo>
                  <a:lnTo>
                    <a:pt x="18" y="379"/>
                  </a:lnTo>
                  <a:lnTo>
                    <a:pt x="18" y="384"/>
                  </a:lnTo>
                  <a:lnTo>
                    <a:pt x="0" y="379"/>
                  </a:lnTo>
                  <a:lnTo>
                    <a:pt x="0" y="374"/>
                  </a:lnTo>
                  <a:lnTo>
                    <a:pt x="0" y="370"/>
                  </a:lnTo>
                  <a:lnTo>
                    <a:pt x="0" y="361"/>
                  </a:lnTo>
                  <a:lnTo>
                    <a:pt x="4" y="342"/>
                  </a:lnTo>
                  <a:lnTo>
                    <a:pt x="4" y="333"/>
                  </a:lnTo>
                  <a:lnTo>
                    <a:pt x="9" y="329"/>
                  </a:lnTo>
                  <a:lnTo>
                    <a:pt x="14" y="324"/>
                  </a:lnTo>
                  <a:lnTo>
                    <a:pt x="18" y="320"/>
                  </a:lnTo>
                  <a:lnTo>
                    <a:pt x="18" y="306"/>
                  </a:lnTo>
                  <a:lnTo>
                    <a:pt x="23" y="297"/>
                  </a:lnTo>
                  <a:lnTo>
                    <a:pt x="27" y="283"/>
                  </a:lnTo>
                  <a:lnTo>
                    <a:pt x="27" y="274"/>
                  </a:lnTo>
                  <a:lnTo>
                    <a:pt x="32" y="269"/>
                  </a:lnTo>
                  <a:lnTo>
                    <a:pt x="32" y="256"/>
                  </a:lnTo>
                  <a:lnTo>
                    <a:pt x="36" y="246"/>
                  </a:lnTo>
                  <a:lnTo>
                    <a:pt x="41" y="246"/>
                  </a:lnTo>
                  <a:lnTo>
                    <a:pt x="41" y="237"/>
                  </a:lnTo>
                  <a:lnTo>
                    <a:pt x="41" y="233"/>
                  </a:lnTo>
                  <a:lnTo>
                    <a:pt x="41" y="224"/>
                  </a:lnTo>
                  <a:lnTo>
                    <a:pt x="41" y="214"/>
                  </a:lnTo>
                  <a:lnTo>
                    <a:pt x="36" y="196"/>
                  </a:lnTo>
                  <a:lnTo>
                    <a:pt x="36" y="192"/>
                  </a:lnTo>
                  <a:lnTo>
                    <a:pt x="36" y="178"/>
                  </a:lnTo>
                  <a:lnTo>
                    <a:pt x="32" y="164"/>
                  </a:lnTo>
                  <a:lnTo>
                    <a:pt x="27" y="146"/>
                  </a:lnTo>
                  <a:lnTo>
                    <a:pt x="23" y="141"/>
                  </a:lnTo>
                  <a:lnTo>
                    <a:pt x="18" y="128"/>
                  </a:lnTo>
                  <a:lnTo>
                    <a:pt x="18" y="114"/>
                  </a:lnTo>
                  <a:lnTo>
                    <a:pt x="18" y="105"/>
                  </a:lnTo>
                  <a:lnTo>
                    <a:pt x="14" y="96"/>
                  </a:lnTo>
                  <a:lnTo>
                    <a:pt x="18" y="96"/>
                  </a:lnTo>
                  <a:lnTo>
                    <a:pt x="18" y="96"/>
                  </a:lnTo>
                  <a:lnTo>
                    <a:pt x="23" y="96"/>
                  </a:lnTo>
                  <a:lnTo>
                    <a:pt x="18" y="82"/>
                  </a:lnTo>
                  <a:lnTo>
                    <a:pt x="36" y="82"/>
                  </a:lnTo>
                  <a:lnTo>
                    <a:pt x="41" y="82"/>
                  </a:lnTo>
                  <a:lnTo>
                    <a:pt x="46" y="82"/>
                  </a:lnTo>
                  <a:lnTo>
                    <a:pt x="50" y="82"/>
                  </a:lnTo>
                  <a:lnTo>
                    <a:pt x="59" y="82"/>
                  </a:lnTo>
                  <a:lnTo>
                    <a:pt x="59" y="82"/>
                  </a:lnTo>
                  <a:close/>
                </a:path>
              </a:pathLst>
            </a:custGeom>
            <a:solidFill>
              <a:srgbClr val="FFFFFF"/>
            </a:solidFill>
            <a:ln w="9525" cap="flat" cmpd="sng" algn="ctr">
              <a:solidFill>
                <a:sysClr val="window" lastClr="FFFFFF">
                  <a:lumMod val="65000"/>
                </a:sysClr>
              </a:solidFill>
              <a:prstDash val="solid"/>
            </a:ln>
            <a:effectLst/>
          </p:spPr>
          <p:txBody>
            <a:bodyPr lIns="0" tIns="0" rIns="0" bIns="0" anchor="ctr"/>
            <a:lstStyle/>
            <a:p>
              <a:pPr marL="0" marR="0" lvl="0" indent="0" defTabSz="685847" eaLnBrk="1" fontAlgn="auto" latinLnBrk="0" hangingPunct="1">
                <a:lnSpc>
                  <a:spcPct val="100000"/>
                </a:lnSpc>
                <a:spcBef>
                  <a:spcPts val="0"/>
                </a:spcBef>
                <a:spcAft>
                  <a:spcPts val="0"/>
                </a:spcAft>
                <a:buClrTx/>
                <a:buSzTx/>
                <a:buFontTx/>
                <a:buNone/>
                <a:tabLst/>
                <a:defRPr/>
              </a:pPr>
              <a:r>
                <a:rPr kumimoji="0" lang="en-US" sz="600" b="1" i="0" u="none" strike="noStrike" kern="0" cap="none" spc="0" normalizeH="0" baseline="0" noProof="0" dirty="0">
                  <a:ln>
                    <a:noFill/>
                  </a:ln>
                  <a:solidFill>
                    <a:srgbClr val="424242"/>
                  </a:solidFill>
                  <a:effectLst/>
                  <a:uLnTx/>
                  <a:uFillTx/>
                  <a:latin typeface="Georgia" panose="02040502050405020303" pitchFamily="18" charset="0"/>
                  <a:cs typeface="Arial" panose="020B0604020202020204" pitchFamily="34" charset="0"/>
                  <a:sym typeface="Arial"/>
                </a:rPr>
                <a:t>   Anambra</a:t>
              </a:r>
            </a:p>
          </p:txBody>
        </p:sp>
      </p:grpSp>
      <p:sp>
        <p:nvSpPr>
          <p:cNvPr id="83" name="TextBox 82">
            <a:extLst>
              <a:ext uri="{FF2B5EF4-FFF2-40B4-BE49-F238E27FC236}">
                <a16:creationId xmlns:a16="http://schemas.microsoft.com/office/drawing/2014/main" id="{05FA6962-23B2-46EA-9C40-58D706C59729}"/>
              </a:ext>
            </a:extLst>
          </p:cNvPr>
          <p:cNvSpPr txBox="1"/>
          <p:nvPr/>
        </p:nvSpPr>
        <p:spPr>
          <a:xfrm>
            <a:off x="484045" y="6063619"/>
            <a:ext cx="3259226" cy="261610"/>
          </a:xfrm>
          <a:prstGeom prst="rect">
            <a:avLst/>
          </a:prstGeom>
          <a:noFill/>
        </p:spPr>
        <p:txBody>
          <a:bodyPr wrap="none" rtlCol="0">
            <a:spAutoFit/>
          </a:bodyPr>
          <a:lstStyle/>
          <a:p>
            <a:pPr defTabSz="914378">
              <a:buClr>
                <a:srgbClr val="000000"/>
              </a:buClr>
            </a:pPr>
            <a:r>
              <a:rPr lang="en-US" sz="1100" kern="0" dirty="0">
                <a:solidFill>
                  <a:schemeClr val="bg2"/>
                </a:solidFill>
                <a:latin typeface="Georgia" panose="02040502050405020303" pitchFamily="18" charset="0"/>
                <a:cs typeface="Arial"/>
                <a:sym typeface="Arial"/>
              </a:rPr>
              <a:t>* Supported States= where we have partner staff </a:t>
            </a:r>
          </a:p>
        </p:txBody>
      </p:sp>
    </p:spTree>
    <p:extLst>
      <p:ext uri="{BB962C8B-B14F-4D97-AF65-F5344CB8AC3E}">
        <p14:creationId xmlns:p14="http://schemas.microsoft.com/office/powerpoint/2010/main" val="1120026881"/>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815B25F1-BD6A-4FB4-80EC-387BC50E2F12}"/>
              </a:ext>
            </a:extLst>
          </p:cNvPr>
          <p:cNvGraphicFramePr>
            <a:graphicFrameLocks noGrp="1"/>
          </p:cNvGraphicFramePr>
          <p:nvPr>
            <p:ph idx="1"/>
            <p:extLst>
              <p:ext uri="{D42A27DB-BD31-4B8C-83A1-F6EECF244321}">
                <p14:modId xmlns:p14="http://schemas.microsoft.com/office/powerpoint/2010/main" val="1649621649"/>
              </p:ext>
            </p:extLst>
          </p:nvPr>
        </p:nvGraphicFramePr>
        <p:xfrm>
          <a:off x="152400" y="182880"/>
          <a:ext cx="8915400" cy="6294120"/>
        </p:xfrm>
        <a:graphic>
          <a:graphicData uri="http://schemas.openxmlformats.org/drawingml/2006/table">
            <a:tbl>
              <a:tblPr firstRow="1" bandRow="1">
                <a:tableStyleId>{5C22544A-7EE6-4342-B048-85BDC9FD1C3A}</a:tableStyleId>
              </a:tblPr>
              <a:tblGrid>
                <a:gridCol w="5542006">
                  <a:extLst>
                    <a:ext uri="{9D8B030D-6E8A-4147-A177-3AD203B41FA5}">
                      <a16:colId xmlns:a16="http://schemas.microsoft.com/office/drawing/2014/main" val="2696630678"/>
                    </a:ext>
                  </a:extLst>
                </a:gridCol>
                <a:gridCol w="3373394">
                  <a:extLst>
                    <a:ext uri="{9D8B030D-6E8A-4147-A177-3AD203B41FA5}">
                      <a16:colId xmlns:a16="http://schemas.microsoft.com/office/drawing/2014/main" val="142992449"/>
                    </a:ext>
                  </a:extLst>
                </a:gridCol>
              </a:tblGrid>
              <a:tr h="854405">
                <a:tc>
                  <a:txBody>
                    <a:bodyPr/>
                    <a:lstStyle/>
                    <a:p>
                      <a:r>
                        <a:rPr lang="en-US" sz="1800" dirty="0"/>
                        <a:t>INTERVENTIONS</a:t>
                      </a:r>
                      <a:endParaRPr lang="en-US" dirty="0"/>
                    </a:p>
                  </a:txBody>
                  <a:tcPr>
                    <a:solidFill>
                      <a:schemeClr val="tx1">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t>IMPACT </a:t>
                      </a:r>
                      <a:r>
                        <a:rPr lang="en-US" sz="1800" i="1" dirty="0"/>
                        <a:t>(in collaboration with government and GPEI partners)</a:t>
                      </a:r>
                    </a:p>
                  </a:txBody>
                  <a:tcPr>
                    <a:solidFill>
                      <a:schemeClr val="tx1">
                        <a:lumMod val="75000"/>
                      </a:schemeClr>
                    </a:solidFill>
                  </a:tcPr>
                </a:tc>
                <a:extLst>
                  <a:ext uri="{0D108BD9-81ED-4DB2-BD59-A6C34878D82A}">
                    <a16:rowId xmlns:a16="http://schemas.microsoft.com/office/drawing/2014/main" val="3194110323"/>
                  </a:ext>
                </a:extLst>
              </a:tr>
              <a:tr h="543971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accent6"/>
                          </a:solidFill>
                        </a:rPr>
                        <a:t>Over 250 plus AFENET staff initially in 12 northern states 220 LGAs &amp; FCT- surveillance , capacity building, training, RI improvement, OB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solidFill>
                            <a:schemeClr val="accent6"/>
                          </a:solidFill>
                        </a:rPr>
                        <a:t>Supported hundreds of </a:t>
                      </a:r>
                      <a:r>
                        <a:rPr lang="en-US" sz="1800" b="1" dirty="0">
                          <a:solidFill>
                            <a:schemeClr val="accent6"/>
                          </a:solidFill>
                        </a:rPr>
                        <a:t>polio campaigns </a:t>
                      </a:r>
                      <a:r>
                        <a:rPr lang="en-US" sz="1800" dirty="0">
                          <a:solidFill>
                            <a:schemeClr val="accent6"/>
                          </a:solidFill>
                        </a:rPr>
                        <a:t>&amp; </a:t>
                      </a:r>
                      <a:r>
                        <a:rPr lang="en-US" sz="1800" b="1" dirty="0">
                          <a:solidFill>
                            <a:schemeClr val="accent6"/>
                          </a:solidFill>
                        </a:rPr>
                        <a:t>VPDs</a:t>
                      </a:r>
                      <a:r>
                        <a:rPr lang="en-US" sz="1800" dirty="0">
                          <a:solidFill>
                            <a:schemeClr val="accent6"/>
                          </a:solidFill>
                        </a:rPr>
                        <a:t> outbreak response</a:t>
                      </a:r>
                    </a:p>
                    <a:p>
                      <a:pPr marL="285750" lvl="0" indent="-285750">
                        <a:lnSpc>
                          <a:spcPct val="100000"/>
                        </a:lnSpc>
                        <a:buFont typeface="Arial" panose="020B0604020202020204" pitchFamily="34" charset="0"/>
                        <a:buChar char="•"/>
                      </a:pPr>
                      <a:r>
                        <a:rPr lang="en-US" sz="1800" dirty="0">
                          <a:solidFill>
                            <a:schemeClr val="accent6"/>
                          </a:solidFill>
                        </a:rPr>
                        <a:t>Implement </a:t>
                      </a:r>
                      <a:r>
                        <a:rPr lang="en-US" sz="1800" b="1" dirty="0">
                          <a:solidFill>
                            <a:schemeClr val="accent6"/>
                          </a:solidFill>
                        </a:rPr>
                        <a:t>satellite imagery: </a:t>
                      </a:r>
                      <a:r>
                        <a:rPr lang="en-US" sz="1800" dirty="0">
                          <a:solidFill>
                            <a:schemeClr val="accent6"/>
                          </a:solidFill>
                        </a:rPr>
                        <a:t>identify unreached settlements to improve vaccination coverage </a:t>
                      </a:r>
                    </a:p>
                    <a:p>
                      <a:pPr marL="285750" lvl="0" indent="-285750">
                        <a:lnSpc>
                          <a:spcPct val="100000"/>
                        </a:lnSpc>
                        <a:buFont typeface="Arial" panose="020B0604020202020204" pitchFamily="34" charset="0"/>
                        <a:buChar char="•"/>
                      </a:pPr>
                      <a:r>
                        <a:rPr lang="en-US" sz="1800" dirty="0">
                          <a:solidFill>
                            <a:schemeClr val="accent6"/>
                          </a:solidFill>
                        </a:rPr>
                        <a:t>Rolled out </a:t>
                      </a:r>
                      <a:r>
                        <a:rPr lang="en-US" sz="1800" b="1" dirty="0">
                          <a:solidFill>
                            <a:schemeClr val="accent6"/>
                          </a:solidFill>
                        </a:rPr>
                        <a:t>DHIS2 for RI </a:t>
                      </a:r>
                      <a:r>
                        <a:rPr lang="en-US" sz="1800" dirty="0">
                          <a:solidFill>
                            <a:schemeClr val="accent6"/>
                          </a:solidFill>
                        </a:rPr>
                        <a:t>in 36  states &amp; FCT</a:t>
                      </a:r>
                    </a:p>
                    <a:p>
                      <a:pPr marL="285750" lvl="0" indent="-285750">
                        <a:lnSpc>
                          <a:spcPct val="100000"/>
                        </a:lnSpc>
                        <a:buFont typeface="Arial" panose="020B0604020202020204" pitchFamily="34" charset="0"/>
                        <a:buChar char="•"/>
                      </a:pPr>
                      <a:r>
                        <a:rPr lang="en-US" sz="1800" dirty="0">
                          <a:solidFill>
                            <a:schemeClr val="accent6"/>
                          </a:solidFill>
                        </a:rPr>
                        <a:t>3 year </a:t>
                      </a:r>
                      <a:r>
                        <a:rPr lang="en-US" sz="1800" b="1" dirty="0">
                          <a:solidFill>
                            <a:schemeClr val="accent6"/>
                          </a:solidFill>
                        </a:rPr>
                        <a:t>logistic support </a:t>
                      </a:r>
                      <a:r>
                        <a:rPr lang="en-US" sz="1800" dirty="0">
                          <a:solidFill>
                            <a:schemeClr val="accent6"/>
                          </a:solidFill>
                        </a:rPr>
                        <a:t>to DSNOs, State Epis for polio &amp; VPD surveillance in 12 southern states</a:t>
                      </a:r>
                    </a:p>
                    <a:p>
                      <a:pPr marL="285750" lvl="0" indent="-285750">
                        <a:lnSpc>
                          <a:spcPct val="100000"/>
                        </a:lnSpc>
                        <a:buFont typeface="Arial" panose="020B0604020202020204" pitchFamily="34" charset="0"/>
                        <a:buChar char="•"/>
                      </a:pPr>
                      <a:r>
                        <a:rPr lang="en-US" sz="1800" dirty="0">
                          <a:solidFill>
                            <a:schemeClr val="accent6"/>
                          </a:solidFill>
                        </a:rPr>
                        <a:t>Interventions to reach </a:t>
                      </a:r>
                      <a:r>
                        <a:rPr lang="en-US" sz="1800" b="1" dirty="0">
                          <a:solidFill>
                            <a:schemeClr val="accent6"/>
                          </a:solidFill>
                        </a:rPr>
                        <a:t>nomadic / mobile pop</a:t>
                      </a:r>
                    </a:p>
                    <a:p>
                      <a:pPr marL="285750" lvl="0" indent="-285750">
                        <a:lnSpc>
                          <a:spcPct val="100000"/>
                        </a:lnSpc>
                        <a:buFont typeface="Arial" panose="020B0604020202020204" pitchFamily="34" charset="0"/>
                        <a:buChar char="•"/>
                      </a:pPr>
                      <a:endParaRPr lang="en-US" sz="1800" b="1" dirty="0">
                        <a:solidFill>
                          <a:schemeClr val="accent6"/>
                        </a:solidFill>
                      </a:endParaRPr>
                    </a:p>
                    <a:p>
                      <a:pPr marL="285750" lvl="0" indent="-285750">
                        <a:lnSpc>
                          <a:spcPct val="100000"/>
                        </a:lnSpc>
                        <a:buFont typeface="Arial" panose="020B0604020202020204" pitchFamily="34" charset="0"/>
                        <a:buChar char="•"/>
                      </a:pPr>
                      <a:r>
                        <a:rPr lang="en-US" sz="1800" b="1" dirty="0">
                          <a:solidFill>
                            <a:schemeClr val="accent6"/>
                          </a:solidFill>
                        </a:rPr>
                        <a:t>COVID19 vaccination:  </a:t>
                      </a:r>
                      <a:r>
                        <a:rPr lang="en-US" sz="1800" b="0" dirty="0">
                          <a:solidFill>
                            <a:schemeClr val="accent6"/>
                          </a:solidFill>
                        </a:rPr>
                        <a:t>electronic</a:t>
                      </a:r>
                      <a:r>
                        <a:rPr lang="en-US" sz="1800" dirty="0">
                          <a:solidFill>
                            <a:schemeClr val="accent6"/>
                          </a:solidFill>
                        </a:rPr>
                        <a:t> platform, training, supervision , technical guidance</a:t>
                      </a:r>
                    </a:p>
                    <a:p>
                      <a:pPr marL="285750" lvl="0" indent="-285750">
                        <a:lnSpc>
                          <a:spcPct val="100000"/>
                        </a:lnSpc>
                        <a:buFont typeface="Arial" panose="020B0604020202020204" pitchFamily="34" charset="0"/>
                        <a:buChar char="•"/>
                      </a:pPr>
                      <a:endParaRPr lang="en-US" sz="1800" dirty="0">
                        <a:solidFill>
                          <a:schemeClr val="accent6"/>
                        </a:solidFill>
                      </a:endParaRPr>
                    </a:p>
                    <a:p>
                      <a:pPr marL="285750" lvl="0" indent="-285750">
                        <a:lnSpc>
                          <a:spcPct val="100000"/>
                        </a:lnSpc>
                        <a:buFont typeface="Arial" panose="020B0604020202020204" pitchFamily="34" charset="0"/>
                        <a:buChar char="•"/>
                      </a:pPr>
                      <a:r>
                        <a:rPr lang="en-US" sz="1800" b="1" dirty="0">
                          <a:solidFill>
                            <a:schemeClr val="accent6"/>
                          </a:solidFill>
                        </a:rPr>
                        <a:t>Measles elimination : </a:t>
                      </a:r>
                      <a:r>
                        <a:rPr lang="en-US" sz="1800" dirty="0">
                          <a:solidFill>
                            <a:schemeClr val="accent6"/>
                          </a:solidFill>
                        </a:rPr>
                        <a:t>training, OBR, surveillance system strengthening</a:t>
                      </a:r>
                    </a:p>
                    <a:p>
                      <a:pPr marL="0" lvl="0" indent="0">
                        <a:lnSpc>
                          <a:spcPct val="100000"/>
                        </a:lnSpc>
                        <a:buFont typeface="Arial" panose="020B0604020202020204" pitchFamily="34" charset="0"/>
                        <a:buNone/>
                      </a:pPr>
                      <a:endParaRPr lang="en-US" sz="700" dirty="0">
                        <a:solidFill>
                          <a:schemeClr val="accent6"/>
                        </a:solidFill>
                      </a:endParaRPr>
                    </a:p>
                    <a:p>
                      <a:pPr marL="285750" lvl="0" indent="-285750">
                        <a:lnSpc>
                          <a:spcPct val="100000"/>
                        </a:lnSpc>
                        <a:buFont typeface="Arial" panose="020B0604020202020204" pitchFamily="34" charset="0"/>
                        <a:buChar char="•"/>
                      </a:pPr>
                      <a:r>
                        <a:rPr lang="en-US" sz="1800" b="1" dirty="0">
                          <a:solidFill>
                            <a:schemeClr val="accent6"/>
                          </a:solidFill>
                        </a:rPr>
                        <a:t>FELTP</a:t>
                      </a:r>
                      <a:r>
                        <a:rPr lang="en-US" sz="1800" dirty="0">
                          <a:solidFill>
                            <a:schemeClr val="accent6"/>
                          </a:solidFill>
                        </a:rPr>
                        <a:t> trainings and capacity building</a:t>
                      </a:r>
                    </a:p>
                    <a:p>
                      <a:endParaRPr lang="en-US" dirty="0"/>
                    </a:p>
                  </a:txBody>
                  <a:tcPr/>
                </a:tc>
                <a:tc>
                  <a:txBody>
                    <a:bodyPr/>
                    <a:lstStyle/>
                    <a:p>
                      <a:pPr marL="285750" lvl="0" indent="-285750">
                        <a:buFont typeface="Arial" panose="020B0604020202020204" pitchFamily="34" charset="0"/>
                        <a:buChar char="•"/>
                      </a:pPr>
                      <a:r>
                        <a:rPr lang="en-US" sz="1800" dirty="0">
                          <a:solidFill>
                            <a:schemeClr val="accent6"/>
                          </a:solidFill>
                        </a:rPr>
                        <a:t>Administering  ~ 50 million doses of  OPV  annually </a:t>
                      </a:r>
                    </a:p>
                    <a:p>
                      <a:pPr marL="285750" lvl="0" indent="-285750">
                        <a:buFont typeface="Arial" panose="020B0604020202020204" pitchFamily="34" charset="0"/>
                        <a:buChar char="•"/>
                      </a:pPr>
                      <a:r>
                        <a:rPr lang="en-US" sz="1800" dirty="0">
                          <a:solidFill>
                            <a:schemeClr val="accent6"/>
                          </a:solidFill>
                        </a:rPr>
                        <a:t>Reduction in the # of unreached children in inaccessible areas in NE from 432,345 in September 2016 to  31,188 in February 2020</a:t>
                      </a:r>
                    </a:p>
                    <a:p>
                      <a:pPr marL="171450" lvl="0" indent="-171450">
                        <a:buFont typeface="Arial" panose="020B0604020202020204" pitchFamily="34" charset="0"/>
                        <a:buChar char="•"/>
                      </a:pPr>
                      <a:r>
                        <a:rPr lang="en-US" sz="1800" dirty="0">
                          <a:solidFill>
                            <a:schemeClr val="accent6"/>
                          </a:solidFill>
                        </a:rPr>
                        <a:t>DHIS2 roll out completed  and transitioned to states</a:t>
                      </a:r>
                    </a:p>
                    <a:p>
                      <a:pPr marL="0" lvl="0" indent="0">
                        <a:buFont typeface="Arial" panose="020B0604020202020204" pitchFamily="34" charset="0"/>
                        <a:buNone/>
                      </a:pPr>
                      <a:endParaRPr lang="en-US" sz="1800" dirty="0">
                        <a:solidFill>
                          <a:schemeClr val="accent6"/>
                        </a:solidFill>
                      </a:endParaRPr>
                    </a:p>
                    <a:p>
                      <a:pPr marL="0" lvl="0" indent="0">
                        <a:buFont typeface="Arial" panose="020B0604020202020204" pitchFamily="34" charset="0"/>
                        <a:buNone/>
                      </a:pPr>
                      <a:r>
                        <a:rPr lang="en-US" sz="1800" dirty="0">
                          <a:solidFill>
                            <a:schemeClr val="accent6"/>
                          </a:solidFill>
                        </a:rPr>
                        <a:t>We all achieved wild polio virus free certification in Nigeria</a:t>
                      </a:r>
                    </a:p>
                    <a:p>
                      <a:endParaRPr lang="en-US" dirty="0"/>
                    </a:p>
                  </a:txBody>
                  <a:tcPr/>
                </a:tc>
                <a:extLst>
                  <a:ext uri="{0D108BD9-81ED-4DB2-BD59-A6C34878D82A}">
                    <a16:rowId xmlns:a16="http://schemas.microsoft.com/office/drawing/2014/main" val="95341788"/>
                  </a:ext>
                </a:extLst>
              </a:tr>
            </a:tbl>
          </a:graphicData>
        </a:graphic>
      </p:graphicFrame>
    </p:spTree>
    <p:extLst>
      <p:ext uri="{BB962C8B-B14F-4D97-AF65-F5344CB8AC3E}">
        <p14:creationId xmlns:p14="http://schemas.microsoft.com/office/powerpoint/2010/main" val="1909766368"/>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C6AC17-18FE-4454-8F28-544D6D631234}"/>
              </a:ext>
            </a:extLst>
          </p:cNvPr>
          <p:cNvSpPr>
            <a:spLocks noGrp="1"/>
          </p:cNvSpPr>
          <p:nvPr>
            <p:ph type="title"/>
          </p:nvPr>
        </p:nvSpPr>
        <p:spPr/>
        <p:txBody>
          <a:bodyPr/>
          <a:lstStyle/>
          <a:p>
            <a:r>
              <a:rPr lang="en-US" dirty="0"/>
              <a:t>Remaining challenges &amp; way forward</a:t>
            </a:r>
          </a:p>
        </p:txBody>
      </p:sp>
      <p:sp>
        <p:nvSpPr>
          <p:cNvPr id="6" name="Text Placeholder 5">
            <a:extLst>
              <a:ext uri="{FF2B5EF4-FFF2-40B4-BE49-F238E27FC236}">
                <a16:creationId xmlns:a16="http://schemas.microsoft.com/office/drawing/2014/main" id="{34536BD3-F9AF-4CA9-9BA2-01922F9015B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400210570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452E1-B033-4751-A24B-31DD7B290BAD}"/>
              </a:ext>
            </a:extLst>
          </p:cNvPr>
          <p:cNvSpPr>
            <a:spLocks noGrp="1"/>
          </p:cNvSpPr>
          <p:nvPr>
            <p:ph type="title"/>
          </p:nvPr>
        </p:nvSpPr>
        <p:spPr/>
        <p:txBody>
          <a:bodyPr/>
          <a:lstStyle/>
          <a:p>
            <a:r>
              <a:rPr lang="en-US" sz="4000" dirty="0"/>
              <a:t>Remaining Challenges</a:t>
            </a:r>
          </a:p>
        </p:txBody>
      </p:sp>
      <p:sp>
        <p:nvSpPr>
          <p:cNvPr id="3" name="Content Placeholder 2">
            <a:extLst>
              <a:ext uri="{FF2B5EF4-FFF2-40B4-BE49-F238E27FC236}">
                <a16:creationId xmlns:a16="http://schemas.microsoft.com/office/drawing/2014/main" id="{2D8F1C31-7159-4FF1-B2FA-B452C908AD6F}"/>
              </a:ext>
            </a:extLst>
          </p:cNvPr>
          <p:cNvSpPr>
            <a:spLocks noGrp="1"/>
          </p:cNvSpPr>
          <p:nvPr>
            <p:ph idx="1"/>
          </p:nvPr>
        </p:nvSpPr>
        <p:spPr/>
        <p:txBody>
          <a:bodyPr/>
          <a:lstStyle/>
          <a:p>
            <a:r>
              <a:rPr lang="en-US" dirty="0"/>
              <a:t>Ongoing COVID-19 3</a:t>
            </a:r>
            <a:r>
              <a:rPr lang="en-US" baseline="30000" dirty="0"/>
              <a:t>rd</a:t>
            </a:r>
            <a:r>
              <a:rPr lang="en-US" dirty="0"/>
              <a:t> wave surveillance and response</a:t>
            </a:r>
          </a:p>
          <a:p>
            <a:pPr lvl="1"/>
            <a:r>
              <a:rPr lang="en-US" dirty="0"/>
              <a:t>At State &amp; LGA</a:t>
            </a:r>
          </a:p>
          <a:p>
            <a:r>
              <a:rPr lang="en-US" dirty="0"/>
              <a:t>Response to Emerging Outbreaks </a:t>
            </a:r>
          </a:p>
          <a:p>
            <a:pPr lvl="1"/>
            <a:r>
              <a:rPr lang="en-US" dirty="0"/>
              <a:t>Measles, Cholera, Avian flu</a:t>
            </a:r>
          </a:p>
          <a:p>
            <a:pPr lvl="1"/>
            <a:r>
              <a:rPr lang="en-US" dirty="0"/>
              <a:t>Persistent cVDPV2s. Twenty-two confirmed in 2020 vs  246 (as at Aug. 13, 2021)</a:t>
            </a:r>
          </a:p>
          <a:p>
            <a:pPr lvl="2"/>
            <a:r>
              <a:rPr lang="en-US" dirty="0"/>
              <a:t>nOPV2 introduced, but more support from states to improve the quality of campaigns and sustain polio eradication efforts</a:t>
            </a:r>
          </a:p>
          <a:p>
            <a:r>
              <a:rPr lang="en-US" dirty="0"/>
              <a:t>Improving routine immunization nationwide</a:t>
            </a:r>
          </a:p>
          <a:p>
            <a:endParaRPr lang="en-US" dirty="0"/>
          </a:p>
          <a:p>
            <a:endParaRPr lang="en-US" dirty="0"/>
          </a:p>
        </p:txBody>
      </p:sp>
      <p:sp>
        <p:nvSpPr>
          <p:cNvPr id="4" name="Text Placeholder 3">
            <a:extLst>
              <a:ext uri="{FF2B5EF4-FFF2-40B4-BE49-F238E27FC236}">
                <a16:creationId xmlns:a16="http://schemas.microsoft.com/office/drawing/2014/main" id="{E47FE7DA-41FA-4B5A-8BDE-D9680567EA44}"/>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25625599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A013D20-0988-4E29-AFAB-E6281F9CEA0E}"/>
              </a:ext>
            </a:extLst>
          </p:cNvPr>
          <p:cNvSpPr txBox="1"/>
          <p:nvPr/>
        </p:nvSpPr>
        <p:spPr>
          <a:xfrm>
            <a:off x="762000" y="367873"/>
            <a:ext cx="7239000" cy="769441"/>
          </a:xfrm>
          <a:prstGeom prst="rect">
            <a:avLst/>
          </a:prstGeom>
          <a:noFill/>
        </p:spPr>
        <p:txBody>
          <a:bodyPr wrap="square" rtlCol="0">
            <a:spAutoFit/>
          </a:bodyPr>
          <a:lstStyle/>
          <a:p>
            <a:pPr algn="ctr"/>
            <a:r>
              <a:rPr lang="en-US" sz="4400" b="1" dirty="0"/>
              <a:t>Vision and Mission</a:t>
            </a:r>
          </a:p>
        </p:txBody>
      </p:sp>
      <p:sp>
        <p:nvSpPr>
          <p:cNvPr id="8" name="TextBox 7">
            <a:extLst>
              <a:ext uri="{FF2B5EF4-FFF2-40B4-BE49-F238E27FC236}">
                <a16:creationId xmlns:a16="http://schemas.microsoft.com/office/drawing/2014/main" id="{AD581C51-18A9-4F96-B70E-08CB67557557}"/>
              </a:ext>
            </a:extLst>
          </p:cNvPr>
          <p:cNvSpPr txBox="1"/>
          <p:nvPr/>
        </p:nvSpPr>
        <p:spPr>
          <a:xfrm>
            <a:off x="571500" y="1457980"/>
            <a:ext cx="8039100" cy="4647426"/>
          </a:xfrm>
          <a:prstGeom prst="rect">
            <a:avLst/>
          </a:prstGeom>
          <a:noFill/>
        </p:spPr>
        <p:txBody>
          <a:bodyPr wrap="square" rtlCol="0">
            <a:spAutoFit/>
          </a:bodyPr>
          <a:lstStyle/>
          <a:p>
            <a:pPr marL="342900" indent="-342900" algn="ctr">
              <a:buFont typeface="Wingdings" panose="05000000000000000000" pitchFamily="2" charset="2"/>
              <a:buChar char="q"/>
            </a:pPr>
            <a:r>
              <a:rPr lang="en-US" sz="3600" dirty="0">
                <a:solidFill>
                  <a:srgbClr val="FFC000"/>
                </a:solidFill>
              </a:rPr>
              <a:t>Vision</a:t>
            </a:r>
          </a:p>
          <a:p>
            <a:r>
              <a:rPr lang="en-US" sz="2800" dirty="0">
                <a:solidFill>
                  <a:schemeClr val="tx2"/>
                </a:solidFill>
              </a:rPr>
              <a:t>Public health excellence for healthy Nigerians</a:t>
            </a:r>
          </a:p>
          <a:p>
            <a:pPr marL="342900" indent="-342900">
              <a:buFont typeface="Wingdings" panose="05000000000000000000" pitchFamily="2" charset="2"/>
              <a:buChar char="q"/>
            </a:pPr>
            <a:endParaRPr lang="en-US" sz="2800" dirty="0">
              <a:solidFill>
                <a:schemeClr val="tx2"/>
              </a:solidFill>
            </a:endParaRPr>
          </a:p>
          <a:p>
            <a:pPr marL="342900" indent="-342900" algn="ctr">
              <a:buFont typeface="Wingdings" panose="05000000000000000000" pitchFamily="2" charset="2"/>
              <a:buChar char="q"/>
            </a:pPr>
            <a:r>
              <a:rPr lang="en-US" sz="3600" dirty="0">
                <a:solidFill>
                  <a:srgbClr val="FFC000"/>
                </a:solidFill>
              </a:rPr>
              <a:t>Mission</a:t>
            </a:r>
          </a:p>
          <a:p>
            <a:r>
              <a:rPr lang="en-US" sz="2800" dirty="0">
                <a:solidFill>
                  <a:schemeClr val="tx2"/>
                </a:solidFill>
              </a:rPr>
              <a:t>To support the national health response in the application of health promotion, disease prevention, and control measures to improve the health of people in Nigeria through technical expertise, effective local partnerships, and systems strengthening.</a:t>
            </a:r>
          </a:p>
        </p:txBody>
      </p:sp>
    </p:spTree>
    <p:extLst>
      <p:ext uri="{BB962C8B-B14F-4D97-AF65-F5344CB8AC3E}">
        <p14:creationId xmlns:p14="http://schemas.microsoft.com/office/powerpoint/2010/main" val="112421122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698EF8-1540-4FD5-BC94-D55B879931F9}"/>
              </a:ext>
            </a:extLst>
          </p:cNvPr>
          <p:cNvSpPr>
            <a:spLocks noGrp="1"/>
          </p:cNvSpPr>
          <p:nvPr>
            <p:ph type="title"/>
          </p:nvPr>
        </p:nvSpPr>
        <p:spPr>
          <a:xfrm>
            <a:off x="457200" y="304800"/>
            <a:ext cx="8229600" cy="1143000"/>
          </a:xfrm>
        </p:spPr>
        <p:txBody>
          <a:bodyPr/>
          <a:lstStyle/>
          <a:p>
            <a:r>
              <a:rPr lang="en-US" sz="4400" dirty="0"/>
              <a:t>Way Forward</a:t>
            </a:r>
          </a:p>
        </p:txBody>
      </p:sp>
      <p:sp>
        <p:nvSpPr>
          <p:cNvPr id="3" name="Content Placeholder 2">
            <a:extLst>
              <a:ext uri="{FF2B5EF4-FFF2-40B4-BE49-F238E27FC236}">
                <a16:creationId xmlns:a16="http://schemas.microsoft.com/office/drawing/2014/main" id="{E898CB6F-4436-4016-AFBE-071B59FE85AF}"/>
              </a:ext>
            </a:extLst>
          </p:cNvPr>
          <p:cNvSpPr>
            <a:spLocks noGrp="1"/>
          </p:cNvSpPr>
          <p:nvPr>
            <p:ph idx="1"/>
          </p:nvPr>
        </p:nvSpPr>
        <p:spPr>
          <a:xfrm>
            <a:off x="304800" y="1600201"/>
            <a:ext cx="8534400" cy="4191000"/>
          </a:xfrm>
        </p:spPr>
        <p:txBody>
          <a:bodyPr/>
          <a:lstStyle/>
          <a:p>
            <a:r>
              <a:rPr lang="en-US" dirty="0"/>
              <a:t>Increased partnership with State Leadership</a:t>
            </a:r>
          </a:p>
          <a:p>
            <a:r>
              <a:rPr lang="en-US" dirty="0"/>
              <a:t>Continued capacity building at National/State level</a:t>
            </a:r>
          </a:p>
          <a:p>
            <a:r>
              <a:rPr lang="en-US" dirty="0"/>
              <a:t>Increase resource (human resource/ financial) contribution by states to polio and other outbreak responses/ campaigns</a:t>
            </a:r>
          </a:p>
          <a:p>
            <a:r>
              <a:rPr lang="en-US" dirty="0"/>
              <a:t>Some states: support full time staff to avoid attrition and reversal in programs at PHC levels especially</a:t>
            </a:r>
          </a:p>
        </p:txBody>
      </p:sp>
      <p:sp>
        <p:nvSpPr>
          <p:cNvPr id="4" name="Text Placeholder 3">
            <a:extLst>
              <a:ext uri="{FF2B5EF4-FFF2-40B4-BE49-F238E27FC236}">
                <a16:creationId xmlns:a16="http://schemas.microsoft.com/office/drawing/2014/main" id="{727E503B-9C63-41B4-A4D0-24D61253595A}"/>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99284094"/>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19100" y="4759904"/>
            <a:ext cx="8305800" cy="1477328"/>
          </a:xfrm>
          <a:prstGeom prst="rect">
            <a:avLst/>
          </a:prstGeom>
        </p:spPr>
        <p:txBody>
          <a:bodyPr wrap="square">
            <a:spAutoFit/>
          </a:bodyPr>
          <a:lstStyle/>
          <a:p>
            <a:r>
              <a:rPr lang="en-US" dirty="0">
                <a:solidFill>
                  <a:schemeClr val="bg2"/>
                </a:solidFill>
              </a:rPr>
              <a:t>For more information, contact </a:t>
            </a:r>
          </a:p>
          <a:p>
            <a:r>
              <a:rPr lang="en-US" dirty="0">
                <a:solidFill>
                  <a:schemeClr val="bg2"/>
                </a:solidFill>
              </a:rPr>
              <a:t>U.S. Centers for Disease Control and Prevention </a:t>
            </a:r>
          </a:p>
          <a:p>
            <a:r>
              <a:rPr lang="en-US" dirty="0">
                <a:solidFill>
                  <a:schemeClr val="bg2"/>
                </a:solidFill>
              </a:rPr>
              <a:t>U.S. Embassy, Abuja, Nigeria or CDC Nigeria Communications Specialist</a:t>
            </a:r>
          </a:p>
          <a:p>
            <a:r>
              <a:rPr lang="en-US" dirty="0">
                <a:solidFill>
                  <a:schemeClr val="bg2"/>
                </a:solidFill>
              </a:rPr>
              <a:t>08090236011</a:t>
            </a:r>
          </a:p>
          <a:p>
            <a:r>
              <a:rPr lang="en-US" dirty="0">
                <a:solidFill>
                  <a:schemeClr val="bg2"/>
                </a:solidFill>
                <a:hlinkClick r:id="rId2"/>
              </a:rPr>
              <a:t>husman@cdc.gov</a:t>
            </a:r>
            <a:r>
              <a:rPr lang="en-US" dirty="0">
                <a:solidFill>
                  <a:schemeClr val="bg2"/>
                </a:solidFill>
              </a:rPr>
              <a:t> </a:t>
            </a:r>
          </a:p>
        </p:txBody>
      </p:sp>
      <p:sp>
        <p:nvSpPr>
          <p:cNvPr id="4" name="Subtitle 6"/>
          <p:cNvSpPr txBox="1">
            <a:spLocks/>
          </p:cNvSpPr>
          <p:nvPr/>
        </p:nvSpPr>
        <p:spPr>
          <a:xfrm>
            <a:off x="1143000" y="304800"/>
            <a:ext cx="6400800" cy="2057400"/>
          </a:xfrm>
          <a:prstGeom prst="rect">
            <a:avLst/>
          </a:prstGeom>
        </p:spPr>
        <p:txBody>
          <a:bodyPr/>
          <a:lstStyle/>
          <a:p>
            <a:pPr marL="342900" marR="0" lvl="0" indent="-342900" algn="ctr" defTabSz="914400" rtl="0" eaLnBrk="1" fontAlgn="auto" latinLnBrk="0" hangingPunct="1">
              <a:lnSpc>
                <a:spcPct val="100000"/>
              </a:lnSpc>
              <a:spcBef>
                <a:spcPct val="20000"/>
              </a:spcBef>
              <a:spcAft>
                <a:spcPts val="0"/>
              </a:spcAft>
              <a:buClrTx/>
              <a:buSzTx/>
              <a:tabLst/>
              <a:defRPr/>
            </a:pPr>
            <a:r>
              <a:rPr kumimoji="0" lang="en-US" sz="3200" b="1" i="0" u="none" strike="noStrike" kern="1200" cap="none" spc="0" normalizeH="0" baseline="0" noProof="0" dirty="0">
                <a:ln>
                  <a:noFill/>
                </a:ln>
                <a:solidFill>
                  <a:schemeClr val="bg2"/>
                </a:solidFill>
                <a:effectLst/>
                <a:uLnTx/>
                <a:uFillTx/>
                <a:latin typeface="+mn-lt"/>
                <a:ea typeface="+mn-ea"/>
                <a:cs typeface="+mn-cs"/>
              </a:rPr>
              <a:t>Thank You! </a:t>
            </a:r>
          </a:p>
        </p:txBody>
      </p:sp>
      <p:pic>
        <p:nvPicPr>
          <p:cNvPr id="8" name="Picture 7">
            <a:extLst>
              <a:ext uri="{FF2B5EF4-FFF2-40B4-BE49-F238E27FC236}">
                <a16:creationId xmlns:a16="http://schemas.microsoft.com/office/drawing/2014/main" id="{C3296FA4-6E7C-4F61-AA6B-E5FF06493CFF}"/>
              </a:ext>
            </a:extLst>
          </p:cNvPr>
          <p:cNvPicPr>
            <a:picLocks noChangeAspect="1"/>
          </p:cNvPicPr>
          <p:nvPr/>
        </p:nvPicPr>
        <p:blipFill>
          <a:blip r:embed="rId3"/>
          <a:stretch>
            <a:fillRect/>
          </a:stretch>
        </p:blipFill>
        <p:spPr>
          <a:xfrm>
            <a:off x="304800" y="1018652"/>
            <a:ext cx="8534400" cy="2881926"/>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EC9FA-C1CB-499C-A5DB-FAB8F450A94D}"/>
              </a:ext>
            </a:extLst>
          </p:cNvPr>
          <p:cNvSpPr>
            <a:spLocks noGrp="1"/>
          </p:cNvSpPr>
          <p:nvPr>
            <p:ph type="title"/>
          </p:nvPr>
        </p:nvSpPr>
        <p:spPr/>
        <p:txBody>
          <a:bodyPr/>
          <a:lstStyle/>
          <a:p>
            <a:r>
              <a:rPr lang="en-US" sz="4400" dirty="0"/>
              <a:t>U.S. CDC NG Leadership</a:t>
            </a:r>
            <a:br>
              <a:rPr lang="en-US" sz="4400" dirty="0"/>
            </a:br>
            <a:endParaRPr lang="en-US" sz="4400" dirty="0"/>
          </a:p>
        </p:txBody>
      </p:sp>
      <p:sp>
        <p:nvSpPr>
          <p:cNvPr id="3" name="Content Placeholder 2">
            <a:extLst>
              <a:ext uri="{FF2B5EF4-FFF2-40B4-BE49-F238E27FC236}">
                <a16:creationId xmlns:a16="http://schemas.microsoft.com/office/drawing/2014/main" id="{5A8998AD-A0DA-44AC-AA01-914AAB2FCD48}"/>
              </a:ext>
            </a:extLst>
          </p:cNvPr>
          <p:cNvSpPr>
            <a:spLocks noGrp="1"/>
          </p:cNvSpPr>
          <p:nvPr>
            <p:ph idx="1"/>
          </p:nvPr>
        </p:nvSpPr>
        <p:spPr>
          <a:xfrm>
            <a:off x="457200" y="1371600"/>
            <a:ext cx="8229600" cy="4953000"/>
          </a:xfrm>
        </p:spPr>
        <p:txBody>
          <a:bodyPr/>
          <a:lstStyle/>
          <a:p>
            <a:r>
              <a:rPr lang="en-US" dirty="0">
                <a:solidFill>
                  <a:schemeClr val="tx2"/>
                </a:solidFill>
              </a:rPr>
              <a:t>Country Director- Dr. Mary A. Boyd</a:t>
            </a:r>
          </a:p>
          <a:p>
            <a:r>
              <a:rPr lang="en-US" dirty="0">
                <a:solidFill>
                  <a:schemeClr val="tx2"/>
                </a:solidFill>
              </a:rPr>
              <a:t>Deputy Country Director- Suzanne Theroux</a:t>
            </a:r>
          </a:p>
          <a:p>
            <a:endParaRPr lang="en-US" sz="1400" dirty="0">
              <a:solidFill>
                <a:schemeClr val="tx2"/>
              </a:solidFill>
            </a:endParaRPr>
          </a:p>
          <a:p>
            <a:r>
              <a:rPr lang="en-US" b="0" dirty="0">
                <a:solidFill>
                  <a:schemeClr val="tx2"/>
                </a:solidFill>
              </a:rPr>
              <a:t>Division of Global HIV/TB (DGHT) </a:t>
            </a:r>
          </a:p>
          <a:p>
            <a:pPr lvl="1"/>
            <a:r>
              <a:rPr lang="en-US" dirty="0">
                <a:solidFill>
                  <a:schemeClr val="tx2"/>
                </a:solidFill>
              </a:rPr>
              <a:t>Dr. Mary A. Boyd </a:t>
            </a:r>
          </a:p>
          <a:p>
            <a:r>
              <a:rPr lang="en-US" b="0" dirty="0">
                <a:solidFill>
                  <a:schemeClr val="tx2"/>
                </a:solidFill>
              </a:rPr>
              <a:t>Global Immunization Division (GID)</a:t>
            </a:r>
          </a:p>
          <a:p>
            <a:pPr lvl="1"/>
            <a:r>
              <a:rPr lang="en-US" dirty="0">
                <a:solidFill>
                  <a:schemeClr val="tx2"/>
                </a:solidFill>
              </a:rPr>
              <a:t>Dr. Omotayo Bolu</a:t>
            </a:r>
          </a:p>
          <a:p>
            <a:r>
              <a:rPr lang="en-US" b="0" dirty="0">
                <a:solidFill>
                  <a:schemeClr val="tx2"/>
                </a:solidFill>
              </a:rPr>
              <a:t>Division of Global Health Protection (DGHP)</a:t>
            </a:r>
          </a:p>
          <a:p>
            <a:pPr lvl="1"/>
            <a:r>
              <a:rPr lang="en-US" dirty="0">
                <a:solidFill>
                  <a:schemeClr val="tx2"/>
                </a:solidFill>
              </a:rPr>
              <a:t>Dr. Farah Husain</a:t>
            </a:r>
          </a:p>
          <a:p>
            <a:r>
              <a:rPr lang="en-US" b="0" dirty="0">
                <a:solidFill>
                  <a:schemeClr val="tx2"/>
                </a:solidFill>
              </a:rPr>
              <a:t>Division of Parasitic Diseases and Malaria (DPDM) </a:t>
            </a:r>
          </a:p>
          <a:p>
            <a:pPr lvl="1"/>
            <a:r>
              <a:rPr lang="en-US" dirty="0">
                <a:solidFill>
                  <a:schemeClr val="tx2"/>
                </a:solidFill>
              </a:rPr>
              <a:t>Dr. John Rogers</a:t>
            </a:r>
          </a:p>
          <a:p>
            <a:endParaRPr lang="en-US" sz="2800" dirty="0"/>
          </a:p>
        </p:txBody>
      </p:sp>
    </p:spTree>
    <p:extLst>
      <p:ext uri="{BB962C8B-B14F-4D97-AF65-F5344CB8AC3E}">
        <p14:creationId xmlns:p14="http://schemas.microsoft.com/office/powerpoint/2010/main" val="886693571"/>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400" dirty="0"/>
              <a:t>U.S. CDC NG focus in Nigeria </a:t>
            </a:r>
            <a:br>
              <a:rPr lang="en-US" sz="4400" dirty="0"/>
            </a:br>
            <a:endParaRPr lang="en-US" sz="4400" dirty="0"/>
          </a:p>
        </p:txBody>
      </p:sp>
      <p:sp>
        <p:nvSpPr>
          <p:cNvPr id="3" name="Content Placeholder 2"/>
          <p:cNvSpPr>
            <a:spLocks noGrp="1"/>
          </p:cNvSpPr>
          <p:nvPr>
            <p:ph idx="1"/>
          </p:nvPr>
        </p:nvSpPr>
        <p:spPr>
          <a:xfrm>
            <a:off x="457200" y="1295400"/>
            <a:ext cx="8229600" cy="4563979"/>
          </a:xfrm>
        </p:spPr>
        <p:txBody>
          <a:bodyPr/>
          <a:lstStyle/>
          <a:p>
            <a:pPr algn="ctr"/>
            <a:r>
              <a:rPr lang="en-US" sz="3600" dirty="0"/>
              <a:t>HIV and Tuberculosis</a:t>
            </a:r>
          </a:p>
          <a:p>
            <a:pPr algn="ctr"/>
            <a:r>
              <a:rPr lang="en-US" sz="3600" dirty="0"/>
              <a:t>Global Health Security</a:t>
            </a:r>
          </a:p>
          <a:p>
            <a:pPr algn="ctr"/>
            <a:r>
              <a:rPr lang="en-US" sz="3600" dirty="0"/>
              <a:t>National Public Health Institute</a:t>
            </a:r>
          </a:p>
          <a:p>
            <a:pPr algn="ctr"/>
            <a:r>
              <a:rPr lang="en-US" sz="3600" dirty="0"/>
              <a:t>Malaria</a:t>
            </a:r>
          </a:p>
          <a:p>
            <a:pPr algn="ctr"/>
            <a:r>
              <a:rPr lang="en-US" sz="3600" dirty="0"/>
              <a:t>Vaccine-Preventable Diseases</a:t>
            </a:r>
          </a:p>
          <a:p>
            <a:pPr algn="ctr"/>
            <a:r>
              <a:rPr lang="en-US" sz="3600" dirty="0"/>
              <a:t>Disease Surveillance/Outbreak Response</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E951F-0C03-4169-826E-E0FCBFCF7E76}"/>
              </a:ext>
            </a:extLst>
          </p:cNvPr>
          <p:cNvSpPr>
            <a:spLocks noGrp="1"/>
          </p:cNvSpPr>
          <p:nvPr>
            <p:ph type="title"/>
          </p:nvPr>
        </p:nvSpPr>
        <p:spPr/>
        <p:txBody>
          <a:bodyPr/>
          <a:lstStyle/>
          <a:p>
            <a:r>
              <a:rPr lang="en-US" sz="3600" dirty="0"/>
              <a:t>U.S. CDC NG COVID-19 SUPPORT</a:t>
            </a:r>
            <a:br>
              <a:rPr lang="en-US" sz="3600" dirty="0"/>
            </a:br>
            <a:endParaRPr lang="en-US" sz="3600" dirty="0"/>
          </a:p>
        </p:txBody>
      </p:sp>
      <p:sp>
        <p:nvSpPr>
          <p:cNvPr id="3" name="Content Placeholder 2">
            <a:extLst>
              <a:ext uri="{FF2B5EF4-FFF2-40B4-BE49-F238E27FC236}">
                <a16:creationId xmlns:a16="http://schemas.microsoft.com/office/drawing/2014/main" id="{6836F607-790A-4D5C-B9A8-A7137538DA74}"/>
              </a:ext>
            </a:extLst>
          </p:cNvPr>
          <p:cNvSpPr>
            <a:spLocks noGrp="1"/>
          </p:cNvSpPr>
          <p:nvPr>
            <p:ph idx="1"/>
          </p:nvPr>
        </p:nvSpPr>
        <p:spPr>
          <a:xfrm>
            <a:off x="457200" y="1600200"/>
            <a:ext cx="8229600" cy="4191000"/>
          </a:xfrm>
        </p:spPr>
        <p:txBody>
          <a:bodyPr/>
          <a:lstStyle/>
          <a:p>
            <a:pPr marL="0" indent="0">
              <a:buNone/>
            </a:pPr>
            <a:r>
              <a:rPr lang="en-US" sz="2800" dirty="0"/>
              <a:t>Technical assistance to </a:t>
            </a:r>
            <a:r>
              <a:rPr lang="en-US" sz="2800" dirty="0" err="1"/>
              <a:t>GoN</a:t>
            </a:r>
            <a:r>
              <a:rPr lang="en-US" sz="2800" dirty="0"/>
              <a:t> in the following areas: </a:t>
            </a:r>
          </a:p>
          <a:p>
            <a:r>
              <a:rPr lang="en-US" sz="2800" b="0" dirty="0"/>
              <a:t>Surveillance &amp; epidemiology, </a:t>
            </a:r>
          </a:p>
          <a:p>
            <a:r>
              <a:rPr lang="en-US" sz="2800" b="0" dirty="0"/>
              <a:t>Emergency response operations, </a:t>
            </a:r>
          </a:p>
          <a:p>
            <a:r>
              <a:rPr lang="en-US" sz="2800" b="0" dirty="0"/>
              <a:t>Case management, </a:t>
            </a:r>
          </a:p>
          <a:p>
            <a:r>
              <a:rPr lang="en-US" sz="2800" b="0" dirty="0"/>
              <a:t>Laboratory systems, </a:t>
            </a:r>
          </a:p>
          <a:p>
            <a:r>
              <a:rPr lang="en-US" sz="2800" b="0" dirty="0"/>
              <a:t>Risk communications, </a:t>
            </a:r>
          </a:p>
          <a:p>
            <a:r>
              <a:rPr lang="en-US" sz="2800" b="0" dirty="0"/>
              <a:t>Vaccine deployment.</a:t>
            </a:r>
          </a:p>
        </p:txBody>
      </p:sp>
      <p:sp>
        <p:nvSpPr>
          <p:cNvPr id="4" name="Text Placeholder 3">
            <a:extLst>
              <a:ext uri="{FF2B5EF4-FFF2-40B4-BE49-F238E27FC236}">
                <a16:creationId xmlns:a16="http://schemas.microsoft.com/office/drawing/2014/main" id="{7AFC733E-F888-4E9F-8601-D2AAFF5B030F}"/>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48543809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4"/>
          <p:cNvSpPr>
            <a:spLocks noGrp="1"/>
          </p:cNvSpPr>
          <p:nvPr>
            <p:ph type="title"/>
          </p:nvPr>
        </p:nvSpPr>
        <p:spPr bwMode="auto">
          <a:xfrm>
            <a:off x="457200" y="304800"/>
            <a:ext cx="8229600" cy="960438"/>
          </a:xfrm>
          <a:noFill/>
          <a:ln>
            <a:miter lim="800000"/>
            <a:headEnd/>
            <a:tailEnd/>
          </a:ln>
        </p:spPr>
        <p:txBody>
          <a:bodyPr vert="horz" wrap="square" lIns="91440" tIns="45720" rIns="91440" bIns="45720" numCol="1" compatLnSpc="1">
            <a:prstTxWarp prst="textNoShape">
              <a:avLst/>
            </a:prstTxWarp>
          </a:bodyPr>
          <a:lstStyle/>
          <a:p>
            <a:r>
              <a:rPr lang="en-US" sz="3600" dirty="0"/>
              <a:t>U.S. CDC NG COVID-19 Response Impact</a:t>
            </a:r>
            <a:br>
              <a:rPr lang="en-US" sz="3600" dirty="0"/>
            </a:br>
            <a:endParaRPr lang="en-US" sz="3600" dirty="0"/>
          </a:p>
        </p:txBody>
      </p:sp>
      <p:sp>
        <p:nvSpPr>
          <p:cNvPr id="23555" name="Content Placeholder 5"/>
          <p:cNvSpPr>
            <a:spLocks noGrp="1"/>
          </p:cNvSpPr>
          <p:nvPr>
            <p:ph idx="1"/>
          </p:nvPr>
        </p:nvSpPr>
        <p:spPr bwMode="auto">
          <a:xfrm>
            <a:off x="304800" y="1265238"/>
            <a:ext cx="4572000" cy="4724400"/>
          </a:xfrm>
          <a:noFill/>
          <a:ln>
            <a:miter lim="800000"/>
            <a:headEnd/>
            <a:tailEnd/>
          </a:ln>
        </p:spPr>
        <p:txBody>
          <a:bodyPr vert="horz" wrap="square" lIns="91440" tIns="45720" rIns="91440" bIns="45720" numCol="1" anchor="t" anchorCtr="0" compatLnSpc="1">
            <a:prstTxWarp prst="textNoShape">
              <a:avLst/>
            </a:prstTxWarp>
          </a:bodyPr>
          <a:lstStyle/>
          <a:p>
            <a:r>
              <a:rPr lang="en-US" dirty="0"/>
              <a:t>Policy</a:t>
            </a:r>
          </a:p>
          <a:p>
            <a:pPr lvl="1"/>
            <a:r>
              <a:rPr lang="en-US" dirty="0"/>
              <a:t>Response framework and a multi-sectoral national pandemic response plan.</a:t>
            </a:r>
          </a:p>
          <a:p>
            <a:pPr lvl="1"/>
            <a:r>
              <a:rPr lang="en-US" dirty="0"/>
              <a:t>Operational guidelines for the COVID-19 vaccine rollout in Nigeria </a:t>
            </a:r>
          </a:p>
          <a:p>
            <a:pPr lvl="1"/>
            <a:r>
              <a:rPr lang="en-US" dirty="0"/>
              <a:t>COVID-19 Laboratory strategy document</a:t>
            </a:r>
          </a:p>
          <a:p>
            <a:endParaRPr lang="en-US" dirty="0"/>
          </a:p>
        </p:txBody>
      </p:sp>
      <p:pic>
        <p:nvPicPr>
          <p:cNvPr id="3" name="Picture 2">
            <a:extLst>
              <a:ext uri="{FF2B5EF4-FFF2-40B4-BE49-F238E27FC236}">
                <a16:creationId xmlns:a16="http://schemas.microsoft.com/office/drawing/2014/main" id="{8ABAB55C-5926-45BE-B110-CF2866ED17CC}"/>
              </a:ext>
            </a:extLst>
          </p:cNvPr>
          <p:cNvPicPr>
            <a:picLocks noChangeAspect="1"/>
          </p:cNvPicPr>
          <p:nvPr/>
        </p:nvPicPr>
        <p:blipFill>
          <a:blip r:embed="rId3"/>
          <a:stretch>
            <a:fillRect/>
          </a:stretch>
        </p:blipFill>
        <p:spPr>
          <a:xfrm>
            <a:off x="5210175" y="1600200"/>
            <a:ext cx="3629025" cy="4610100"/>
          </a:xfrm>
          <a:prstGeom prst="rect">
            <a:avLst/>
          </a:prstGeom>
        </p:spPr>
      </p:pic>
    </p:spTree>
    <p:extLst>
      <p:ext uri="{BB962C8B-B14F-4D97-AF65-F5344CB8AC3E}">
        <p14:creationId xmlns:p14="http://schemas.microsoft.com/office/powerpoint/2010/main" val="299772869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AE230-BDDF-4D0E-BD3C-7775C9EEDDE1}"/>
              </a:ext>
            </a:extLst>
          </p:cNvPr>
          <p:cNvSpPr>
            <a:spLocks noGrp="1"/>
          </p:cNvSpPr>
          <p:nvPr>
            <p:ph type="title"/>
          </p:nvPr>
        </p:nvSpPr>
        <p:spPr/>
        <p:txBody>
          <a:bodyPr/>
          <a:lstStyle/>
          <a:p>
            <a:r>
              <a:rPr kumimoji="0" lang="en-US" sz="3600" b="1" i="0" u="none" strike="noStrike" kern="1200" cap="none" spc="0" normalizeH="0" baseline="0" noProof="0" dirty="0">
                <a:ln>
                  <a:noFill/>
                </a:ln>
                <a:solidFill>
                  <a:srgbClr val="FFC000"/>
                </a:solidFill>
                <a:effectLst/>
                <a:uLnTx/>
                <a:uFillTx/>
                <a:latin typeface="Myriad Web Pro"/>
                <a:ea typeface="+mj-ea"/>
                <a:cs typeface="+mj-cs"/>
              </a:rPr>
              <a:t>U.S. CDC NG COVID-19 Response Impact</a:t>
            </a:r>
            <a:br>
              <a:rPr kumimoji="0" lang="en-US" sz="3600" b="1" i="0" u="none" strike="noStrike" kern="1200" cap="none" spc="0" normalizeH="0" baseline="0" noProof="0" dirty="0">
                <a:ln>
                  <a:noFill/>
                </a:ln>
                <a:solidFill>
                  <a:srgbClr val="FFC000"/>
                </a:solidFill>
                <a:effectLst/>
                <a:uLnTx/>
                <a:uFillTx/>
                <a:latin typeface="Myriad Web Pro"/>
                <a:ea typeface="+mj-ea"/>
                <a:cs typeface="+mj-cs"/>
              </a:rPr>
            </a:br>
            <a:endParaRPr lang="en-US" dirty="0"/>
          </a:p>
        </p:txBody>
      </p:sp>
      <p:sp>
        <p:nvSpPr>
          <p:cNvPr id="3" name="Content Placeholder 2">
            <a:extLst>
              <a:ext uri="{FF2B5EF4-FFF2-40B4-BE49-F238E27FC236}">
                <a16:creationId xmlns:a16="http://schemas.microsoft.com/office/drawing/2014/main" id="{E02A9032-A1BB-47FA-A043-2FF42428CDEF}"/>
              </a:ext>
            </a:extLst>
          </p:cNvPr>
          <p:cNvSpPr>
            <a:spLocks noGrp="1"/>
          </p:cNvSpPr>
          <p:nvPr>
            <p:ph idx="1"/>
          </p:nvPr>
        </p:nvSpPr>
        <p:spPr>
          <a:xfrm>
            <a:off x="457200" y="1600201"/>
            <a:ext cx="4361462" cy="4191000"/>
          </a:xfrm>
        </p:spPr>
        <p:txBody>
          <a:bodyPr/>
          <a:lstStyle/>
          <a:p>
            <a:r>
              <a:rPr lang="en-US" dirty="0"/>
              <a:t>Science </a:t>
            </a:r>
          </a:p>
          <a:p>
            <a:pPr lvl="1"/>
            <a:r>
              <a:rPr lang="en-US" dirty="0"/>
              <a:t>COVID-19 serosurvey in 8 states and the Federal Capital Territory</a:t>
            </a:r>
          </a:p>
          <a:p>
            <a:pPr lvl="1"/>
            <a:r>
              <a:rPr lang="en-US" dirty="0"/>
              <a:t>COVID-19 Vaccine hesitancy study</a:t>
            </a:r>
          </a:p>
          <a:p>
            <a:pPr lvl="1"/>
            <a:endParaRPr lang="en-US" dirty="0"/>
          </a:p>
          <a:p>
            <a:endParaRPr lang="en-US" dirty="0"/>
          </a:p>
        </p:txBody>
      </p:sp>
      <p:sp>
        <p:nvSpPr>
          <p:cNvPr id="4" name="Text Placeholder 3">
            <a:extLst>
              <a:ext uri="{FF2B5EF4-FFF2-40B4-BE49-F238E27FC236}">
                <a16:creationId xmlns:a16="http://schemas.microsoft.com/office/drawing/2014/main" id="{D5652FE8-B952-4ACA-B2F7-78A5C0B399C4}"/>
              </a:ext>
            </a:extLst>
          </p:cNvPr>
          <p:cNvSpPr>
            <a:spLocks noGrp="1"/>
          </p:cNvSpPr>
          <p:nvPr>
            <p:ph type="body" sz="quarter" idx="10"/>
          </p:nvPr>
        </p:nvSpPr>
        <p:spPr/>
        <p:txBody>
          <a:bodyPr/>
          <a:lstStyle/>
          <a:p>
            <a:endParaRPr lang="en-US"/>
          </a:p>
        </p:txBody>
      </p:sp>
      <p:pic>
        <p:nvPicPr>
          <p:cNvPr id="12" name="Picture 11">
            <a:extLst>
              <a:ext uri="{FF2B5EF4-FFF2-40B4-BE49-F238E27FC236}">
                <a16:creationId xmlns:a16="http://schemas.microsoft.com/office/drawing/2014/main" id="{46897FD7-BC9F-46B0-9083-17AFEE7ED09E}"/>
              </a:ext>
            </a:extLst>
          </p:cNvPr>
          <p:cNvPicPr>
            <a:picLocks noChangeAspect="1"/>
          </p:cNvPicPr>
          <p:nvPr/>
        </p:nvPicPr>
        <p:blipFill>
          <a:blip r:embed="rId2"/>
          <a:stretch>
            <a:fillRect/>
          </a:stretch>
        </p:blipFill>
        <p:spPr>
          <a:xfrm>
            <a:off x="4987391" y="1121229"/>
            <a:ext cx="3868138" cy="5029200"/>
          </a:xfrm>
          <a:prstGeom prst="rect">
            <a:avLst/>
          </a:prstGeom>
        </p:spPr>
      </p:pic>
    </p:spTree>
    <p:extLst>
      <p:ext uri="{BB962C8B-B14F-4D97-AF65-F5344CB8AC3E}">
        <p14:creationId xmlns:p14="http://schemas.microsoft.com/office/powerpoint/2010/main" val="359872285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AAE230-BDDF-4D0E-BD3C-7775C9EEDDE1}"/>
              </a:ext>
            </a:extLst>
          </p:cNvPr>
          <p:cNvSpPr>
            <a:spLocks noGrp="1"/>
          </p:cNvSpPr>
          <p:nvPr>
            <p:ph type="title"/>
          </p:nvPr>
        </p:nvSpPr>
        <p:spPr/>
        <p:txBody>
          <a:bodyPr/>
          <a:lstStyle/>
          <a:p>
            <a:r>
              <a:rPr kumimoji="0" lang="en-US" sz="3600" b="1" i="0" u="none" strike="noStrike" kern="1200" cap="none" spc="0" normalizeH="0" baseline="0" noProof="0" dirty="0">
                <a:ln>
                  <a:noFill/>
                </a:ln>
                <a:solidFill>
                  <a:srgbClr val="FFC000"/>
                </a:solidFill>
                <a:effectLst/>
                <a:uLnTx/>
                <a:uFillTx/>
                <a:latin typeface="Myriad Web Pro"/>
                <a:ea typeface="+mj-ea"/>
                <a:cs typeface="+mj-cs"/>
              </a:rPr>
              <a:t>U.S. CDC NG COVID-19 Response Impact</a:t>
            </a:r>
            <a:br>
              <a:rPr kumimoji="0" lang="en-US" sz="3600" b="1" i="0" u="none" strike="noStrike" kern="1200" cap="none" spc="0" normalizeH="0" baseline="0" noProof="0" dirty="0">
                <a:ln>
                  <a:noFill/>
                </a:ln>
                <a:solidFill>
                  <a:srgbClr val="FFC000"/>
                </a:solidFill>
                <a:effectLst/>
                <a:uLnTx/>
                <a:uFillTx/>
                <a:latin typeface="Myriad Web Pro"/>
                <a:ea typeface="+mj-ea"/>
                <a:cs typeface="+mj-cs"/>
              </a:rPr>
            </a:br>
            <a:endParaRPr lang="en-US" dirty="0"/>
          </a:p>
        </p:txBody>
      </p:sp>
      <p:sp>
        <p:nvSpPr>
          <p:cNvPr id="3" name="Content Placeholder 2">
            <a:extLst>
              <a:ext uri="{FF2B5EF4-FFF2-40B4-BE49-F238E27FC236}">
                <a16:creationId xmlns:a16="http://schemas.microsoft.com/office/drawing/2014/main" id="{E02A9032-A1BB-47FA-A043-2FF42428CDEF}"/>
              </a:ext>
            </a:extLst>
          </p:cNvPr>
          <p:cNvSpPr>
            <a:spLocks noGrp="1"/>
          </p:cNvSpPr>
          <p:nvPr>
            <p:ph idx="1"/>
          </p:nvPr>
        </p:nvSpPr>
        <p:spPr>
          <a:xfrm>
            <a:off x="457200" y="1600201"/>
            <a:ext cx="3581400" cy="4191000"/>
          </a:xfrm>
        </p:spPr>
        <p:txBody>
          <a:bodyPr/>
          <a:lstStyle/>
          <a:p>
            <a:r>
              <a:rPr lang="en-US" dirty="0"/>
              <a:t>Program</a:t>
            </a:r>
          </a:p>
          <a:p>
            <a:pPr lvl="1"/>
            <a:r>
              <a:rPr lang="en-US" dirty="0"/>
              <a:t>Expansion of the network to over 145 PCR labs</a:t>
            </a:r>
          </a:p>
          <a:p>
            <a:pPr lvl="1"/>
            <a:r>
              <a:rPr lang="en-US" dirty="0"/>
              <a:t>IPC</a:t>
            </a:r>
          </a:p>
          <a:p>
            <a:pPr lvl="1"/>
            <a:r>
              <a:rPr lang="en-US" dirty="0"/>
              <a:t>RRT</a:t>
            </a:r>
          </a:p>
          <a:p>
            <a:pPr lvl="1"/>
            <a:r>
              <a:rPr lang="en-US" dirty="0"/>
              <a:t>Risk communication and community awareness activities across all the 36 states of Nigeria including with Religious &amp; Traditional Leaders </a:t>
            </a:r>
          </a:p>
          <a:p>
            <a:endParaRPr lang="en-US" dirty="0"/>
          </a:p>
        </p:txBody>
      </p:sp>
      <p:sp>
        <p:nvSpPr>
          <p:cNvPr id="4" name="Text Placeholder 3">
            <a:extLst>
              <a:ext uri="{FF2B5EF4-FFF2-40B4-BE49-F238E27FC236}">
                <a16:creationId xmlns:a16="http://schemas.microsoft.com/office/drawing/2014/main" id="{D5652FE8-B952-4ACA-B2F7-78A5C0B399C4}"/>
              </a:ext>
            </a:extLst>
          </p:cNvPr>
          <p:cNvSpPr>
            <a:spLocks noGrp="1"/>
          </p:cNvSpPr>
          <p:nvPr>
            <p:ph type="body" sz="quarter" idx="10"/>
          </p:nvPr>
        </p:nvSpPr>
        <p:spPr/>
        <p:txBody>
          <a:bodyPr/>
          <a:lstStyle/>
          <a:p>
            <a:endParaRPr lang="en-US"/>
          </a:p>
        </p:txBody>
      </p:sp>
      <p:pic>
        <p:nvPicPr>
          <p:cNvPr id="7" name="Picture 6">
            <a:extLst>
              <a:ext uri="{FF2B5EF4-FFF2-40B4-BE49-F238E27FC236}">
                <a16:creationId xmlns:a16="http://schemas.microsoft.com/office/drawing/2014/main" id="{640B4DC7-41E8-4C96-8782-BED604C333DC}"/>
              </a:ext>
            </a:extLst>
          </p:cNvPr>
          <p:cNvPicPr>
            <a:picLocks noChangeAspect="1"/>
          </p:cNvPicPr>
          <p:nvPr/>
        </p:nvPicPr>
        <p:blipFill>
          <a:blip r:embed="rId2"/>
          <a:stretch>
            <a:fillRect/>
          </a:stretch>
        </p:blipFill>
        <p:spPr>
          <a:xfrm>
            <a:off x="4399658" y="1439409"/>
            <a:ext cx="4520327" cy="2903991"/>
          </a:xfrm>
          <a:prstGeom prst="rect">
            <a:avLst/>
          </a:prstGeom>
        </p:spPr>
      </p:pic>
    </p:spTree>
    <p:extLst>
      <p:ext uri="{BB962C8B-B14F-4D97-AF65-F5344CB8AC3E}">
        <p14:creationId xmlns:p14="http://schemas.microsoft.com/office/powerpoint/2010/main" val="147371383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Y897vgKRU.wAQuA8nOpT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TcBGj1Fv0iyjx0H78Z4h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D9fjwErD0uyVG32LlQf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IDz9OH7zEu4.RnJJibl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i4SDNs6X0S1yRm1tYmA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3ipl9Y2MEeMKRPLBnUjO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9ScbllMlMUmWnBGwxC1W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503EkqJlkW155StbWU7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EfCQLA1z0exmZBty8CAQ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THntpV7UkiCjknh528tx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2jiO5st5UCzj808FDBG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tRBr.4W7Eiyg.iA.cmc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6ey1eUujEUqpMjuhir_9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IWCcdsrtEa2_g66Bm8D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bLrKGuYQkKJrodDOkzs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MRWLKBWeEq.Zdd.DgT6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OITpmKDB0eSekRkWZb2n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ukBmpKYBUyU2j9.XG3Z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8QJEVSehhkmqUaITBxEZ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i6K2UkoNEOh2JJejrrq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XvsU_.Iv064F26aEyQ9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nX6_IZmIk.fe39l5kuB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f_LgvoRUEiY5C4C3r_F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tXqjY8hFqEqUbxcmf15a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GrPELeMoUeff4Yf5b3w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41QY5VlUUKqMWdufj8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o5Q4wPqzBEeg711SqORO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DDQXno19kWSjl_8kp1o6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Eg3dJ8oAk.55Lbs56nzZ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fEm_VrzBk63ThtnhJlKA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wccU_qPuEqHSuzR_8N.d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p7OpWxlUOiYTZ19uFH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ve20dyF70.ksQLOWb19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8cQsCecYEqICOX8B502H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GhSTOj_V0yneW0I9p88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0fvgrK3fOk6nKeV2YSMX8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5WGeIuk3ke7zmQR9JNg0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Ewk7jIi7U6MqnmPL3dB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2vx2OdEHwE66kUknJc2L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VkGvKrIaESYsTVv65UcH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cyI1T5qHEG2Z6VqrXm2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eltTNVav0.lBnbeqqMA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DFXdJka9kqc9Z3HcF8x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82INXC4lUyYZYHj3xfAS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Llozmj1XECUgINBRhS7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OaXdw0nqEezmnNWWfvS6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705lAB5._Ui6Ha.zGPuKd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9lwDEcnUF02trQ8VPgy44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_2VF7TihU.spXfpsBqU8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H2g8pFdfOkKmvzczJNl1a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RrC0JCEVk.hHGazI34V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weAXw7pi7ke2n0tYYHQA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6u5DbBT9U.ceJR9O8.N8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7UcCCGqKPku5OREdFEwA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AvKXycOM0ifzUHvi1yef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cIMcJ0wR0iUFwEaE0er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xsSHZi._0Uue0Lslphrvs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fSvHB39xEWmm5okTBPb1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xpWA.2lSEi8kpSdb0eep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9.xRE9wbiU6mbn0JlIiif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Szw7w9Jl0GdLtxa4nZR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UOYka5TI0a.UiNt8LXHz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CSZCAwTMEm_9dDDXBuW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2B4XaUNrcECKnu7bLZmBf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OwP617SXEGbWXeGQ8CR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8g70Aw.lUCdVSijzv1xI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k9wVeGJ00OZFIJz6B9yc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5brESJLRrEWYyGbkb.WaF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QABbfElA02UvWoU4nLq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em7npFqsUGdDZM1wOV1q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JtE.BW3OUmUP9xRtvsfB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tsz2pSGy5Ei7BkUhTlfL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iNvgPU2bESAlefKmCQi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Tb2Pl2V0mY7xVFuRhFcg"/>
</p:tagLst>
</file>

<file path=ppt/theme/theme1.xml><?xml version="1.0" encoding="utf-8"?>
<a:theme xmlns:a="http://schemas.openxmlformats.org/drawingml/2006/main" name="CGH_PPT_dark(">
  <a:themeElements>
    <a:clrScheme name="CGH Dark PPT Colors">
      <a:dk1>
        <a:srgbClr val="FFC000"/>
      </a:dk1>
      <a:lt1>
        <a:srgbClr val="0F56DC"/>
      </a:lt1>
      <a:dk2>
        <a:srgbClr val="FFFFFF"/>
      </a:dk2>
      <a:lt2>
        <a:srgbClr val="FFFFFF"/>
      </a:lt2>
      <a:accent1>
        <a:srgbClr val="AA9C8F"/>
      </a:accent1>
      <a:accent2>
        <a:srgbClr val="C59217"/>
      </a:accent2>
      <a:accent3>
        <a:srgbClr val="5B8F22"/>
      </a:accent3>
      <a:accent4>
        <a:srgbClr val="96172E"/>
      </a:accent4>
      <a:accent5>
        <a:srgbClr val="532E60"/>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ketchbook">
  <a:themeElements>
    <a:clrScheme name="Sketchbook">
      <a:dk1>
        <a:srgbClr val="000000"/>
      </a:dk1>
      <a:lt1>
        <a:srgbClr val="FFFFFF"/>
      </a:lt1>
      <a:dk2>
        <a:srgbClr val="4C1304"/>
      </a:dk2>
      <a:lt2>
        <a:srgbClr val="FFFEE6"/>
      </a:lt2>
      <a:accent1>
        <a:srgbClr val="A63212"/>
      </a:accent1>
      <a:accent2>
        <a:srgbClr val="E68230"/>
      </a:accent2>
      <a:accent3>
        <a:srgbClr val="9BB05E"/>
      </a:accent3>
      <a:accent4>
        <a:srgbClr val="6B9BC7"/>
      </a:accent4>
      <a:accent5>
        <a:srgbClr val="4E66B2"/>
      </a:accent5>
      <a:accent6>
        <a:srgbClr val="8976AC"/>
      </a:accent6>
      <a:hlink>
        <a:srgbClr val="942408"/>
      </a:hlink>
      <a:folHlink>
        <a:srgbClr val="B34F1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AAA_New CDC template - DB 01191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GH_PPT_dark(</Template>
  <TotalTime>9655</TotalTime>
  <Words>2049</Words>
  <Application>Microsoft Office PowerPoint</Application>
  <PresentationFormat>On-screen Show (4:3)</PresentationFormat>
  <Paragraphs>353</Paragraphs>
  <Slides>31</Slides>
  <Notes>13</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5" baseType="lpstr">
      <vt:lpstr>Arial</vt:lpstr>
      <vt:lpstr>Cabin</vt:lpstr>
      <vt:lpstr>Calibri</vt:lpstr>
      <vt:lpstr>Cambria</vt:lpstr>
      <vt:lpstr>Courier New</vt:lpstr>
      <vt:lpstr>Georgia</vt:lpstr>
      <vt:lpstr>Gill Sans</vt:lpstr>
      <vt:lpstr>Myriad Web Pro</vt:lpstr>
      <vt:lpstr>Tahoma</vt:lpstr>
      <vt:lpstr>Wingdings</vt:lpstr>
      <vt:lpstr>CGH_PPT_dark(</vt:lpstr>
      <vt:lpstr>Sketchbook</vt:lpstr>
      <vt:lpstr>5_AAA_New CDC template - DB 011911</vt:lpstr>
      <vt:lpstr>think-cell Slide</vt:lpstr>
      <vt:lpstr> Introduction to U.S. CDC Nigeria  Programs and Impact</vt:lpstr>
      <vt:lpstr>PowerPoint Presentation</vt:lpstr>
      <vt:lpstr>PowerPoint Presentation</vt:lpstr>
      <vt:lpstr>U.S. CDC NG Leadership </vt:lpstr>
      <vt:lpstr>U.S. CDC NG focus in Nigeria  </vt:lpstr>
      <vt:lpstr>U.S. CDC NG COVID-19 SUPPORT </vt:lpstr>
      <vt:lpstr>U.S. CDC NG COVID-19 Response Impact </vt:lpstr>
      <vt:lpstr>U.S. CDC NG COVID-19 Response Impact </vt:lpstr>
      <vt:lpstr>U.S. CDC NG COVID-19 Response Impact </vt:lpstr>
      <vt:lpstr>U.S. CDC NG COVID-19 Response Impact </vt:lpstr>
      <vt:lpstr>Division of Global HIV/TB</vt:lpstr>
      <vt:lpstr>PowerPoint Presentation</vt:lpstr>
      <vt:lpstr>Division of Global Health Protection</vt:lpstr>
      <vt:lpstr>GHSA: Prevent, Detect, Respond</vt:lpstr>
      <vt:lpstr>PowerPoint Presentation</vt:lpstr>
      <vt:lpstr>GHSA Action Packages in Nigeria</vt:lpstr>
      <vt:lpstr>CDC/DGHP Implementing Partners and Activities</vt:lpstr>
      <vt:lpstr>CDC/DGHP Implementing Partners and Activities</vt:lpstr>
      <vt:lpstr>CDC/DGHP Impact</vt:lpstr>
      <vt:lpstr>CDC/DGHP Impact</vt:lpstr>
      <vt:lpstr>Division of Parasitic Diseases and Malaria</vt:lpstr>
      <vt:lpstr>U.S. President’s Malaria Initiative (PMI) Nigeria</vt:lpstr>
      <vt:lpstr>SCALING INTERVENTIONS THAT WORK</vt:lpstr>
      <vt:lpstr>Global immunization division</vt:lpstr>
      <vt:lpstr>CDC Global Immunization Objectives</vt:lpstr>
      <vt:lpstr>CDC/GID Partners and Supported States*</vt:lpstr>
      <vt:lpstr>PowerPoint Presentation</vt:lpstr>
      <vt:lpstr>Remaining challenges &amp; way forward</vt:lpstr>
      <vt:lpstr>Remaining Challenges</vt:lpstr>
      <vt:lpstr>Way Forward</vt:lpstr>
      <vt:lpstr>PowerPoint Presentation</vt:lpstr>
    </vt:vector>
  </TitlesOfParts>
  <Company>CD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Myriad Pro, Bold, Shadow, 28pt</dc:title>
  <dc:creator>ndukau</dc:creator>
  <cp:lastModifiedBy>GS</cp:lastModifiedBy>
  <cp:revision>135</cp:revision>
  <dcterms:created xsi:type="dcterms:W3CDTF">2012-07-10T09:32:53Z</dcterms:created>
  <dcterms:modified xsi:type="dcterms:W3CDTF">2021-09-02T13:2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af03ff0-41c5-4c41-b55e-fabb8fae94be_Enabled">
    <vt:lpwstr>true</vt:lpwstr>
  </property>
  <property fmtid="{D5CDD505-2E9C-101B-9397-08002B2CF9AE}" pid="3" name="MSIP_Label_8af03ff0-41c5-4c41-b55e-fabb8fae94be_SetDate">
    <vt:lpwstr>2021-08-06T14:59:27Z</vt:lpwstr>
  </property>
  <property fmtid="{D5CDD505-2E9C-101B-9397-08002B2CF9AE}" pid="4" name="MSIP_Label_8af03ff0-41c5-4c41-b55e-fabb8fae94be_Method">
    <vt:lpwstr>Privileged</vt:lpwstr>
  </property>
  <property fmtid="{D5CDD505-2E9C-101B-9397-08002B2CF9AE}" pid="5" name="MSIP_Label_8af03ff0-41c5-4c41-b55e-fabb8fae94be_Name">
    <vt:lpwstr>8af03ff0-41c5-4c41-b55e-fabb8fae94be</vt:lpwstr>
  </property>
  <property fmtid="{D5CDD505-2E9C-101B-9397-08002B2CF9AE}" pid="6" name="MSIP_Label_8af03ff0-41c5-4c41-b55e-fabb8fae94be_SiteId">
    <vt:lpwstr>9ce70869-60db-44fd-abe8-d2767077fc8f</vt:lpwstr>
  </property>
  <property fmtid="{D5CDD505-2E9C-101B-9397-08002B2CF9AE}" pid="7" name="MSIP_Label_8af03ff0-41c5-4c41-b55e-fabb8fae94be_ActionId">
    <vt:lpwstr>7531cb8a-1ad0-40b4-bbe4-ecf70e0ed086</vt:lpwstr>
  </property>
  <property fmtid="{D5CDD505-2E9C-101B-9397-08002B2CF9AE}" pid="8" name="MSIP_Label_8af03ff0-41c5-4c41-b55e-fabb8fae94be_ContentBits">
    <vt:lpwstr>0</vt:lpwstr>
  </property>
</Properties>
</file>